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wdp" ContentType="image/vnd.ms-photo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2"/>
  </p:notesMasterIdLst>
  <p:handoutMasterIdLst>
    <p:handoutMasterId r:id="rId26"/>
  </p:handoutMasterIdLst>
  <p:sldIdLst>
    <p:sldId id="256" r:id="rId3"/>
    <p:sldId id="269" r:id="rId4"/>
    <p:sldId id="258" r:id="rId5"/>
    <p:sldId id="270" r:id="rId6"/>
    <p:sldId id="275" r:id="rId7"/>
    <p:sldId id="333" r:id="rId8"/>
    <p:sldId id="1771" r:id="rId9"/>
    <p:sldId id="1805" r:id="rId10"/>
    <p:sldId id="1806" r:id="rId11"/>
    <p:sldId id="1813" r:id="rId13"/>
    <p:sldId id="1809" r:id="rId14"/>
    <p:sldId id="1810" r:id="rId15"/>
    <p:sldId id="1811" r:id="rId16"/>
    <p:sldId id="1774" r:id="rId17"/>
    <p:sldId id="1814" r:id="rId18"/>
    <p:sldId id="1773" r:id="rId19"/>
    <p:sldId id="1777" r:id="rId20"/>
    <p:sldId id="1775" r:id="rId21"/>
    <p:sldId id="1776" r:id="rId22"/>
    <p:sldId id="1779" r:id="rId23"/>
    <p:sldId id="1778" r:id="rId24"/>
    <p:sldId id="1780" r:id="rId25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6140"/>
    <a:srgbClr val="FFC000"/>
    <a:srgbClr val="1C24AA"/>
    <a:srgbClr val="1A0E4C"/>
    <a:srgbClr val="D7A202"/>
    <a:srgbClr val="DEA702"/>
    <a:srgbClr val="D35D3E"/>
    <a:srgbClr val="E1A902"/>
    <a:srgbClr val="E25415"/>
    <a:srgbClr val="D0D7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7" autoAdjust="0"/>
    <p:restoredTop sz="92788" autoAdjust="0"/>
  </p:normalViewPr>
  <p:slideViewPr>
    <p:cSldViewPr snapToGrid="0">
      <p:cViewPr>
        <p:scale>
          <a:sx n="120" d="100"/>
          <a:sy n="120" d="100"/>
        </p:scale>
        <p:origin x="1928" y="51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9" Type="http://schemas.openxmlformats.org/officeDocument/2006/relationships/tableStyles" Target="tableStyles.xml"/><Relationship Id="rId28" Type="http://schemas.openxmlformats.org/officeDocument/2006/relationships/viewProps" Target="viewProps.xml"/><Relationship Id="rId27" Type="http://schemas.openxmlformats.org/officeDocument/2006/relationships/presProps" Target="presProps.xml"/><Relationship Id="rId26" Type="http://schemas.openxmlformats.org/officeDocument/2006/relationships/handoutMaster" Target="handoutMasters/handoutMaster1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notesMaster" Target="notesMasters/notesMaster1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38e97c3-e9f5-4fc3-acd8-667a9a01b65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>
          <a:xfrm>
            <a:off x="2743200" y="4112179"/>
            <a:ext cx="9447213" cy="2744114"/>
            <a:chOff x="3175" y="4413770"/>
            <a:chExt cx="12188825" cy="2744114"/>
          </a:xfrm>
          <a:solidFill>
            <a:schemeClr val="bg2"/>
          </a:solidFill>
        </p:grpSpPr>
        <p:sp>
          <p:nvSpPr>
            <p:cNvPr id="7" name="iSlíḓè"/>
            <p:cNvSpPr/>
            <p:nvPr/>
          </p:nvSpPr>
          <p:spPr bwMode="auto">
            <a:xfrm>
              <a:off x="10164502" y="5675395"/>
              <a:ext cx="2027498" cy="1482489"/>
            </a:xfrm>
            <a:custGeom>
              <a:avLst/>
              <a:gdLst>
                <a:gd name="T0" fmla="*/ 1230 w 1276"/>
                <a:gd name="T1" fmla="*/ 748 h 933"/>
                <a:gd name="T2" fmla="*/ 1221 w 1276"/>
                <a:gd name="T3" fmla="*/ 748 h 933"/>
                <a:gd name="T4" fmla="*/ 1206 w 1276"/>
                <a:gd name="T5" fmla="*/ 748 h 933"/>
                <a:gd name="T6" fmla="*/ 1211 w 1276"/>
                <a:gd name="T7" fmla="*/ 216 h 933"/>
                <a:gd name="T8" fmla="*/ 1218 w 1276"/>
                <a:gd name="T9" fmla="*/ 216 h 933"/>
                <a:gd name="T10" fmla="*/ 1221 w 1276"/>
                <a:gd name="T11" fmla="*/ 214 h 933"/>
                <a:gd name="T12" fmla="*/ 1218 w 1276"/>
                <a:gd name="T13" fmla="*/ 185 h 933"/>
                <a:gd name="T14" fmla="*/ 1206 w 1276"/>
                <a:gd name="T15" fmla="*/ 182 h 933"/>
                <a:gd name="T16" fmla="*/ 1192 w 1276"/>
                <a:gd name="T17" fmla="*/ 180 h 933"/>
                <a:gd name="T18" fmla="*/ 1182 w 1276"/>
                <a:gd name="T19" fmla="*/ 0 h 933"/>
                <a:gd name="T20" fmla="*/ 1172 w 1276"/>
                <a:gd name="T21" fmla="*/ 180 h 933"/>
                <a:gd name="T22" fmla="*/ 1158 w 1276"/>
                <a:gd name="T23" fmla="*/ 180 h 933"/>
                <a:gd name="T24" fmla="*/ 1143 w 1276"/>
                <a:gd name="T25" fmla="*/ 182 h 933"/>
                <a:gd name="T26" fmla="*/ 1141 w 1276"/>
                <a:gd name="T27" fmla="*/ 212 h 933"/>
                <a:gd name="T28" fmla="*/ 1143 w 1276"/>
                <a:gd name="T29" fmla="*/ 214 h 933"/>
                <a:gd name="T30" fmla="*/ 1151 w 1276"/>
                <a:gd name="T31" fmla="*/ 214 h 933"/>
                <a:gd name="T32" fmla="*/ 1071 w 1276"/>
                <a:gd name="T33" fmla="*/ 659 h 933"/>
                <a:gd name="T34" fmla="*/ 659 w 1276"/>
                <a:gd name="T35" fmla="*/ 496 h 933"/>
                <a:gd name="T36" fmla="*/ 666 w 1276"/>
                <a:gd name="T37" fmla="*/ 491 h 933"/>
                <a:gd name="T38" fmla="*/ 611 w 1276"/>
                <a:gd name="T39" fmla="*/ 430 h 933"/>
                <a:gd name="T40" fmla="*/ 620 w 1276"/>
                <a:gd name="T41" fmla="*/ 425 h 933"/>
                <a:gd name="T42" fmla="*/ 606 w 1276"/>
                <a:gd name="T43" fmla="*/ 420 h 933"/>
                <a:gd name="T44" fmla="*/ 608 w 1276"/>
                <a:gd name="T45" fmla="*/ 406 h 933"/>
                <a:gd name="T46" fmla="*/ 606 w 1276"/>
                <a:gd name="T47" fmla="*/ 389 h 933"/>
                <a:gd name="T48" fmla="*/ 594 w 1276"/>
                <a:gd name="T49" fmla="*/ 379 h 933"/>
                <a:gd name="T50" fmla="*/ 586 w 1276"/>
                <a:gd name="T51" fmla="*/ 377 h 933"/>
                <a:gd name="T52" fmla="*/ 569 w 1276"/>
                <a:gd name="T53" fmla="*/ 377 h 933"/>
                <a:gd name="T54" fmla="*/ 562 w 1276"/>
                <a:gd name="T55" fmla="*/ 379 h 933"/>
                <a:gd name="T56" fmla="*/ 552 w 1276"/>
                <a:gd name="T57" fmla="*/ 391 h 933"/>
                <a:gd name="T58" fmla="*/ 548 w 1276"/>
                <a:gd name="T59" fmla="*/ 399 h 933"/>
                <a:gd name="T60" fmla="*/ 548 w 1276"/>
                <a:gd name="T61" fmla="*/ 413 h 933"/>
                <a:gd name="T62" fmla="*/ 552 w 1276"/>
                <a:gd name="T63" fmla="*/ 423 h 933"/>
                <a:gd name="T64" fmla="*/ 538 w 1276"/>
                <a:gd name="T65" fmla="*/ 425 h 933"/>
                <a:gd name="T66" fmla="*/ 548 w 1276"/>
                <a:gd name="T67" fmla="*/ 430 h 933"/>
                <a:gd name="T68" fmla="*/ 519 w 1276"/>
                <a:gd name="T69" fmla="*/ 491 h 933"/>
                <a:gd name="T70" fmla="*/ 412 w 1276"/>
                <a:gd name="T71" fmla="*/ 491 h 933"/>
                <a:gd name="T72" fmla="*/ 402 w 1276"/>
                <a:gd name="T73" fmla="*/ 491 h 933"/>
                <a:gd name="T74" fmla="*/ 359 w 1276"/>
                <a:gd name="T75" fmla="*/ 464 h 933"/>
                <a:gd name="T76" fmla="*/ 366 w 1276"/>
                <a:gd name="T77" fmla="*/ 459 h 933"/>
                <a:gd name="T78" fmla="*/ 204 w 1276"/>
                <a:gd name="T79" fmla="*/ 447 h 933"/>
                <a:gd name="T80" fmla="*/ 194 w 1276"/>
                <a:gd name="T81" fmla="*/ 416 h 933"/>
                <a:gd name="T82" fmla="*/ 177 w 1276"/>
                <a:gd name="T83" fmla="*/ 391 h 933"/>
                <a:gd name="T84" fmla="*/ 155 w 1276"/>
                <a:gd name="T85" fmla="*/ 369 h 933"/>
                <a:gd name="T86" fmla="*/ 141 w 1276"/>
                <a:gd name="T87" fmla="*/ 360 h 933"/>
                <a:gd name="T88" fmla="*/ 114 w 1276"/>
                <a:gd name="T89" fmla="*/ 350 h 933"/>
                <a:gd name="T90" fmla="*/ 112 w 1276"/>
                <a:gd name="T91" fmla="*/ 348 h 933"/>
                <a:gd name="T92" fmla="*/ 97 w 1276"/>
                <a:gd name="T93" fmla="*/ 345 h 933"/>
                <a:gd name="T94" fmla="*/ 92 w 1276"/>
                <a:gd name="T95" fmla="*/ 345 h 933"/>
                <a:gd name="T96" fmla="*/ 88 w 1276"/>
                <a:gd name="T97" fmla="*/ 345 h 933"/>
                <a:gd name="T98" fmla="*/ 78 w 1276"/>
                <a:gd name="T99" fmla="*/ 263 h 933"/>
                <a:gd name="T100" fmla="*/ 73 w 1276"/>
                <a:gd name="T101" fmla="*/ 345 h 933"/>
                <a:gd name="T102" fmla="*/ 68 w 1276"/>
                <a:gd name="T103" fmla="*/ 345 h 933"/>
                <a:gd name="T104" fmla="*/ 51 w 1276"/>
                <a:gd name="T105" fmla="*/ 348 h 933"/>
                <a:gd name="T106" fmla="*/ 51 w 1276"/>
                <a:gd name="T107" fmla="*/ 348 h 933"/>
                <a:gd name="T108" fmla="*/ 37 w 1276"/>
                <a:gd name="T109" fmla="*/ 355 h 933"/>
                <a:gd name="T110" fmla="*/ 22 w 1276"/>
                <a:gd name="T111" fmla="*/ 360 h 933"/>
                <a:gd name="T112" fmla="*/ 0 w 1276"/>
                <a:gd name="T113" fmla="*/ 374 h 933"/>
                <a:gd name="T114" fmla="*/ 1276 w 1276"/>
                <a:gd name="T115" fmla="*/ 933 h 933"/>
                <a:gd name="T116" fmla="*/ 1233 w 1276"/>
                <a:gd name="T117" fmla="*/ 739 h 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76" h="933">
                  <a:moveTo>
                    <a:pt x="1233" y="746"/>
                  </a:moveTo>
                  <a:lnTo>
                    <a:pt x="1230" y="748"/>
                  </a:lnTo>
                  <a:lnTo>
                    <a:pt x="1228" y="748"/>
                  </a:lnTo>
                  <a:lnTo>
                    <a:pt x="1221" y="748"/>
                  </a:lnTo>
                  <a:lnTo>
                    <a:pt x="1216" y="748"/>
                  </a:lnTo>
                  <a:lnTo>
                    <a:pt x="1206" y="748"/>
                  </a:lnTo>
                  <a:lnTo>
                    <a:pt x="1206" y="741"/>
                  </a:lnTo>
                  <a:lnTo>
                    <a:pt x="1211" y="216"/>
                  </a:lnTo>
                  <a:lnTo>
                    <a:pt x="1213" y="216"/>
                  </a:lnTo>
                  <a:lnTo>
                    <a:pt x="1218" y="216"/>
                  </a:lnTo>
                  <a:lnTo>
                    <a:pt x="1221" y="214"/>
                  </a:lnTo>
                  <a:lnTo>
                    <a:pt x="1221" y="214"/>
                  </a:lnTo>
                  <a:lnTo>
                    <a:pt x="1221" y="185"/>
                  </a:lnTo>
                  <a:lnTo>
                    <a:pt x="1218" y="185"/>
                  </a:lnTo>
                  <a:lnTo>
                    <a:pt x="1213" y="182"/>
                  </a:lnTo>
                  <a:lnTo>
                    <a:pt x="1206" y="182"/>
                  </a:lnTo>
                  <a:lnTo>
                    <a:pt x="1197" y="180"/>
                  </a:lnTo>
                  <a:lnTo>
                    <a:pt x="1192" y="180"/>
                  </a:lnTo>
                  <a:lnTo>
                    <a:pt x="1192" y="93"/>
                  </a:lnTo>
                  <a:lnTo>
                    <a:pt x="1182" y="0"/>
                  </a:lnTo>
                  <a:lnTo>
                    <a:pt x="1175" y="90"/>
                  </a:lnTo>
                  <a:lnTo>
                    <a:pt x="1172" y="180"/>
                  </a:lnTo>
                  <a:lnTo>
                    <a:pt x="1165" y="180"/>
                  </a:lnTo>
                  <a:lnTo>
                    <a:pt x="1158" y="180"/>
                  </a:lnTo>
                  <a:lnTo>
                    <a:pt x="1151" y="180"/>
                  </a:lnTo>
                  <a:lnTo>
                    <a:pt x="1143" y="182"/>
                  </a:lnTo>
                  <a:lnTo>
                    <a:pt x="1141" y="182"/>
                  </a:lnTo>
                  <a:lnTo>
                    <a:pt x="1141" y="212"/>
                  </a:lnTo>
                  <a:lnTo>
                    <a:pt x="1141" y="212"/>
                  </a:lnTo>
                  <a:lnTo>
                    <a:pt x="1143" y="214"/>
                  </a:lnTo>
                  <a:lnTo>
                    <a:pt x="1148" y="214"/>
                  </a:lnTo>
                  <a:lnTo>
                    <a:pt x="1151" y="214"/>
                  </a:lnTo>
                  <a:lnTo>
                    <a:pt x="1146" y="714"/>
                  </a:lnTo>
                  <a:lnTo>
                    <a:pt x="1071" y="659"/>
                  </a:lnTo>
                  <a:lnTo>
                    <a:pt x="661" y="651"/>
                  </a:lnTo>
                  <a:lnTo>
                    <a:pt x="659" y="496"/>
                  </a:lnTo>
                  <a:lnTo>
                    <a:pt x="666" y="496"/>
                  </a:lnTo>
                  <a:lnTo>
                    <a:pt x="666" y="491"/>
                  </a:lnTo>
                  <a:lnTo>
                    <a:pt x="611" y="491"/>
                  </a:lnTo>
                  <a:lnTo>
                    <a:pt x="611" y="430"/>
                  </a:lnTo>
                  <a:lnTo>
                    <a:pt x="620" y="428"/>
                  </a:lnTo>
                  <a:lnTo>
                    <a:pt x="620" y="425"/>
                  </a:lnTo>
                  <a:lnTo>
                    <a:pt x="603" y="423"/>
                  </a:lnTo>
                  <a:lnTo>
                    <a:pt x="606" y="420"/>
                  </a:lnTo>
                  <a:lnTo>
                    <a:pt x="608" y="413"/>
                  </a:lnTo>
                  <a:lnTo>
                    <a:pt x="608" y="406"/>
                  </a:lnTo>
                  <a:lnTo>
                    <a:pt x="608" y="399"/>
                  </a:lnTo>
                  <a:lnTo>
                    <a:pt x="606" y="389"/>
                  </a:lnTo>
                  <a:lnTo>
                    <a:pt x="601" y="384"/>
                  </a:lnTo>
                  <a:lnTo>
                    <a:pt x="594" y="379"/>
                  </a:lnTo>
                  <a:lnTo>
                    <a:pt x="586" y="377"/>
                  </a:lnTo>
                  <a:lnTo>
                    <a:pt x="586" y="377"/>
                  </a:lnTo>
                  <a:lnTo>
                    <a:pt x="577" y="374"/>
                  </a:lnTo>
                  <a:lnTo>
                    <a:pt x="569" y="377"/>
                  </a:lnTo>
                  <a:lnTo>
                    <a:pt x="569" y="377"/>
                  </a:lnTo>
                  <a:lnTo>
                    <a:pt x="562" y="379"/>
                  </a:lnTo>
                  <a:lnTo>
                    <a:pt x="557" y="384"/>
                  </a:lnTo>
                  <a:lnTo>
                    <a:pt x="552" y="391"/>
                  </a:lnTo>
                  <a:lnTo>
                    <a:pt x="548" y="399"/>
                  </a:lnTo>
                  <a:lnTo>
                    <a:pt x="548" y="399"/>
                  </a:lnTo>
                  <a:lnTo>
                    <a:pt x="548" y="406"/>
                  </a:lnTo>
                  <a:lnTo>
                    <a:pt x="548" y="413"/>
                  </a:lnTo>
                  <a:lnTo>
                    <a:pt x="552" y="420"/>
                  </a:lnTo>
                  <a:lnTo>
                    <a:pt x="552" y="423"/>
                  </a:lnTo>
                  <a:lnTo>
                    <a:pt x="552" y="423"/>
                  </a:lnTo>
                  <a:lnTo>
                    <a:pt x="538" y="425"/>
                  </a:lnTo>
                  <a:lnTo>
                    <a:pt x="538" y="430"/>
                  </a:lnTo>
                  <a:lnTo>
                    <a:pt x="548" y="430"/>
                  </a:lnTo>
                  <a:lnTo>
                    <a:pt x="550" y="491"/>
                  </a:lnTo>
                  <a:lnTo>
                    <a:pt x="519" y="491"/>
                  </a:lnTo>
                  <a:lnTo>
                    <a:pt x="509" y="491"/>
                  </a:lnTo>
                  <a:lnTo>
                    <a:pt x="412" y="491"/>
                  </a:lnTo>
                  <a:lnTo>
                    <a:pt x="412" y="491"/>
                  </a:lnTo>
                  <a:lnTo>
                    <a:pt x="402" y="491"/>
                  </a:lnTo>
                  <a:lnTo>
                    <a:pt x="359" y="491"/>
                  </a:lnTo>
                  <a:lnTo>
                    <a:pt x="359" y="464"/>
                  </a:lnTo>
                  <a:lnTo>
                    <a:pt x="366" y="464"/>
                  </a:lnTo>
                  <a:lnTo>
                    <a:pt x="366" y="459"/>
                  </a:lnTo>
                  <a:lnTo>
                    <a:pt x="206" y="459"/>
                  </a:lnTo>
                  <a:lnTo>
                    <a:pt x="204" y="447"/>
                  </a:lnTo>
                  <a:lnTo>
                    <a:pt x="201" y="430"/>
                  </a:lnTo>
                  <a:lnTo>
                    <a:pt x="194" y="416"/>
                  </a:lnTo>
                  <a:lnTo>
                    <a:pt x="187" y="403"/>
                  </a:lnTo>
                  <a:lnTo>
                    <a:pt x="177" y="391"/>
                  </a:lnTo>
                  <a:lnTo>
                    <a:pt x="167" y="379"/>
                  </a:lnTo>
                  <a:lnTo>
                    <a:pt x="155" y="369"/>
                  </a:lnTo>
                  <a:lnTo>
                    <a:pt x="141" y="362"/>
                  </a:lnTo>
                  <a:lnTo>
                    <a:pt x="141" y="360"/>
                  </a:lnTo>
                  <a:lnTo>
                    <a:pt x="126" y="355"/>
                  </a:lnTo>
                  <a:lnTo>
                    <a:pt x="114" y="350"/>
                  </a:lnTo>
                  <a:lnTo>
                    <a:pt x="114" y="348"/>
                  </a:lnTo>
                  <a:lnTo>
                    <a:pt x="112" y="348"/>
                  </a:lnTo>
                  <a:lnTo>
                    <a:pt x="112" y="348"/>
                  </a:lnTo>
                  <a:lnTo>
                    <a:pt x="97" y="345"/>
                  </a:lnTo>
                  <a:lnTo>
                    <a:pt x="95" y="345"/>
                  </a:lnTo>
                  <a:lnTo>
                    <a:pt x="92" y="345"/>
                  </a:lnTo>
                  <a:lnTo>
                    <a:pt x="90" y="345"/>
                  </a:lnTo>
                  <a:lnTo>
                    <a:pt x="88" y="345"/>
                  </a:lnTo>
                  <a:lnTo>
                    <a:pt x="90" y="263"/>
                  </a:lnTo>
                  <a:lnTo>
                    <a:pt x="78" y="263"/>
                  </a:lnTo>
                  <a:lnTo>
                    <a:pt x="75" y="345"/>
                  </a:lnTo>
                  <a:lnTo>
                    <a:pt x="73" y="345"/>
                  </a:lnTo>
                  <a:lnTo>
                    <a:pt x="71" y="345"/>
                  </a:lnTo>
                  <a:lnTo>
                    <a:pt x="68" y="345"/>
                  </a:lnTo>
                  <a:lnTo>
                    <a:pt x="54" y="348"/>
                  </a:lnTo>
                  <a:lnTo>
                    <a:pt x="51" y="348"/>
                  </a:lnTo>
                  <a:lnTo>
                    <a:pt x="51" y="348"/>
                  </a:lnTo>
                  <a:lnTo>
                    <a:pt x="51" y="348"/>
                  </a:lnTo>
                  <a:lnTo>
                    <a:pt x="51" y="350"/>
                  </a:lnTo>
                  <a:lnTo>
                    <a:pt x="37" y="355"/>
                  </a:lnTo>
                  <a:lnTo>
                    <a:pt x="22" y="360"/>
                  </a:lnTo>
                  <a:lnTo>
                    <a:pt x="22" y="360"/>
                  </a:lnTo>
                  <a:lnTo>
                    <a:pt x="8" y="369"/>
                  </a:lnTo>
                  <a:lnTo>
                    <a:pt x="0" y="374"/>
                  </a:lnTo>
                  <a:lnTo>
                    <a:pt x="0" y="933"/>
                  </a:lnTo>
                  <a:lnTo>
                    <a:pt x="1276" y="933"/>
                  </a:lnTo>
                  <a:lnTo>
                    <a:pt x="1276" y="739"/>
                  </a:lnTo>
                  <a:lnTo>
                    <a:pt x="1233" y="739"/>
                  </a:lnTo>
                  <a:lnTo>
                    <a:pt x="1233" y="7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" name="íṩľîḑê"/>
            <p:cNvSpPr/>
            <p:nvPr/>
          </p:nvSpPr>
          <p:spPr bwMode="auto">
            <a:xfrm>
              <a:off x="8129058" y="4653701"/>
              <a:ext cx="2035444" cy="2504183"/>
            </a:xfrm>
            <a:custGeom>
              <a:avLst/>
              <a:gdLst>
                <a:gd name="T0" fmla="*/ 1247 w 1281"/>
                <a:gd name="T1" fmla="*/ 1059 h 1576"/>
                <a:gd name="T2" fmla="*/ 1063 w 1281"/>
                <a:gd name="T3" fmla="*/ 1107 h 1576"/>
                <a:gd name="T4" fmla="*/ 1010 w 1281"/>
                <a:gd name="T5" fmla="*/ 634 h 1576"/>
                <a:gd name="T6" fmla="*/ 879 w 1281"/>
                <a:gd name="T7" fmla="*/ 801 h 1576"/>
                <a:gd name="T8" fmla="*/ 831 w 1281"/>
                <a:gd name="T9" fmla="*/ 306 h 1576"/>
                <a:gd name="T10" fmla="*/ 882 w 1281"/>
                <a:gd name="T11" fmla="*/ 296 h 1576"/>
                <a:gd name="T12" fmla="*/ 882 w 1281"/>
                <a:gd name="T13" fmla="*/ 264 h 1576"/>
                <a:gd name="T14" fmla="*/ 884 w 1281"/>
                <a:gd name="T15" fmla="*/ 245 h 1576"/>
                <a:gd name="T16" fmla="*/ 879 w 1281"/>
                <a:gd name="T17" fmla="*/ 89 h 1576"/>
                <a:gd name="T18" fmla="*/ 877 w 1281"/>
                <a:gd name="T19" fmla="*/ 143 h 1576"/>
                <a:gd name="T20" fmla="*/ 795 w 1281"/>
                <a:gd name="T21" fmla="*/ 111 h 1576"/>
                <a:gd name="T22" fmla="*/ 790 w 1281"/>
                <a:gd name="T23" fmla="*/ 145 h 1576"/>
                <a:gd name="T24" fmla="*/ 710 w 1281"/>
                <a:gd name="T25" fmla="*/ 114 h 1576"/>
                <a:gd name="T26" fmla="*/ 703 w 1281"/>
                <a:gd name="T27" fmla="*/ 89 h 1576"/>
                <a:gd name="T28" fmla="*/ 623 w 1281"/>
                <a:gd name="T29" fmla="*/ 153 h 1576"/>
                <a:gd name="T30" fmla="*/ 615 w 1281"/>
                <a:gd name="T31" fmla="*/ 153 h 1576"/>
                <a:gd name="T32" fmla="*/ 615 w 1281"/>
                <a:gd name="T33" fmla="*/ 89 h 1576"/>
                <a:gd name="T34" fmla="*/ 536 w 1281"/>
                <a:gd name="T35" fmla="*/ 153 h 1576"/>
                <a:gd name="T36" fmla="*/ 528 w 1281"/>
                <a:gd name="T37" fmla="*/ 153 h 1576"/>
                <a:gd name="T38" fmla="*/ 526 w 1281"/>
                <a:gd name="T39" fmla="*/ 0 h 1576"/>
                <a:gd name="T40" fmla="*/ 521 w 1281"/>
                <a:gd name="T41" fmla="*/ 145 h 1576"/>
                <a:gd name="T42" fmla="*/ 499 w 1281"/>
                <a:gd name="T43" fmla="*/ 189 h 1576"/>
                <a:gd name="T44" fmla="*/ 468 w 1281"/>
                <a:gd name="T45" fmla="*/ 191 h 1576"/>
                <a:gd name="T46" fmla="*/ 448 w 1281"/>
                <a:gd name="T47" fmla="*/ 191 h 1576"/>
                <a:gd name="T48" fmla="*/ 429 w 1281"/>
                <a:gd name="T49" fmla="*/ 194 h 1576"/>
                <a:gd name="T50" fmla="*/ 412 w 1281"/>
                <a:gd name="T51" fmla="*/ 196 h 1576"/>
                <a:gd name="T52" fmla="*/ 395 w 1281"/>
                <a:gd name="T53" fmla="*/ 199 h 1576"/>
                <a:gd name="T54" fmla="*/ 366 w 1281"/>
                <a:gd name="T55" fmla="*/ 206 h 1576"/>
                <a:gd name="T56" fmla="*/ 354 w 1281"/>
                <a:gd name="T57" fmla="*/ 208 h 1576"/>
                <a:gd name="T58" fmla="*/ 347 w 1281"/>
                <a:gd name="T59" fmla="*/ 213 h 1576"/>
                <a:gd name="T60" fmla="*/ 342 w 1281"/>
                <a:gd name="T61" fmla="*/ 216 h 1576"/>
                <a:gd name="T62" fmla="*/ 342 w 1281"/>
                <a:gd name="T63" fmla="*/ 216 h 1576"/>
                <a:gd name="T64" fmla="*/ 337 w 1281"/>
                <a:gd name="T65" fmla="*/ 221 h 1576"/>
                <a:gd name="T66" fmla="*/ 339 w 1281"/>
                <a:gd name="T67" fmla="*/ 228 h 1576"/>
                <a:gd name="T68" fmla="*/ 337 w 1281"/>
                <a:gd name="T69" fmla="*/ 223 h 1576"/>
                <a:gd name="T70" fmla="*/ 337 w 1281"/>
                <a:gd name="T71" fmla="*/ 228 h 1576"/>
                <a:gd name="T72" fmla="*/ 339 w 1281"/>
                <a:gd name="T73" fmla="*/ 230 h 1576"/>
                <a:gd name="T74" fmla="*/ 342 w 1281"/>
                <a:gd name="T75" fmla="*/ 233 h 1576"/>
                <a:gd name="T76" fmla="*/ 344 w 1281"/>
                <a:gd name="T77" fmla="*/ 238 h 1576"/>
                <a:gd name="T78" fmla="*/ 352 w 1281"/>
                <a:gd name="T79" fmla="*/ 240 h 1576"/>
                <a:gd name="T80" fmla="*/ 359 w 1281"/>
                <a:gd name="T81" fmla="*/ 242 h 1576"/>
                <a:gd name="T82" fmla="*/ 368 w 1281"/>
                <a:gd name="T83" fmla="*/ 245 h 1576"/>
                <a:gd name="T84" fmla="*/ 378 w 1281"/>
                <a:gd name="T85" fmla="*/ 247 h 1576"/>
                <a:gd name="T86" fmla="*/ 390 w 1281"/>
                <a:gd name="T87" fmla="*/ 250 h 1576"/>
                <a:gd name="T88" fmla="*/ 400 w 1281"/>
                <a:gd name="T89" fmla="*/ 252 h 1576"/>
                <a:gd name="T90" fmla="*/ 402 w 1281"/>
                <a:gd name="T91" fmla="*/ 310 h 1576"/>
                <a:gd name="T92" fmla="*/ 402 w 1281"/>
                <a:gd name="T93" fmla="*/ 371 h 1576"/>
                <a:gd name="T94" fmla="*/ 402 w 1281"/>
                <a:gd name="T95" fmla="*/ 400 h 1576"/>
                <a:gd name="T96" fmla="*/ 400 w 1281"/>
                <a:gd name="T97" fmla="*/ 1260 h 1576"/>
                <a:gd name="T98" fmla="*/ 90 w 1281"/>
                <a:gd name="T99" fmla="*/ 383 h 1576"/>
                <a:gd name="T100" fmla="*/ 10 w 1281"/>
                <a:gd name="T101" fmla="*/ 1224 h 1576"/>
                <a:gd name="T102" fmla="*/ 1281 w 1281"/>
                <a:gd name="T103" fmla="*/ 1576 h 1576"/>
                <a:gd name="T104" fmla="*/ 352 w 1281"/>
                <a:gd name="T105" fmla="*/ 228 h 1576"/>
                <a:gd name="T106" fmla="*/ 342 w 1281"/>
                <a:gd name="T107" fmla="*/ 225 h 1576"/>
                <a:gd name="T108" fmla="*/ 342 w 1281"/>
                <a:gd name="T109" fmla="*/ 228 h 1576"/>
                <a:gd name="T110" fmla="*/ 410 w 1281"/>
                <a:gd name="T111" fmla="*/ 199 h 1576"/>
                <a:gd name="T112" fmla="*/ 412 w 1281"/>
                <a:gd name="T113" fmla="*/ 206 h 1576"/>
                <a:gd name="T114" fmla="*/ 419 w 1281"/>
                <a:gd name="T115" fmla="*/ 211 h 1576"/>
                <a:gd name="T116" fmla="*/ 427 w 1281"/>
                <a:gd name="T117" fmla="*/ 196 h 1576"/>
                <a:gd name="T118" fmla="*/ 429 w 1281"/>
                <a:gd name="T119" fmla="*/ 204 h 1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81" h="1576">
                  <a:moveTo>
                    <a:pt x="1281" y="1017"/>
                  </a:moveTo>
                  <a:lnTo>
                    <a:pt x="1277" y="1022"/>
                  </a:lnTo>
                  <a:lnTo>
                    <a:pt x="1264" y="1032"/>
                  </a:lnTo>
                  <a:lnTo>
                    <a:pt x="1255" y="1044"/>
                  </a:lnTo>
                  <a:lnTo>
                    <a:pt x="1247" y="1059"/>
                  </a:lnTo>
                  <a:lnTo>
                    <a:pt x="1240" y="1073"/>
                  </a:lnTo>
                  <a:lnTo>
                    <a:pt x="1235" y="1090"/>
                  </a:lnTo>
                  <a:lnTo>
                    <a:pt x="1235" y="1102"/>
                  </a:lnTo>
                  <a:lnTo>
                    <a:pt x="1063" y="1102"/>
                  </a:lnTo>
                  <a:lnTo>
                    <a:pt x="1063" y="1107"/>
                  </a:lnTo>
                  <a:lnTo>
                    <a:pt x="1071" y="1107"/>
                  </a:lnTo>
                  <a:lnTo>
                    <a:pt x="1071" y="1134"/>
                  </a:lnTo>
                  <a:lnTo>
                    <a:pt x="1051" y="1134"/>
                  </a:lnTo>
                  <a:lnTo>
                    <a:pt x="1051" y="634"/>
                  </a:lnTo>
                  <a:lnTo>
                    <a:pt x="1010" y="634"/>
                  </a:lnTo>
                  <a:lnTo>
                    <a:pt x="1010" y="602"/>
                  </a:lnTo>
                  <a:lnTo>
                    <a:pt x="925" y="602"/>
                  </a:lnTo>
                  <a:lnTo>
                    <a:pt x="925" y="634"/>
                  </a:lnTo>
                  <a:lnTo>
                    <a:pt x="879" y="634"/>
                  </a:lnTo>
                  <a:lnTo>
                    <a:pt x="879" y="801"/>
                  </a:lnTo>
                  <a:lnTo>
                    <a:pt x="848" y="801"/>
                  </a:lnTo>
                  <a:lnTo>
                    <a:pt x="848" y="825"/>
                  </a:lnTo>
                  <a:lnTo>
                    <a:pt x="831" y="825"/>
                  </a:lnTo>
                  <a:lnTo>
                    <a:pt x="831" y="495"/>
                  </a:lnTo>
                  <a:lnTo>
                    <a:pt x="831" y="306"/>
                  </a:lnTo>
                  <a:lnTo>
                    <a:pt x="872" y="306"/>
                  </a:lnTo>
                  <a:lnTo>
                    <a:pt x="872" y="306"/>
                  </a:lnTo>
                  <a:lnTo>
                    <a:pt x="872" y="306"/>
                  </a:lnTo>
                  <a:lnTo>
                    <a:pt x="882" y="306"/>
                  </a:lnTo>
                  <a:lnTo>
                    <a:pt x="882" y="296"/>
                  </a:lnTo>
                  <a:lnTo>
                    <a:pt x="884" y="296"/>
                  </a:lnTo>
                  <a:lnTo>
                    <a:pt x="887" y="289"/>
                  </a:lnTo>
                  <a:lnTo>
                    <a:pt x="887" y="281"/>
                  </a:lnTo>
                  <a:lnTo>
                    <a:pt x="882" y="281"/>
                  </a:lnTo>
                  <a:lnTo>
                    <a:pt x="882" y="264"/>
                  </a:lnTo>
                  <a:lnTo>
                    <a:pt x="884" y="264"/>
                  </a:lnTo>
                  <a:lnTo>
                    <a:pt x="884" y="262"/>
                  </a:lnTo>
                  <a:lnTo>
                    <a:pt x="884" y="247"/>
                  </a:lnTo>
                  <a:lnTo>
                    <a:pt x="884" y="247"/>
                  </a:lnTo>
                  <a:lnTo>
                    <a:pt x="884" y="245"/>
                  </a:lnTo>
                  <a:lnTo>
                    <a:pt x="884" y="143"/>
                  </a:lnTo>
                  <a:lnTo>
                    <a:pt x="882" y="143"/>
                  </a:lnTo>
                  <a:lnTo>
                    <a:pt x="882" y="89"/>
                  </a:lnTo>
                  <a:lnTo>
                    <a:pt x="879" y="89"/>
                  </a:lnTo>
                  <a:lnTo>
                    <a:pt x="879" y="89"/>
                  </a:lnTo>
                  <a:lnTo>
                    <a:pt x="879" y="111"/>
                  </a:lnTo>
                  <a:lnTo>
                    <a:pt x="877" y="111"/>
                  </a:lnTo>
                  <a:lnTo>
                    <a:pt x="877" y="111"/>
                  </a:lnTo>
                  <a:lnTo>
                    <a:pt x="877" y="143"/>
                  </a:lnTo>
                  <a:lnTo>
                    <a:pt x="877" y="143"/>
                  </a:lnTo>
                  <a:lnTo>
                    <a:pt x="877" y="145"/>
                  </a:lnTo>
                  <a:lnTo>
                    <a:pt x="877" y="150"/>
                  </a:lnTo>
                  <a:lnTo>
                    <a:pt x="795" y="150"/>
                  </a:lnTo>
                  <a:lnTo>
                    <a:pt x="795" y="114"/>
                  </a:lnTo>
                  <a:lnTo>
                    <a:pt x="795" y="111"/>
                  </a:lnTo>
                  <a:lnTo>
                    <a:pt x="792" y="111"/>
                  </a:lnTo>
                  <a:lnTo>
                    <a:pt x="792" y="89"/>
                  </a:lnTo>
                  <a:lnTo>
                    <a:pt x="792" y="89"/>
                  </a:lnTo>
                  <a:lnTo>
                    <a:pt x="790" y="89"/>
                  </a:lnTo>
                  <a:lnTo>
                    <a:pt x="790" y="145"/>
                  </a:lnTo>
                  <a:lnTo>
                    <a:pt x="787" y="145"/>
                  </a:lnTo>
                  <a:lnTo>
                    <a:pt x="787" y="150"/>
                  </a:lnTo>
                  <a:lnTo>
                    <a:pt x="710" y="150"/>
                  </a:lnTo>
                  <a:lnTo>
                    <a:pt x="710" y="114"/>
                  </a:lnTo>
                  <a:lnTo>
                    <a:pt x="710" y="114"/>
                  </a:lnTo>
                  <a:lnTo>
                    <a:pt x="705" y="114"/>
                  </a:lnTo>
                  <a:lnTo>
                    <a:pt x="705" y="145"/>
                  </a:lnTo>
                  <a:lnTo>
                    <a:pt x="705" y="145"/>
                  </a:lnTo>
                  <a:lnTo>
                    <a:pt x="705" y="89"/>
                  </a:lnTo>
                  <a:lnTo>
                    <a:pt x="703" y="89"/>
                  </a:lnTo>
                  <a:lnTo>
                    <a:pt x="700" y="89"/>
                  </a:lnTo>
                  <a:lnTo>
                    <a:pt x="700" y="145"/>
                  </a:lnTo>
                  <a:lnTo>
                    <a:pt x="698" y="145"/>
                  </a:lnTo>
                  <a:lnTo>
                    <a:pt x="698" y="150"/>
                  </a:lnTo>
                  <a:lnTo>
                    <a:pt x="623" y="153"/>
                  </a:lnTo>
                  <a:lnTo>
                    <a:pt x="623" y="114"/>
                  </a:lnTo>
                  <a:lnTo>
                    <a:pt x="623" y="114"/>
                  </a:lnTo>
                  <a:lnTo>
                    <a:pt x="618" y="114"/>
                  </a:lnTo>
                  <a:lnTo>
                    <a:pt x="618" y="153"/>
                  </a:lnTo>
                  <a:lnTo>
                    <a:pt x="615" y="153"/>
                  </a:lnTo>
                  <a:lnTo>
                    <a:pt x="615" y="148"/>
                  </a:lnTo>
                  <a:lnTo>
                    <a:pt x="615" y="145"/>
                  </a:lnTo>
                  <a:lnTo>
                    <a:pt x="615" y="145"/>
                  </a:lnTo>
                  <a:lnTo>
                    <a:pt x="615" y="92"/>
                  </a:lnTo>
                  <a:lnTo>
                    <a:pt x="615" y="89"/>
                  </a:lnTo>
                  <a:lnTo>
                    <a:pt x="611" y="89"/>
                  </a:lnTo>
                  <a:lnTo>
                    <a:pt x="611" y="145"/>
                  </a:lnTo>
                  <a:lnTo>
                    <a:pt x="608" y="145"/>
                  </a:lnTo>
                  <a:lnTo>
                    <a:pt x="608" y="153"/>
                  </a:lnTo>
                  <a:lnTo>
                    <a:pt x="536" y="153"/>
                  </a:lnTo>
                  <a:lnTo>
                    <a:pt x="536" y="114"/>
                  </a:lnTo>
                  <a:lnTo>
                    <a:pt x="536" y="114"/>
                  </a:lnTo>
                  <a:lnTo>
                    <a:pt x="533" y="114"/>
                  </a:lnTo>
                  <a:lnTo>
                    <a:pt x="533" y="153"/>
                  </a:lnTo>
                  <a:lnTo>
                    <a:pt x="528" y="153"/>
                  </a:lnTo>
                  <a:lnTo>
                    <a:pt x="528" y="148"/>
                  </a:lnTo>
                  <a:lnTo>
                    <a:pt x="526" y="145"/>
                  </a:lnTo>
                  <a:lnTo>
                    <a:pt x="526" y="145"/>
                  </a:lnTo>
                  <a:lnTo>
                    <a:pt x="526" y="2"/>
                  </a:lnTo>
                  <a:lnTo>
                    <a:pt x="526" y="0"/>
                  </a:lnTo>
                  <a:lnTo>
                    <a:pt x="521" y="0"/>
                  </a:lnTo>
                  <a:lnTo>
                    <a:pt x="521" y="92"/>
                  </a:lnTo>
                  <a:lnTo>
                    <a:pt x="521" y="92"/>
                  </a:lnTo>
                  <a:lnTo>
                    <a:pt x="521" y="145"/>
                  </a:lnTo>
                  <a:lnTo>
                    <a:pt x="521" y="145"/>
                  </a:lnTo>
                  <a:lnTo>
                    <a:pt x="521" y="187"/>
                  </a:lnTo>
                  <a:lnTo>
                    <a:pt x="511" y="189"/>
                  </a:lnTo>
                  <a:lnTo>
                    <a:pt x="511" y="189"/>
                  </a:lnTo>
                  <a:lnTo>
                    <a:pt x="509" y="189"/>
                  </a:lnTo>
                  <a:lnTo>
                    <a:pt x="499" y="189"/>
                  </a:lnTo>
                  <a:lnTo>
                    <a:pt x="490" y="189"/>
                  </a:lnTo>
                  <a:lnTo>
                    <a:pt x="490" y="189"/>
                  </a:lnTo>
                  <a:lnTo>
                    <a:pt x="487" y="189"/>
                  </a:lnTo>
                  <a:lnTo>
                    <a:pt x="477" y="189"/>
                  </a:lnTo>
                  <a:lnTo>
                    <a:pt x="468" y="191"/>
                  </a:lnTo>
                  <a:lnTo>
                    <a:pt x="468" y="191"/>
                  </a:lnTo>
                  <a:lnTo>
                    <a:pt x="465" y="191"/>
                  </a:lnTo>
                  <a:lnTo>
                    <a:pt x="465" y="191"/>
                  </a:lnTo>
                  <a:lnTo>
                    <a:pt x="456" y="191"/>
                  </a:lnTo>
                  <a:lnTo>
                    <a:pt x="448" y="191"/>
                  </a:lnTo>
                  <a:lnTo>
                    <a:pt x="448" y="191"/>
                  </a:lnTo>
                  <a:lnTo>
                    <a:pt x="446" y="191"/>
                  </a:lnTo>
                  <a:lnTo>
                    <a:pt x="439" y="194"/>
                  </a:lnTo>
                  <a:lnTo>
                    <a:pt x="429" y="194"/>
                  </a:lnTo>
                  <a:lnTo>
                    <a:pt x="429" y="194"/>
                  </a:lnTo>
                  <a:lnTo>
                    <a:pt x="429" y="194"/>
                  </a:lnTo>
                  <a:lnTo>
                    <a:pt x="419" y="196"/>
                  </a:lnTo>
                  <a:lnTo>
                    <a:pt x="412" y="196"/>
                  </a:lnTo>
                  <a:lnTo>
                    <a:pt x="412" y="196"/>
                  </a:lnTo>
                  <a:lnTo>
                    <a:pt x="412" y="196"/>
                  </a:lnTo>
                  <a:lnTo>
                    <a:pt x="412" y="196"/>
                  </a:lnTo>
                  <a:lnTo>
                    <a:pt x="412" y="196"/>
                  </a:lnTo>
                  <a:lnTo>
                    <a:pt x="405" y="199"/>
                  </a:lnTo>
                  <a:lnTo>
                    <a:pt x="398" y="199"/>
                  </a:lnTo>
                  <a:lnTo>
                    <a:pt x="395" y="199"/>
                  </a:lnTo>
                  <a:lnTo>
                    <a:pt x="390" y="201"/>
                  </a:lnTo>
                  <a:lnTo>
                    <a:pt x="383" y="201"/>
                  </a:lnTo>
                  <a:lnTo>
                    <a:pt x="383" y="201"/>
                  </a:lnTo>
                  <a:lnTo>
                    <a:pt x="376" y="204"/>
                  </a:lnTo>
                  <a:lnTo>
                    <a:pt x="366" y="206"/>
                  </a:lnTo>
                  <a:lnTo>
                    <a:pt x="356" y="208"/>
                  </a:lnTo>
                  <a:lnTo>
                    <a:pt x="354" y="208"/>
                  </a:lnTo>
                  <a:lnTo>
                    <a:pt x="354" y="208"/>
                  </a:lnTo>
                  <a:lnTo>
                    <a:pt x="354" y="208"/>
                  </a:lnTo>
                  <a:lnTo>
                    <a:pt x="354" y="208"/>
                  </a:lnTo>
                  <a:lnTo>
                    <a:pt x="354" y="208"/>
                  </a:lnTo>
                  <a:lnTo>
                    <a:pt x="349" y="211"/>
                  </a:lnTo>
                  <a:lnTo>
                    <a:pt x="349" y="211"/>
                  </a:lnTo>
                  <a:lnTo>
                    <a:pt x="347" y="213"/>
                  </a:lnTo>
                  <a:lnTo>
                    <a:pt x="347" y="213"/>
                  </a:lnTo>
                  <a:lnTo>
                    <a:pt x="347" y="213"/>
                  </a:lnTo>
                  <a:lnTo>
                    <a:pt x="344" y="213"/>
                  </a:lnTo>
                  <a:lnTo>
                    <a:pt x="342" y="216"/>
                  </a:lnTo>
                  <a:lnTo>
                    <a:pt x="342" y="216"/>
                  </a:lnTo>
                  <a:lnTo>
                    <a:pt x="342" y="216"/>
                  </a:lnTo>
                  <a:lnTo>
                    <a:pt x="339" y="218"/>
                  </a:lnTo>
                  <a:lnTo>
                    <a:pt x="339" y="218"/>
                  </a:lnTo>
                  <a:lnTo>
                    <a:pt x="339" y="218"/>
                  </a:lnTo>
                  <a:lnTo>
                    <a:pt x="342" y="216"/>
                  </a:lnTo>
                  <a:lnTo>
                    <a:pt x="342" y="216"/>
                  </a:lnTo>
                  <a:lnTo>
                    <a:pt x="342" y="216"/>
                  </a:lnTo>
                  <a:lnTo>
                    <a:pt x="339" y="218"/>
                  </a:lnTo>
                  <a:lnTo>
                    <a:pt x="339" y="218"/>
                  </a:lnTo>
                  <a:lnTo>
                    <a:pt x="337" y="221"/>
                  </a:lnTo>
                  <a:lnTo>
                    <a:pt x="337" y="221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7" y="225"/>
                  </a:lnTo>
                  <a:lnTo>
                    <a:pt x="337" y="225"/>
                  </a:lnTo>
                  <a:lnTo>
                    <a:pt x="339" y="228"/>
                  </a:lnTo>
                  <a:lnTo>
                    <a:pt x="337" y="225"/>
                  </a:lnTo>
                  <a:lnTo>
                    <a:pt x="337" y="225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7" y="225"/>
                  </a:lnTo>
                  <a:lnTo>
                    <a:pt x="337" y="225"/>
                  </a:lnTo>
                  <a:lnTo>
                    <a:pt x="337" y="228"/>
                  </a:lnTo>
                  <a:lnTo>
                    <a:pt x="337" y="228"/>
                  </a:lnTo>
                  <a:lnTo>
                    <a:pt x="337" y="228"/>
                  </a:lnTo>
                  <a:lnTo>
                    <a:pt x="337" y="228"/>
                  </a:lnTo>
                  <a:lnTo>
                    <a:pt x="337" y="230"/>
                  </a:lnTo>
                  <a:lnTo>
                    <a:pt x="339" y="230"/>
                  </a:lnTo>
                  <a:lnTo>
                    <a:pt x="339" y="233"/>
                  </a:lnTo>
                  <a:lnTo>
                    <a:pt x="339" y="233"/>
                  </a:lnTo>
                  <a:lnTo>
                    <a:pt x="339" y="233"/>
                  </a:lnTo>
                  <a:lnTo>
                    <a:pt x="339" y="233"/>
                  </a:lnTo>
                  <a:lnTo>
                    <a:pt x="342" y="233"/>
                  </a:lnTo>
                  <a:lnTo>
                    <a:pt x="342" y="235"/>
                  </a:lnTo>
                  <a:lnTo>
                    <a:pt x="342" y="235"/>
                  </a:lnTo>
                  <a:lnTo>
                    <a:pt x="344" y="238"/>
                  </a:lnTo>
                  <a:lnTo>
                    <a:pt x="344" y="238"/>
                  </a:lnTo>
                  <a:lnTo>
                    <a:pt x="344" y="238"/>
                  </a:lnTo>
                  <a:lnTo>
                    <a:pt x="347" y="238"/>
                  </a:lnTo>
                  <a:lnTo>
                    <a:pt x="347" y="238"/>
                  </a:lnTo>
                  <a:lnTo>
                    <a:pt x="349" y="238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6" y="242"/>
                  </a:lnTo>
                  <a:lnTo>
                    <a:pt x="359" y="242"/>
                  </a:lnTo>
                  <a:lnTo>
                    <a:pt x="359" y="242"/>
                  </a:lnTo>
                  <a:lnTo>
                    <a:pt x="359" y="242"/>
                  </a:lnTo>
                  <a:lnTo>
                    <a:pt x="359" y="242"/>
                  </a:lnTo>
                  <a:lnTo>
                    <a:pt x="364" y="245"/>
                  </a:lnTo>
                  <a:lnTo>
                    <a:pt x="368" y="245"/>
                  </a:lnTo>
                  <a:lnTo>
                    <a:pt x="368" y="245"/>
                  </a:lnTo>
                  <a:lnTo>
                    <a:pt x="368" y="245"/>
                  </a:lnTo>
                  <a:lnTo>
                    <a:pt x="368" y="245"/>
                  </a:lnTo>
                  <a:lnTo>
                    <a:pt x="373" y="247"/>
                  </a:lnTo>
                  <a:lnTo>
                    <a:pt x="378" y="247"/>
                  </a:lnTo>
                  <a:lnTo>
                    <a:pt x="378" y="247"/>
                  </a:lnTo>
                  <a:lnTo>
                    <a:pt x="381" y="247"/>
                  </a:lnTo>
                  <a:lnTo>
                    <a:pt x="381" y="247"/>
                  </a:lnTo>
                  <a:lnTo>
                    <a:pt x="385" y="250"/>
                  </a:lnTo>
                  <a:lnTo>
                    <a:pt x="390" y="250"/>
                  </a:lnTo>
                  <a:lnTo>
                    <a:pt x="390" y="250"/>
                  </a:lnTo>
                  <a:lnTo>
                    <a:pt x="393" y="250"/>
                  </a:lnTo>
                  <a:lnTo>
                    <a:pt x="393" y="250"/>
                  </a:lnTo>
                  <a:lnTo>
                    <a:pt x="398" y="252"/>
                  </a:lnTo>
                  <a:lnTo>
                    <a:pt x="400" y="252"/>
                  </a:lnTo>
                  <a:lnTo>
                    <a:pt x="460" y="262"/>
                  </a:lnTo>
                  <a:lnTo>
                    <a:pt x="460" y="301"/>
                  </a:lnTo>
                  <a:lnTo>
                    <a:pt x="436" y="303"/>
                  </a:lnTo>
                  <a:lnTo>
                    <a:pt x="417" y="308"/>
                  </a:lnTo>
                  <a:lnTo>
                    <a:pt x="402" y="310"/>
                  </a:lnTo>
                  <a:lnTo>
                    <a:pt x="398" y="315"/>
                  </a:lnTo>
                  <a:lnTo>
                    <a:pt x="398" y="337"/>
                  </a:lnTo>
                  <a:lnTo>
                    <a:pt x="402" y="342"/>
                  </a:lnTo>
                  <a:lnTo>
                    <a:pt x="402" y="342"/>
                  </a:lnTo>
                  <a:lnTo>
                    <a:pt x="402" y="371"/>
                  </a:lnTo>
                  <a:lnTo>
                    <a:pt x="398" y="374"/>
                  </a:lnTo>
                  <a:lnTo>
                    <a:pt x="398" y="376"/>
                  </a:lnTo>
                  <a:lnTo>
                    <a:pt x="402" y="381"/>
                  </a:lnTo>
                  <a:lnTo>
                    <a:pt x="402" y="381"/>
                  </a:lnTo>
                  <a:lnTo>
                    <a:pt x="402" y="400"/>
                  </a:lnTo>
                  <a:lnTo>
                    <a:pt x="398" y="403"/>
                  </a:lnTo>
                  <a:lnTo>
                    <a:pt x="398" y="412"/>
                  </a:lnTo>
                  <a:lnTo>
                    <a:pt x="402" y="417"/>
                  </a:lnTo>
                  <a:lnTo>
                    <a:pt x="402" y="417"/>
                  </a:lnTo>
                  <a:lnTo>
                    <a:pt x="400" y="1260"/>
                  </a:lnTo>
                  <a:lnTo>
                    <a:pt x="378" y="1260"/>
                  </a:lnTo>
                  <a:lnTo>
                    <a:pt x="376" y="415"/>
                  </a:lnTo>
                  <a:lnTo>
                    <a:pt x="315" y="415"/>
                  </a:lnTo>
                  <a:lnTo>
                    <a:pt x="315" y="383"/>
                  </a:lnTo>
                  <a:lnTo>
                    <a:pt x="90" y="383"/>
                  </a:lnTo>
                  <a:lnTo>
                    <a:pt x="75" y="415"/>
                  </a:lnTo>
                  <a:lnTo>
                    <a:pt x="42" y="415"/>
                  </a:lnTo>
                  <a:lnTo>
                    <a:pt x="17" y="473"/>
                  </a:lnTo>
                  <a:lnTo>
                    <a:pt x="17" y="1224"/>
                  </a:lnTo>
                  <a:lnTo>
                    <a:pt x="10" y="1224"/>
                  </a:lnTo>
                  <a:lnTo>
                    <a:pt x="10" y="1221"/>
                  </a:lnTo>
                  <a:lnTo>
                    <a:pt x="5" y="1219"/>
                  </a:lnTo>
                  <a:lnTo>
                    <a:pt x="0" y="1219"/>
                  </a:lnTo>
                  <a:lnTo>
                    <a:pt x="0" y="1576"/>
                  </a:lnTo>
                  <a:lnTo>
                    <a:pt x="1281" y="1576"/>
                  </a:lnTo>
                  <a:lnTo>
                    <a:pt x="1281" y="1017"/>
                  </a:lnTo>
                  <a:close/>
                  <a:moveTo>
                    <a:pt x="342" y="225"/>
                  </a:moveTo>
                  <a:lnTo>
                    <a:pt x="344" y="225"/>
                  </a:lnTo>
                  <a:lnTo>
                    <a:pt x="344" y="225"/>
                  </a:lnTo>
                  <a:lnTo>
                    <a:pt x="352" y="228"/>
                  </a:lnTo>
                  <a:lnTo>
                    <a:pt x="344" y="225"/>
                  </a:lnTo>
                  <a:lnTo>
                    <a:pt x="344" y="225"/>
                  </a:lnTo>
                  <a:lnTo>
                    <a:pt x="342" y="225"/>
                  </a:lnTo>
                  <a:lnTo>
                    <a:pt x="342" y="223"/>
                  </a:lnTo>
                  <a:lnTo>
                    <a:pt x="342" y="225"/>
                  </a:lnTo>
                  <a:close/>
                  <a:moveTo>
                    <a:pt x="342" y="228"/>
                  </a:moveTo>
                  <a:lnTo>
                    <a:pt x="342" y="228"/>
                  </a:lnTo>
                  <a:lnTo>
                    <a:pt x="339" y="228"/>
                  </a:lnTo>
                  <a:lnTo>
                    <a:pt x="342" y="228"/>
                  </a:lnTo>
                  <a:lnTo>
                    <a:pt x="342" y="228"/>
                  </a:lnTo>
                  <a:lnTo>
                    <a:pt x="361" y="233"/>
                  </a:lnTo>
                  <a:lnTo>
                    <a:pt x="342" y="228"/>
                  </a:lnTo>
                  <a:close/>
                  <a:moveTo>
                    <a:pt x="410" y="199"/>
                  </a:moveTo>
                  <a:lnTo>
                    <a:pt x="410" y="201"/>
                  </a:lnTo>
                  <a:lnTo>
                    <a:pt x="410" y="199"/>
                  </a:lnTo>
                  <a:lnTo>
                    <a:pt x="410" y="199"/>
                  </a:lnTo>
                  <a:lnTo>
                    <a:pt x="410" y="199"/>
                  </a:lnTo>
                  <a:close/>
                  <a:moveTo>
                    <a:pt x="414" y="208"/>
                  </a:moveTo>
                  <a:lnTo>
                    <a:pt x="412" y="206"/>
                  </a:lnTo>
                  <a:lnTo>
                    <a:pt x="412" y="206"/>
                  </a:lnTo>
                  <a:lnTo>
                    <a:pt x="412" y="206"/>
                  </a:lnTo>
                  <a:lnTo>
                    <a:pt x="412" y="206"/>
                  </a:lnTo>
                  <a:lnTo>
                    <a:pt x="412" y="206"/>
                  </a:lnTo>
                  <a:lnTo>
                    <a:pt x="414" y="208"/>
                  </a:lnTo>
                  <a:lnTo>
                    <a:pt x="419" y="211"/>
                  </a:lnTo>
                  <a:lnTo>
                    <a:pt x="414" y="208"/>
                  </a:lnTo>
                  <a:close/>
                  <a:moveTo>
                    <a:pt x="427" y="199"/>
                  </a:moveTo>
                  <a:lnTo>
                    <a:pt x="427" y="196"/>
                  </a:lnTo>
                  <a:lnTo>
                    <a:pt x="429" y="196"/>
                  </a:lnTo>
                  <a:lnTo>
                    <a:pt x="427" y="196"/>
                  </a:lnTo>
                  <a:lnTo>
                    <a:pt x="427" y="199"/>
                  </a:lnTo>
                  <a:close/>
                  <a:moveTo>
                    <a:pt x="429" y="206"/>
                  </a:moveTo>
                  <a:lnTo>
                    <a:pt x="429" y="204"/>
                  </a:lnTo>
                  <a:lnTo>
                    <a:pt x="429" y="204"/>
                  </a:lnTo>
                  <a:lnTo>
                    <a:pt x="429" y="204"/>
                  </a:lnTo>
                  <a:lnTo>
                    <a:pt x="429" y="206"/>
                  </a:lnTo>
                  <a:lnTo>
                    <a:pt x="431" y="206"/>
                  </a:lnTo>
                  <a:lnTo>
                    <a:pt x="429" y="2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" name="íṡ1îḋé"/>
            <p:cNvSpPr/>
            <p:nvPr/>
          </p:nvSpPr>
          <p:spPr bwMode="auto">
            <a:xfrm>
              <a:off x="6098382" y="5262269"/>
              <a:ext cx="2030676" cy="1895615"/>
            </a:xfrm>
            <a:custGeom>
              <a:avLst/>
              <a:gdLst>
                <a:gd name="T0" fmla="*/ 1278 w 1278"/>
                <a:gd name="T1" fmla="*/ 836 h 1193"/>
                <a:gd name="T2" fmla="*/ 1271 w 1278"/>
                <a:gd name="T3" fmla="*/ 819 h 1193"/>
                <a:gd name="T4" fmla="*/ 1252 w 1278"/>
                <a:gd name="T5" fmla="*/ 821 h 1193"/>
                <a:gd name="T6" fmla="*/ 1242 w 1278"/>
                <a:gd name="T7" fmla="*/ 807 h 1193"/>
                <a:gd name="T8" fmla="*/ 1206 w 1278"/>
                <a:gd name="T9" fmla="*/ 700 h 1193"/>
                <a:gd name="T10" fmla="*/ 1167 w 1278"/>
                <a:gd name="T11" fmla="*/ 693 h 1193"/>
                <a:gd name="T12" fmla="*/ 1126 w 1278"/>
                <a:gd name="T13" fmla="*/ 651 h 1193"/>
                <a:gd name="T14" fmla="*/ 1075 w 1278"/>
                <a:gd name="T15" fmla="*/ 598 h 1193"/>
                <a:gd name="T16" fmla="*/ 1068 w 1278"/>
                <a:gd name="T17" fmla="*/ 586 h 1193"/>
                <a:gd name="T18" fmla="*/ 1053 w 1278"/>
                <a:gd name="T19" fmla="*/ 566 h 1193"/>
                <a:gd name="T20" fmla="*/ 1048 w 1278"/>
                <a:gd name="T21" fmla="*/ 581 h 1193"/>
                <a:gd name="T22" fmla="*/ 1034 w 1278"/>
                <a:gd name="T23" fmla="*/ 593 h 1193"/>
                <a:gd name="T24" fmla="*/ 1034 w 1278"/>
                <a:gd name="T25" fmla="*/ 625 h 1193"/>
                <a:gd name="T26" fmla="*/ 956 w 1278"/>
                <a:gd name="T27" fmla="*/ 685 h 1193"/>
                <a:gd name="T28" fmla="*/ 925 w 1278"/>
                <a:gd name="T29" fmla="*/ 695 h 1193"/>
                <a:gd name="T30" fmla="*/ 884 w 1278"/>
                <a:gd name="T31" fmla="*/ 824 h 1193"/>
                <a:gd name="T32" fmla="*/ 864 w 1278"/>
                <a:gd name="T33" fmla="*/ 807 h 1193"/>
                <a:gd name="T34" fmla="*/ 850 w 1278"/>
                <a:gd name="T35" fmla="*/ 838 h 1193"/>
                <a:gd name="T36" fmla="*/ 833 w 1278"/>
                <a:gd name="T37" fmla="*/ 819 h 1193"/>
                <a:gd name="T38" fmla="*/ 814 w 1278"/>
                <a:gd name="T39" fmla="*/ 841 h 1193"/>
                <a:gd name="T40" fmla="*/ 751 w 1278"/>
                <a:gd name="T41" fmla="*/ 32 h 1193"/>
                <a:gd name="T42" fmla="*/ 445 w 1278"/>
                <a:gd name="T43" fmla="*/ 855 h 1193"/>
                <a:gd name="T44" fmla="*/ 431 w 1278"/>
                <a:gd name="T45" fmla="*/ 739 h 1193"/>
                <a:gd name="T46" fmla="*/ 404 w 1278"/>
                <a:gd name="T47" fmla="*/ 756 h 1193"/>
                <a:gd name="T48" fmla="*/ 378 w 1278"/>
                <a:gd name="T49" fmla="*/ 561 h 1193"/>
                <a:gd name="T50" fmla="*/ 375 w 1278"/>
                <a:gd name="T51" fmla="*/ 547 h 1193"/>
                <a:gd name="T52" fmla="*/ 368 w 1278"/>
                <a:gd name="T53" fmla="*/ 569 h 1193"/>
                <a:gd name="T54" fmla="*/ 351 w 1278"/>
                <a:gd name="T55" fmla="*/ 479 h 1193"/>
                <a:gd name="T56" fmla="*/ 341 w 1278"/>
                <a:gd name="T57" fmla="*/ 348 h 1193"/>
                <a:gd name="T58" fmla="*/ 324 w 1278"/>
                <a:gd name="T59" fmla="*/ 372 h 1193"/>
                <a:gd name="T60" fmla="*/ 312 w 1278"/>
                <a:gd name="T61" fmla="*/ 479 h 1193"/>
                <a:gd name="T62" fmla="*/ 295 w 1278"/>
                <a:gd name="T63" fmla="*/ 561 h 1193"/>
                <a:gd name="T64" fmla="*/ 290 w 1278"/>
                <a:gd name="T65" fmla="*/ 547 h 1193"/>
                <a:gd name="T66" fmla="*/ 288 w 1278"/>
                <a:gd name="T67" fmla="*/ 569 h 1193"/>
                <a:gd name="T68" fmla="*/ 269 w 1278"/>
                <a:gd name="T69" fmla="*/ 693 h 1193"/>
                <a:gd name="T70" fmla="*/ 269 w 1278"/>
                <a:gd name="T71" fmla="*/ 695 h 1193"/>
                <a:gd name="T72" fmla="*/ 261 w 1278"/>
                <a:gd name="T73" fmla="*/ 758 h 1193"/>
                <a:gd name="T74" fmla="*/ 244 w 1278"/>
                <a:gd name="T75" fmla="*/ 712 h 1193"/>
                <a:gd name="T76" fmla="*/ 232 w 1278"/>
                <a:gd name="T77" fmla="*/ 574 h 1193"/>
                <a:gd name="T78" fmla="*/ 208 w 1278"/>
                <a:gd name="T79" fmla="*/ 710 h 1193"/>
                <a:gd name="T80" fmla="*/ 194 w 1278"/>
                <a:gd name="T81" fmla="*/ 748 h 1193"/>
                <a:gd name="T82" fmla="*/ 174 w 1278"/>
                <a:gd name="T83" fmla="*/ 688 h 1193"/>
                <a:gd name="T84" fmla="*/ 172 w 1278"/>
                <a:gd name="T85" fmla="*/ 685 h 1193"/>
                <a:gd name="T86" fmla="*/ 169 w 1278"/>
                <a:gd name="T87" fmla="*/ 615 h 1193"/>
                <a:gd name="T88" fmla="*/ 167 w 1278"/>
                <a:gd name="T89" fmla="*/ 610 h 1193"/>
                <a:gd name="T90" fmla="*/ 157 w 1278"/>
                <a:gd name="T91" fmla="*/ 557 h 1193"/>
                <a:gd name="T92" fmla="*/ 148 w 1278"/>
                <a:gd name="T93" fmla="*/ 547 h 1193"/>
                <a:gd name="T94" fmla="*/ 123 w 1278"/>
                <a:gd name="T95" fmla="*/ 479 h 1193"/>
                <a:gd name="T96" fmla="*/ 123 w 1278"/>
                <a:gd name="T97" fmla="*/ 464 h 1193"/>
                <a:gd name="T98" fmla="*/ 121 w 1278"/>
                <a:gd name="T99" fmla="*/ 304 h 1193"/>
                <a:gd name="T100" fmla="*/ 97 w 1278"/>
                <a:gd name="T101" fmla="*/ 464 h 1193"/>
                <a:gd name="T102" fmla="*/ 94 w 1278"/>
                <a:gd name="T103" fmla="*/ 476 h 1193"/>
                <a:gd name="T104" fmla="*/ 70 w 1278"/>
                <a:gd name="T105" fmla="*/ 554 h 1193"/>
                <a:gd name="T106" fmla="*/ 60 w 1278"/>
                <a:gd name="T107" fmla="*/ 549 h 1193"/>
                <a:gd name="T108" fmla="*/ 48 w 1278"/>
                <a:gd name="T109" fmla="*/ 610 h 1193"/>
                <a:gd name="T110" fmla="*/ 41 w 1278"/>
                <a:gd name="T111" fmla="*/ 746 h 1193"/>
                <a:gd name="T112" fmla="*/ 17 w 1278"/>
                <a:gd name="T113" fmla="*/ 739 h 1193"/>
                <a:gd name="T114" fmla="*/ 7 w 1278"/>
                <a:gd name="T115" fmla="*/ 848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78" h="1193">
                  <a:moveTo>
                    <a:pt x="12" y="306"/>
                  </a:moveTo>
                  <a:lnTo>
                    <a:pt x="0" y="304"/>
                  </a:lnTo>
                  <a:lnTo>
                    <a:pt x="0" y="1193"/>
                  </a:lnTo>
                  <a:lnTo>
                    <a:pt x="1278" y="1193"/>
                  </a:lnTo>
                  <a:lnTo>
                    <a:pt x="1278" y="836"/>
                  </a:lnTo>
                  <a:lnTo>
                    <a:pt x="1274" y="836"/>
                  </a:lnTo>
                  <a:lnTo>
                    <a:pt x="1274" y="819"/>
                  </a:lnTo>
                  <a:lnTo>
                    <a:pt x="1271" y="819"/>
                  </a:lnTo>
                  <a:lnTo>
                    <a:pt x="1271" y="819"/>
                  </a:lnTo>
                  <a:lnTo>
                    <a:pt x="1271" y="819"/>
                  </a:lnTo>
                  <a:lnTo>
                    <a:pt x="1269" y="819"/>
                  </a:lnTo>
                  <a:lnTo>
                    <a:pt x="1269" y="836"/>
                  </a:lnTo>
                  <a:lnTo>
                    <a:pt x="1257" y="836"/>
                  </a:lnTo>
                  <a:lnTo>
                    <a:pt x="1257" y="824"/>
                  </a:lnTo>
                  <a:lnTo>
                    <a:pt x="1252" y="821"/>
                  </a:lnTo>
                  <a:lnTo>
                    <a:pt x="1245" y="821"/>
                  </a:lnTo>
                  <a:lnTo>
                    <a:pt x="1245" y="807"/>
                  </a:lnTo>
                  <a:lnTo>
                    <a:pt x="1242" y="807"/>
                  </a:lnTo>
                  <a:lnTo>
                    <a:pt x="1242" y="807"/>
                  </a:lnTo>
                  <a:lnTo>
                    <a:pt x="1242" y="807"/>
                  </a:lnTo>
                  <a:lnTo>
                    <a:pt x="1240" y="807"/>
                  </a:lnTo>
                  <a:lnTo>
                    <a:pt x="1240" y="821"/>
                  </a:lnTo>
                  <a:lnTo>
                    <a:pt x="1220" y="821"/>
                  </a:lnTo>
                  <a:lnTo>
                    <a:pt x="1223" y="702"/>
                  </a:lnTo>
                  <a:lnTo>
                    <a:pt x="1206" y="700"/>
                  </a:lnTo>
                  <a:lnTo>
                    <a:pt x="1182" y="700"/>
                  </a:lnTo>
                  <a:lnTo>
                    <a:pt x="1174" y="695"/>
                  </a:lnTo>
                  <a:lnTo>
                    <a:pt x="1174" y="695"/>
                  </a:lnTo>
                  <a:lnTo>
                    <a:pt x="1172" y="695"/>
                  </a:lnTo>
                  <a:lnTo>
                    <a:pt x="1167" y="693"/>
                  </a:lnTo>
                  <a:lnTo>
                    <a:pt x="1167" y="688"/>
                  </a:lnTo>
                  <a:lnTo>
                    <a:pt x="1155" y="685"/>
                  </a:lnTo>
                  <a:lnTo>
                    <a:pt x="1150" y="685"/>
                  </a:lnTo>
                  <a:lnTo>
                    <a:pt x="1140" y="668"/>
                  </a:lnTo>
                  <a:lnTo>
                    <a:pt x="1126" y="651"/>
                  </a:lnTo>
                  <a:lnTo>
                    <a:pt x="1111" y="639"/>
                  </a:lnTo>
                  <a:lnTo>
                    <a:pt x="1092" y="629"/>
                  </a:lnTo>
                  <a:lnTo>
                    <a:pt x="1073" y="625"/>
                  </a:lnTo>
                  <a:lnTo>
                    <a:pt x="1073" y="598"/>
                  </a:lnTo>
                  <a:lnTo>
                    <a:pt x="1075" y="598"/>
                  </a:lnTo>
                  <a:lnTo>
                    <a:pt x="1075" y="595"/>
                  </a:lnTo>
                  <a:lnTo>
                    <a:pt x="1075" y="593"/>
                  </a:lnTo>
                  <a:lnTo>
                    <a:pt x="1073" y="593"/>
                  </a:lnTo>
                  <a:lnTo>
                    <a:pt x="1070" y="588"/>
                  </a:lnTo>
                  <a:lnTo>
                    <a:pt x="1068" y="586"/>
                  </a:lnTo>
                  <a:lnTo>
                    <a:pt x="1063" y="583"/>
                  </a:lnTo>
                  <a:lnTo>
                    <a:pt x="1061" y="581"/>
                  </a:lnTo>
                  <a:lnTo>
                    <a:pt x="1056" y="581"/>
                  </a:lnTo>
                  <a:lnTo>
                    <a:pt x="1056" y="566"/>
                  </a:lnTo>
                  <a:lnTo>
                    <a:pt x="1053" y="566"/>
                  </a:lnTo>
                  <a:lnTo>
                    <a:pt x="1053" y="564"/>
                  </a:lnTo>
                  <a:lnTo>
                    <a:pt x="1053" y="566"/>
                  </a:lnTo>
                  <a:lnTo>
                    <a:pt x="1048" y="566"/>
                  </a:lnTo>
                  <a:lnTo>
                    <a:pt x="1048" y="581"/>
                  </a:lnTo>
                  <a:lnTo>
                    <a:pt x="1048" y="581"/>
                  </a:lnTo>
                  <a:lnTo>
                    <a:pt x="1046" y="581"/>
                  </a:lnTo>
                  <a:lnTo>
                    <a:pt x="1041" y="583"/>
                  </a:lnTo>
                  <a:lnTo>
                    <a:pt x="1039" y="586"/>
                  </a:lnTo>
                  <a:lnTo>
                    <a:pt x="1036" y="588"/>
                  </a:lnTo>
                  <a:lnTo>
                    <a:pt x="1034" y="593"/>
                  </a:lnTo>
                  <a:lnTo>
                    <a:pt x="1031" y="593"/>
                  </a:lnTo>
                  <a:lnTo>
                    <a:pt x="1031" y="595"/>
                  </a:lnTo>
                  <a:lnTo>
                    <a:pt x="1031" y="598"/>
                  </a:lnTo>
                  <a:lnTo>
                    <a:pt x="1034" y="598"/>
                  </a:lnTo>
                  <a:lnTo>
                    <a:pt x="1034" y="625"/>
                  </a:lnTo>
                  <a:lnTo>
                    <a:pt x="1014" y="629"/>
                  </a:lnTo>
                  <a:lnTo>
                    <a:pt x="995" y="639"/>
                  </a:lnTo>
                  <a:lnTo>
                    <a:pt x="978" y="651"/>
                  </a:lnTo>
                  <a:lnTo>
                    <a:pt x="964" y="668"/>
                  </a:lnTo>
                  <a:lnTo>
                    <a:pt x="956" y="685"/>
                  </a:lnTo>
                  <a:lnTo>
                    <a:pt x="949" y="685"/>
                  </a:lnTo>
                  <a:lnTo>
                    <a:pt x="937" y="688"/>
                  </a:lnTo>
                  <a:lnTo>
                    <a:pt x="937" y="693"/>
                  </a:lnTo>
                  <a:lnTo>
                    <a:pt x="935" y="695"/>
                  </a:lnTo>
                  <a:lnTo>
                    <a:pt x="925" y="695"/>
                  </a:lnTo>
                  <a:lnTo>
                    <a:pt x="925" y="697"/>
                  </a:lnTo>
                  <a:lnTo>
                    <a:pt x="922" y="700"/>
                  </a:lnTo>
                  <a:lnTo>
                    <a:pt x="896" y="700"/>
                  </a:lnTo>
                  <a:lnTo>
                    <a:pt x="881" y="702"/>
                  </a:lnTo>
                  <a:lnTo>
                    <a:pt x="884" y="824"/>
                  </a:lnTo>
                  <a:lnTo>
                    <a:pt x="867" y="824"/>
                  </a:lnTo>
                  <a:lnTo>
                    <a:pt x="867" y="807"/>
                  </a:lnTo>
                  <a:lnTo>
                    <a:pt x="864" y="807"/>
                  </a:lnTo>
                  <a:lnTo>
                    <a:pt x="864" y="807"/>
                  </a:lnTo>
                  <a:lnTo>
                    <a:pt x="864" y="807"/>
                  </a:lnTo>
                  <a:lnTo>
                    <a:pt x="862" y="807"/>
                  </a:lnTo>
                  <a:lnTo>
                    <a:pt x="862" y="824"/>
                  </a:lnTo>
                  <a:lnTo>
                    <a:pt x="855" y="824"/>
                  </a:lnTo>
                  <a:lnTo>
                    <a:pt x="850" y="826"/>
                  </a:lnTo>
                  <a:lnTo>
                    <a:pt x="850" y="838"/>
                  </a:lnTo>
                  <a:lnTo>
                    <a:pt x="850" y="838"/>
                  </a:lnTo>
                  <a:lnTo>
                    <a:pt x="835" y="838"/>
                  </a:lnTo>
                  <a:lnTo>
                    <a:pt x="833" y="819"/>
                  </a:lnTo>
                  <a:lnTo>
                    <a:pt x="833" y="819"/>
                  </a:lnTo>
                  <a:lnTo>
                    <a:pt x="833" y="819"/>
                  </a:lnTo>
                  <a:lnTo>
                    <a:pt x="830" y="819"/>
                  </a:lnTo>
                  <a:lnTo>
                    <a:pt x="828" y="819"/>
                  </a:lnTo>
                  <a:lnTo>
                    <a:pt x="828" y="838"/>
                  </a:lnTo>
                  <a:lnTo>
                    <a:pt x="818" y="838"/>
                  </a:lnTo>
                  <a:lnTo>
                    <a:pt x="814" y="841"/>
                  </a:lnTo>
                  <a:lnTo>
                    <a:pt x="814" y="841"/>
                  </a:lnTo>
                  <a:lnTo>
                    <a:pt x="809" y="841"/>
                  </a:lnTo>
                  <a:lnTo>
                    <a:pt x="811" y="90"/>
                  </a:lnTo>
                  <a:lnTo>
                    <a:pt x="782" y="32"/>
                  </a:lnTo>
                  <a:lnTo>
                    <a:pt x="751" y="32"/>
                  </a:lnTo>
                  <a:lnTo>
                    <a:pt x="734" y="0"/>
                  </a:lnTo>
                  <a:lnTo>
                    <a:pt x="508" y="0"/>
                  </a:lnTo>
                  <a:lnTo>
                    <a:pt x="508" y="32"/>
                  </a:lnTo>
                  <a:lnTo>
                    <a:pt x="448" y="32"/>
                  </a:lnTo>
                  <a:lnTo>
                    <a:pt x="445" y="855"/>
                  </a:lnTo>
                  <a:lnTo>
                    <a:pt x="438" y="848"/>
                  </a:lnTo>
                  <a:lnTo>
                    <a:pt x="438" y="836"/>
                  </a:lnTo>
                  <a:lnTo>
                    <a:pt x="436" y="746"/>
                  </a:lnTo>
                  <a:lnTo>
                    <a:pt x="436" y="739"/>
                  </a:lnTo>
                  <a:lnTo>
                    <a:pt x="431" y="739"/>
                  </a:lnTo>
                  <a:lnTo>
                    <a:pt x="429" y="739"/>
                  </a:lnTo>
                  <a:lnTo>
                    <a:pt x="429" y="746"/>
                  </a:lnTo>
                  <a:lnTo>
                    <a:pt x="429" y="758"/>
                  </a:lnTo>
                  <a:lnTo>
                    <a:pt x="404" y="758"/>
                  </a:lnTo>
                  <a:lnTo>
                    <a:pt x="404" y="756"/>
                  </a:lnTo>
                  <a:lnTo>
                    <a:pt x="399" y="746"/>
                  </a:lnTo>
                  <a:lnTo>
                    <a:pt x="399" y="693"/>
                  </a:lnTo>
                  <a:lnTo>
                    <a:pt x="392" y="676"/>
                  </a:lnTo>
                  <a:lnTo>
                    <a:pt x="392" y="622"/>
                  </a:lnTo>
                  <a:lnTo>
                    <a:pt x="378" y="561"/>
                  </a:lnTo>
                  <a:lnTo>
                    <a:pt x="380" y="561"/>
                  </a:lnTo>
                  <a:lnTo>
                    <a:pt x="380" y="547"/>
                  </a:lnTo>
                  <a:lnTo>
                    <a:pt x="375" y="547"/>
                  </a:lnTo>
                  <a:lnTo>
                    <a:pt x="375" y="547"/>
                  </a:lnTo>
                  <a:lnTo>
                    <a:pt x="375" y="547"/>
                  </a:lnTo>
                  <a:lnTo>
                    <a:pt x="368" y="547"/>
                  </a:lnTo>
                  <a:lnTo>
                    <a:pt x="368" y="554"/>
                  </a:lnTo>
                  <a:lnTo>
                    <a:pt x="366" y="554"/>
                  </a:lnTo>
                  <a:lnTo>
                    <a:pt x="366" y="569"/>
                  </a:lnTo>
                  <a:lnTo>
                    <a:pt x="368" y="569"/>
                  </a:lnTo>
                  <a:lnTo>
                    <a:pt x="358" y="610"/>
                  </a:lnTo>
                  <a:lnTo>
                    <a:pt x="346" y="481"/>
                  </a:lnTo>
                  <a:lnTo>
                    <a:pt x="351" y="481"/>
                  </a:lnTo>
                  <a:lnTo>
                    <a:pt x="351" y="479"/>
                  </a:lnTo>
                  <a:lnTo>
                    <a:pt x="351" y="479"/>
                  </a:lnTo>
                  <a:lnTo>
                    <a:pt x="351" y="469"/>
                  </a:lnTo>
                  <a:lnTo>
                    <a:pt x="344" y="469"/>
                  </a:lnTo>
                  <a:lnTo>
                    <a:pt x="337" y="372"/>
                  </a:lnTo>
                  <a:lnTo>
                    <a:pt x="341" y="372"/>
                  </a:lnTo>
                  <a:lnTo>
                    <a:pt x="341" y="348"/>
                  </a:lnTo>
                  <a:lnTo>
                    <a:pt x="341" y="309"/>
                  </a:lnTo>
                  <a:lnTo>
                    <a:pt x="320" y="309"/>
                  </a:lnTo>
                  <a:lnTo>
                    <a:pt x="320" y="348"/>
                  </a:lnTo>
                  <a:lnTo>
                    <a:pt x="320" y="372"/>
                  </a:lnTo>
                  <a:lnTo>
                    <a:pt x="324" y="372"/>
                  </a:lnTo>
                  <a:lnTo>
                    <a:pt x="324" y="374"/>
                  </a:lnTo>
                  <a:lnTo>
                    <a:pt x="317" y="469"/>
                  </a:lnTo>
                  <a:lnTo>
                    <a:pt x="312" y="469"/>
                  </a:lnTo>
                  <a:lnTo>
                    <a:pt x="312" y="472"/>
                  </a:lnTo>
                  <a:lnTo>
                    <a:pt x="312" y="479"/>
                  </a:lnTo>
                  <a:lnTo>
                    <a:pt x="312" y="481"/>
                  </a:lnTo>
                  <a:lnTo>
                    <a:pt x="317" y="481"/>
                  </a:lnTo>
                  <a:lnTo>
                    <a:pt x="305" y="610"/>
                  </a:lnTo>
                  <a:lnTo>
                    <a:pt x="295" y="566"/>
                  </a:lnTo>
                  <a:lnTo>
                    <a:pt x="295" y="561"/>
                  </a:lnTo>
                  <a:lnTo>
                    <a:pt x="298" y="561"/>
                  </a:lnTo>
                  <a:lnTo>
                    <a:pt x="298" y="547"/>
                  </a:lnTo>
                  <a:lnTo>
                    <a:pt x="290" y="547"/>
                  </a:lnTo>
                  <a:lnTo>
                    <a:pt x="290" y="547"/>
                  </a:lnTo>
                  <a:lnTo>
                    <a:pt x="290" y="547"/>
                  </a:lnTo>
                  <a:lnTo>
                    <a:pt x="286" y="547"/>
                  </a:lnTo>
                  <a:lnTo>
                    <a:pt x="286" y="554"/>
                  </a:lnTo>
                  <a:lnTo>
                    <a:pt x="286" y="554"/>
                  </a:lnTo>
                  <a:lnTo>
                    <a:pt x="286" y="569"/>
                  </a:lnTo>
                  <a:lnTo>
                    <a:pt x="288" y="569"/>
                  </a:lnTo>
                  <a:lnTo>
                    <a:pt x="276" y="622"/>
                  </a:lnTo>
                  <a:lnTo>
                    <a:pt x="276" y="622"/>
                  </a:lnTo>
                  <a:lnTo>
                    <a:pt x="274" y="627"/>
                  </a:lnTo>
                  <a:lnTo>
                    <a:pt x="274" y="676"/>
                  </a:lnTo>
                  <a:lnTo>
                    <a:pt x="269" y="693"/>
                  </a:lnTo>
                  <a:lnTo>
                    <a:pt x="269" y="693"/>
                  </a:lnTo>
                  <a:lnTo>
                    <a:pt x="269" y="693"/>
                  </a:lnTo>
                  <a:lnTo>
                    <a:pt x="269" y="695"/>
                  </a:lnTo>
                  <a:lnTo>
                    <a:pt x="269" y="695"/>
                  </a:lnTo>
                  <a:lnTo>
                    <a:pt x="269" y="695"/>
                  </a:lnTo>
                  <a:lnTo>
                    <a:pt x="269" y="695"/>
                  </a:lnTo>
                  <a:lnTo>
                    <a:pt x="269" y="746"/>
                  </a:lnTo>
                  <a:lnTo>
                    <a:pt x="261" y="756"/>
                  </a:lnTo>
                  <a:lnTo>
                    <a:pt x="261" y="756"/>
                  </a:lnTo>
                  <a:lnTo>
                    <a:pt x="261" y="758"/>
                  </a:lnTo>
                  <a:lnTo>
                    <a:pt x="261" y="758"/>
                  </a:lnTo>
                  <a:lnTo>
                    <a:pt x="252" y="758"/>
                  </a:lnTo>
                  <a:lnTo>
                    <a:pt x="252" y="748"/>
                  </a:lnTo>
                  <a:lnTo>
                    <a:pt x="244" y="748"/>
                  </a:lnTo>
                  <a:lnTo>
                    <a:pt x="244" y="712"/>
                  </a:lnTo>
                  <a:lnTo>
                    <a:pt x="244" y="710"/>
                  </a:lnTo>
                  <a:lnTo>
                    <a:pt x="240" y="710"/>
                  </a:lnTo>
                  <a:lnTo>
                    <a:pt x="225" y="574"/>
                  </a:lnTo>
                  <a:lnTo>
                    <a:pt x="225" y="574"/>
                  </a:lnTo>
                  <a:lnTo>
                    <a:pt x="232" y="574"/>
                  </a:lnTo>
                  <a:lnTo>
                    <a:pt x="232" y="537"/>
                  </a:lnTo>
                  <a:lnTo>
                    <a:pt x="215" y="537"/>
                  </a:lnTo>
                  <a:lnTo>
                    <a:pt x="215" y="574"/>
                  </a:lnTo>
                  <a:lnTo>
                    <a:pt x="220" y="574"/>
                  </a:lnTo>
                  <a:lnTo>
                    <a:pt x="208" y="710"/>
                  </a:lnTo>
                  <a:lnTo>
                    <a:pt x="208" y="710"/>
                  </a:lnTo>
                  <a:lnTo>
                    <a:pt x="208" y="710"/>
                  </a:lnTo>
                  <a:lnTo>
                    <a:pt x="201" y="710"/>
                  </a:lnTo>
                  <a:lnTo>
                    <a:pt x="201" y="748"/>
                  </a:lnTo>
                  <a:lnTo>
                    <a:pt x="194" y="748"/>
                  </a:lnTo>
                  <a:lnTo>
                    <a:pt x="194" y="758"/>
                  </a:lnTo>
                  <a:lnTo>
                    <a:pt x="179" y="758"/>
                  </a:lnTo>
                  <a:lnTo>
                    <a:pt x="179" y="758"/>
                  </a:lnTo>
                  <a:lnTo>
                    <a:pt x="174" y="746"/>
                  </a:lnTo>
                  <a:lnTo>
                    <a:pt x="174" y="688"/>
                  </a:lnTo>
                  <a:lnTo>
                    <a:pt x="174" y="688"/>
                  </a:lnTo>
                  <a:lnTo>
                    <a:pt x="174" y="688"/>
                  </a:lnTo>
                  <a:lnTo>
                    <a:pt x="172" y="688"/>
                  </a:lnTo>
                  <a:lnTo>
                    <a:pt x="172" y="685"/>
                  </a:lnTo>
                  <a:lnTo>
                    <a:pt x="172" y="685"/>
                  </a:lnTo>
                  <a:lnTo>
                    <a:pt x="172" y="685"/>
                  </a:lnTo>
                  <a:lnTo>
                    <a:pt x="169" y="683"/>
                  </a:lnTo>
                  <a:lnTo>
                    <a:pt x="169" y="617"/>
                  </a:lnTo>
                  <a:lnTo>
                    <a:pt x="169" y="617"/>
                  </a:lnTo>
                  <a:lnTo>
                    <a:pt x="169" y="615"/>
                  </a:lnTo>
                  <a:lnTo>
                    <a:pt x="167" y="615"/>
                  </a:lnTo>
                  <a:lnTo>
                    <a:pt x="167" y="615"/>
                  </a:lnTo>
                  <a:lnTo>
                    <a:pt x="167" y="610"/>
                  </a:lnTo>
                  <a:lnTo>
                    <a:pt x="167" y="610"/>
                  </a:lnTo>
                  <a:lnTo>
                    <a:pt x="167" y="610"/>
                  </a:lnTo>
                  <a:lnTo>
                    <a:pt x="165" y="610"/>
                  </a:lnTo>
                  <a:lnTo>
                    <a:pt x="165" y="610"/>
                  </a:lnTo>
                  <a:lnTo>
                    <a:pt x="155" y="569"/>
                  </a:lnTo>
                  <a:lnTo>
                    <a:pt x="157" y="569"/>
                  </a:lnTo>
                  <a:lnTo>
                    <a:pt x="157" y="557"/>
                  </a:lnTo>
                  <a:lnTo>
                    <a:pt x="155" y="557"/>
                  </a:lnTo>
                  <a:lnTo>
                    <a:pt x="155" y="547"/>
                  </a:lnTo>
                  <a:lnTo>
                    <a:pt x="148" y="547"/>
                  </a:lnTo>
                  <a:lnTo>
                    <a:pt x="148" y="547"/>
                  </a:lnTo>
                  <a:lnTo>
                    <a:pt x="148" y="547"/>
                  </a:lnTo>
                  <a:lnTo>
                    <a:pt x="143" y="547"/>
                  </a:lnTo>
                  <a:lnTo>
                    <a:pt x="143" y="561"/>
                  </a:lnTo>
                  <a:lnTo>
                    <a:pt x="145" y="561"/>
                  </a:lnTo>
                  <a:lnTo>
                    <a:pt x="136" y="603"/>
                  </a:lnTo>
                  <a:lnTo>
                    <a:pt x="123" y="479"/>
                  </a:lnTo>
                  <a:lnTo>
                    <a:pt x="131" y="476"/>
                  </a:lnTo>
                  <a:lnTo>
                    <a:pt x="131" y="476"/>
                  </a:lnTo>
                  <a:lnTo>
                    <a:pt x="131" y="467"/>
                  </a:lnTo>
                  <a:lnTo>
                    <a:pt x="128" y="464"/>
                  </a:lnTo>
                  <a:lnTo>
                    <a:pt x="123" y="464"/>
                  </a:lnTo>
                  <a:lnTo>
                    <a:pt x="116" y="370"/>
                  </a:lnTo>
                  <a:lnTo>
                    <a:pt x="116" y="370"/>
                  </a:lnTo>
                  <a:lnTo>
                    <a:pt x="121" y="370"/>
                  </a:lnTo>
                  <a:lnTo>
                    <a:pt x="121" y="343"/>
                  </a:lnTo>
                  <a:lnTo>
                    <a:pt x="121" y="304"/>
                  </a:lnTo>
                  <a:lnTo>
                    <a:pt x="99" y="304"/>
                  </a:lnTo>
                  <a:lnTo>
                    <a:pt x="99" y="343"/>
                  </a:lnTo>
                  <a:lnTo>
                    <a:pt x="99" y="370"/>
                  </a:lnTo>
                  <a:lnTo>
                    <a:pt x="104" y="370"/>
                  </a:lnTo>
                  <a:lnTo>
                    <a:pt x="97" y="464"/>
                  </a:lnTo>
                  <a:lnTo>
                    <a:pt x="90" y="464"/>
                  </a:lnTo>
                  <a:lnTo>
                    <a:pt x="90" y="474"/>
                  </a:lnTo>
                  <a:lnTo>
                    <a:pt x="90" y="474"/>
                  </a:lnTo>
                  <a:lnTo>
                    <a:pt x="90" y="476"/>
                  </a:lnTo>
                  <a:lnTo>
                    <a:pt x="94" y="476"/>
                  </a:lnTo>
                  <a:lnTo>
                    <a:pt x="82" y="603"/>
                  </a:lnTo>
                  <a:lnTo>
                    <a:pt x="75" y="569"/>
                  </a:lnTo>
                  <a:lnTo>
                    <a:pt x="75" y="569"/>
                  </a:lnTo>
                  <a:lnTo>
                    <a:pt x="75" y="554"/>
                  </a:lnTo>
                  <a:lnTo>
                    <a:pt x="70" y="554"/>
                  </a:lnTo>
                  <a:lnTo>
                    <a:pt x="70" y="549"/>
                  </a:lnTo>
                  <a:lnTo>
                    <a:pt x="65" y="549"/>
                  </a:lnTo>
                  <a:lnTo>
                    <a:pt x="65" y="547"/>
                  </a:lnTo>
                  <a:lnTo>
                    <a:pt x="65" y="549"/>
                  </a:lnTo>
                  <a:lnTo>
                    <a:pt x="60" y="549"/>
                  </a:lnTo>
                  <a:lnTo>
                    <a:pt x="60" y="561"/>
                  </a:lnTo>
                  <a:lnTo>
                    <a:pt x="63" y="561"/>
                  </a:lnTo>
                  <a:lnTo>
                    <a:pt x="51" y="610"/>
                  </a:lnTo>
                  <a:lnTo>
                    <a:pt x="51" y="610"/>
                  </a:lnTo>
                  <a:lnTo>
                    <a:pt x="48" y="610"/>
                  </a:lnTo>
                  <a:lnTo>
                    <a:pt x="46" y="610"/>
                  </a:lnTo>
                  <a:lnTo>
                    <a:pt x="46" y="683"/>
                  </a:lnTo>
                  <a:lnTo>
                    <a:pt x="41" y="685"/>
                  </a:lnTo>
                  <a:lnTo>
                    <a:pt x="41" y="700"/>
                  </a:lnTo>
                  <a:lnTo>
                    <a:pt x="41" y="746"/>
                  </a:lnTo>
                  <a:lnTo>
                    <a:pt x="34" y="756"/>
                  </a:lnTo>
                  <a:lnTo>
                    <a:pt x="34" y="758"/>
                  </a:lnTo>
                  <a:lnTo>
                    <a:pt x="19" y="758"/>
                  </a:lnTo>
                  <a:lnTo>
                    <a:pt x="17" y="746"/>
                  </a:lnTo>
                  <a:lnTo>
                    <a:pt x="17" y="739"/>
                  </a:lnTo>
                  <a:lnTo>
                    <a:pt x="17" y="739"/>
                  </a:lnTo>
                  <a:lnTo>
                    <a:pt x="12" y="739"/>
                  </a:lnTo>
                  <a:lnTo>
                    <a:pt x="12" y="746"/>
                  </a:lnTo>
                  <a:lnTo>
                    <a:pt x="7" y="836"/>
                  </a:lnTo>
                  <a:lnTo>
                    <a:pt x="7" y="848"/>
                  </a:lnTo>
                  <a:lnTo>
                    <a:pt x="5" y="851"/>
                  </a:lnTo>
                  <a:lnTo>
                    <a:pt x="10" y="365"/>
                  </a:lnTo>
                  <a:lnTo>
                    <a:pt x="12" y="3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10" name="íŝḻïdè"/>
            <p:cNvSpPr/>
            <p:nvPr/>
          </p:nvSpPr>
          <p:spPr bwMode="auto">
            <a:xfrm>
              <a:off x="4070883" y="4896810"/>
              <a:ext cx="2027498" cy="2261074"/>
            </a:xfrm>
            <a:custGeom>
              <a:avLst/>
              <a:gdLst>
                <a:gd name="T0" fmla="*/ 1242 w 1276"/>
                <a:gd name="T1" fmla="*/ 529 h 1423"/>
                <a:gd name="T2" fmla="*/ 1225 w 1276"/>
                <a:gd name="T3" fmla="*/ 527 h 1423"/>
                <a:gd name="T4" fmla="*/ 1196 w 1276"/>
                <a:gd name="T5" fmla="*/ 505 h 1423"/>
                <a:gd name="T6" fmla="*/ 1172 w 1276"/>
                <a:gd name="T7" fmla="*/ 483 h 1423"/>
                <a:gd name="T8" fmla="*/ 1148 w 1276"/>
                <a:gd name="T9" fmla="*/ 461 h 1423"/>
                <a:gd name="T10" fmla="*/ 1126 w 1276"/>
                <a:gd name="T11" fmla="*/ 439 h 1423"/>
                <a:gd name="T12" fmla="*/ 1043 w 1276"/>
                <a:gd name="T13" fmla="*/ 434 h 1423"/>
                <a:gd name="T14" fmla="*/ 1005 w 1276"/>
                <a:gd name="T15" fmla="*/ 447 h 1423"/>
                <a:gd name="T16" fmla="*/ 985 w 1276"/>
                <a:gd name="T17" fmla="*/ 461 h 1423"/>
                <a:gd name="T18" fmla="*/ 981 w 1276"/>
                <a:gd name="T19" fmla="*/ 481 h 1423"/>
                <a:gd name="T20" fmla="*/ 959 w 1276"/>
                <a:gd name="T21" fmla="*/ 495 h 1423"/>
                <a:gd name="T22" fmla="*/ 939 w 1276"/>
                <a:gd name="T23" fmla="*/ 505 h 1423"/>
                <a:gd name="T24" fmla="*/ 937 w 1276"/>
                <a:gd name="T25" fmla="*/ 524 h 1423"/>
                <a:gd name="T26" fmla="*/ 913 w 1276"/>
                <a:gd name="T27" fmla="*/ 529 h 1423"/>
                <a:gd name="T28" fmla="*/ 840 w 1276"/>
                <a:gd name="T29" fmla="*/ 534 h 1423"/>
                <a:gd name="T30" fmla="*/ 840 w 1276"/>
                <a:gd name="T31" fmla="*/ 595 h 1423"/>
                <a:gd name="T32" fmla="*/ 765 w 1276"/>
                <a:gd name="T33" fmla="*/ 876 h 1423"/>
                <a:gd name="T34" fmla="*/ 763 w 1276"/>
                <a:gd name="T35" fmla="*/ 544 h 1423"/>
                <a:gd name="T36" fmla="*/ 690 w 1276"/>
                <a:gd name="T37" fmla="*/ 539 h 1423"/>
                <a:gd name="T38" fmla="*/ 668 w 1276"/>
                <a:gd name="T39" fmla="*/ 534 h 1423"/>
                <a:gd name="T40" fmla="*/ 661 w 1276"/>
                <a:gd name="T41" fmla="*/ 515 h 1423"/>
                <a:gd name="T42" fmla="*/ 646 w 1276"/>
                <a:gd name="T43" fmla="*/ 502 h 1423"/>
                <a:gd name="T44" fmla="*/ 625 w 1276"/>
                <a:gd name="T45" fmla="*/ 490 h 1423"/>
                <a:gd name="T46" fmla="*/ 617 w 1276"/>
                <a:gd name="T47" fmla="*/ 471 h 1423"/>
                <a:gd name="T48" fmla="*/ 600 w 1276"/>
                <a:gd name="T49" fmla="*/ 456 h 1423"/>
                <a:gd name="T50" fmla="*/ 559 w 1276"/>
                <a:gd name="T51" fmla="*/ 444 h 1423"/>
                <a:gd name="T52" fmla="*/ 482 w 1276"/>
                <a:gd name="T53" fmla="*/ 449 h 1423"/>
                <a:gd name="T54" fmla="*/ 460 w 1276"/>
                <a:gd name="T55" fmla="*/ 471 h 1423"/>
                <a:gd name="T56" fmla="*/ 436 w 1276"/>
                <a:gd name="T57" fmla="*/ 493 h 1423"/>
                <a:gd name="T58" fmla="*/ 411 w 1276"/>
                <a:gd name="T59" fmla="*/ 512 h 1423"/>
                <a:gd name="T60" fmla="*/ 385 w 1276"/>
                <a:gd name="T61" fmla="*/ 534 h 1423"/>
                <a:gd name="T62" fmla="*/ 382 w 1276"/>
                <a:gd name="T63" fmla="*/ 536 h 1423"/>
                <a:gd name="T64" fmla="*/ 322 w 1276"/>
                <a:gd name="T65" fmla="*/ 328 h 1423"/>
                <a:gd name="T66" fmla="*/ 264 w 1276"/>
                <a:gd name="T67" fmla="*/ 274 h 1423"/>
                <a:gd name="T68" fmla="*/ 201 w 1276"/>
                <a:gd name="T69" fmla="*/ 233 h 1423"/>
                <a:gd name="T70" fmla="*/ 179 w 1276"/>
                <a:gd name="T71" fmla="*/ 328 h 1423"/>
                <a:gd name="T72" fmla="*/ 181 w 1276"/>
                <a:gd name="T73" fmla="*/ 255 h 1423"/>
                <a:gd name="T74" fmla="*/ 179 w 1276"/>
                <a:gd name="T75" fmla="*/ 252 h 1423"/>
                <a:gd name="T76" fmla="*/ 181 w 1276"/>
                <a:gd name="T77" fmla="*/ 213 h 1423"/>
                <a:gd name="T78" fmla="*/ 179 w 1276"/>
                <a:gd name="T79" fmla="*/ 213 h 1423"/>
                <a:gd name="T80" fmla="*/ 181 w 1276"/>
                <a:gd name="T81" fmla="*/ 174 h 1423"/>
                <a:gd name="T82" fmla="*/ 179 w 1276"/>
                <a:gd name="T83" fmla="*/ 172 h 1423"/>
                <a:gd name="T84" fmla="*/ 116 w 1276"/>
                <a:gd name="T85" fmla="*/ 109 h 1423"/>
                <a:gd name="T86" fmla="*/ 29 w 1276"/>
                <a:gd name="T87" fmla="*/ 104 h 1423"/>
                <a:gd name="T88" fmla="*/ 29 w 1276"/>
                <a:gd name="T89" fmla="*/ 31 h 1423"/>
                <a:gd name="T90" fmla="*/ 29 w 1276"/>
                <a:gd name="T91" fmla="*/ 9 h 1423"/>
                <a:gd name="T92" fmla="*/ 29 w 1276"/>
                <a:gd name="T93" fmla="*/ 0 h 1423"/>
                <a:gd name="T94" fmla="*/ 0 w 1276"/>
                <a:gd name="T95" fmla="*/ 1423 h 1423"/>
                <a:gd name="T96" fmla="*/ 1276 w 1276"/>
                <a:gd name="T97" fmla="*/ 534 h 1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76" h="1423">
                  <a:moveTo>
                    <a:pt x="1276" y="534"/>
                  </a:moveTo>
                  <a:lnTo>
                    <a:pt x="1242" y="529"/>
                  </a:lnTo>
                  <a:lnTo>
                    <a:pt x="1223" y="532"/>
                  </a:lnTo>
                  <a:lnTo>
                    <a:pt x="1225" y="527"/>
                  </a:lnTo>
                  <a:lnTo>
                    <a:pt x="1196" y="524"/>
                  </a:lnTo>
                  <a:lnTo>
                    <a:pt x="1196" y="505"/>
                  </a:lnTo>
                  <a:lnTo>
                    <a:pt x="1172" y="502"/>
                  </a:lnTo>
                  <a:lnTo>
                    <a:pt x="1172" y="483"/>
                  </a:lnTo>
                  <a:lnTo>
                    <a:pt x="1148" y="481"/>
                  </a:lnTo>
                  <a:lnTo>
                    <a:pt x="1148" y="461"/>
                  </a:lnTo>
                  <a:lnTo>
                    <a:pt x="1123" y="459"/>
                  </a:lnTo>
                  <a:lnTo>
                    <a:pt x="1126" y="439"/>
                  </a:lnTo>
                  <a:lnTo>
                    <a:pt x="1094" y="434"/>
                  </a:lnTo>
                  <a:lnTo>
                    <a:pt x="1043" y="434"/>
                  </a:lnTo>
                  <a:lnTo>
                    <a:pt x="1007" y="439"/>
                  </a:lnTo>
                  <a:lnTo>
                    <a:pt x="1005" y="447"/>
                  </a:lnTo>
                  <a:lnTo>
                    <a:pt x="1005" y="459"/>
                  </a:lnTo>
                  <a:lnTo>
                    <a:pt x="985" y="461"/>
                  </a:lnTo>
                  <a:lnTo>
                    <a:pt x="983" y="471"/>
                  </a:lnTo>
                  <a:lnTo>
                    <a:pt x="981" y="481"/>
                  </a:lnTo>
                  <a:lnTo>
                    <a:pt x="964" y="483"/>
                  </a:lnTo>
                  <a:lnTo>
                    <a:pt x="959" y="495"/>
                  </a:lnTo>
                  <a:lnTo>
                    <a:pt x="959" y="502"/>
                  </a:lnTo>
                  <a:lnTo>
                    <a:pt x="939" y="505"/>
                  </a:lnTo>
                  <a:lnTo>
                    <a:pt x="937" y="517"/>
                  </a:lnTo>
                  <a:lnTo>
                    <a:pt x="937" y="524"/>
                  </a:lnTo>
                  <a:lnTo>
                    <a:pt x="915" y="527"/>
                  </a:lnTo>
                  <a:lnTo>
                    <a:pt x="913" y="529"/>
                  </a:lnTo>
                  <a:lnTo>
                    <a:pt x="893" y="527"/>
                  </a:lnTo>
                  <a:lnTo>
                    <a:pt x="840" y="534"/>
                  </a:lnTo>
                  <a:lnTo>
                    <a:pt x="840" y="595"/>
                  </a:lnTo>
                  <a:lnTo>
                    <a:pt x="840" y="595"/>
                  </a:lnTo>
                  <a:lnTo>
                    <a:pt x="840" y="876"/>
                  </a:lnTo>
                  <a:lnTo>
                    <a:pt x="765" y="876"/>
                  </a:lnTo>
                  <a:lnTo>
                    <a:pt x="763" y="600"/>
                  </a:lnTo>
                  <a:lnTo>
                    <a:pt x="763" y="544"/>
                  </a:lnTo>
                  <a:lnTo>
                    <a:pt x="707" y="536"/>
                  </a:lnTo>
                  <a:lnTo>
                    <a:pt x="690" y="539"/>
                  </a:lnTo>
                  <a:lnTo>
                    <a:pt x="688" y="536"/>
                  </a:lnTo>
                  <a:lnTo>
                    <a:pt x="668" y="534"/>
                  </a:lnTo>
                  <a:lnTo>
                    <a:pt x="668" y="527"/>
                  </a:lnTo>
                  <a:lnTo>
                    <a:pt x="661" y="515"/>
                  </a:lnTo>
                  <a:lnTo>
                    <a:pt x="646" y="512"/>
                  </a:lnTo>
                  <a:lnTo>
                    <a:pt x="646" y="502"/>
                  </a:lnTo>
                  <a:lnTo>
                    <a:pt x="639" y="493"/>
                  </a:lnTo>
                  <a:lnTo>
                    <a:pt x="625" y="490"/>
                  </a:lnTo>
                  <a:lnTo>
                    <a:pt x="625" y="481"/>
                  </a:lnTo>
                  <a:lnTo>
                    <a:pt x="617" y="471"/>
                  </a:lnTo>
                  <a:lnTo>
                    <a:pt x="603" y="468"/>
                  </a:lnTo>
                  <a:lnTo>
                    <a:pt x="600" y="456"/>
                  </a:lnTo>
                  <a:lnTo>
                    <a:pt x="598" y="449"/>
                  </a:lnTo>
                  <a:lnTo>
                    <a:pt x="559" y="444"/>
                  </a:lnTo>
                  <a:lnTo>
                    <a:pt x="511" y="444"/>
                  </a:lnTo>
                  <a:lnTo>
                    <a:pt x="482" y="449"/>
                  </a:lnTo>
                  <a:lnTo>
                    <a:pt x="482" y="466"/>
                  </a:lnTo>
                  <a:lnTo>
                    <a:pt x="460" y="471"/>
                  </a:lnTo>
                  <a:lnTo>
                    <a:pt x="460" y="488"/>
                  </a:lnTo>
                  <a:lnTo>
                    <a:pt x="436" y="493"/>
                  </a:lnTo>
                  <a:lnTo>
                    <a:pt x="436" y="510"/>
                  </a:lnTo>
                  <a:lnTo>
                    <a:pt x="411" y="512"/>
                  </a:lnTo>
                  <a:lnTo>
                    <a:pt x="411" y="532"/>
                  </a:lnTo>
                  <a:lnTo>
                    <a:pt x="385" y="534"/>
                  </a:lnTo>
                  <a:lnTo>
                    <a:pt x="385" y="536"/>
                  </a:lnTo>
                  <a:lnTo>
                    <a:pt x="382" y="536"/>
                  </a:lnTo>
                  <a:lnTo>
                    <a:pt x="382" y="328"/>
                  </a:lnTo>
                  <a:lnTo>
                    <a:pt x="322" y="328"/>
                  </a:lnTo>
                  <a:lnTo>
                    <a:pt x="322" y="274"/>
                  </a:lnTo>
                  <a:lnTo>
                    <a:pt x="264" y="274"/>
                  </a:lnTo>
                  <a:lnTo>
                    <a:pt x="264" y="233"/>
                  </a:lnTo>
                  <a:lnTo>
                    <a:pt x="201" y="233"/>
                  </a:lnTo>
                  <a:lnTo>
                    <a:pt x="201" y="328"/>
                  </a:lnTo>
                  <a:lnTo>
                    <a:pt x="179" y="328"/>
                  </a:lnTo>
                  <a:lnTo>
                    <a:pt x="179" y="257"/>
                  </a:lnTo>
                  <a:lnTo>
                    <a:pt x="181" y="255"/>
                  </a:lnTo>
                  <a:lnTo>
                    <a:pt x="181" y="252"/>
                  </a:lnTo>
                  <a:lnTo>
                    <a:pt x="179" y="252"/>
                  </a:lnTo>
                  <a:lnTo>
                    <a:pt x="179" y="218"/>
                  </a:lnTo>
                  <a:lnTo>
                    <a:pt x="181" y="213"/>
                  </a:lnTo>
                  <a:lnTo>
                    <a:pt x="181" y="213"/>
                  </a:lnTo>
                  <a:lnTo>
                    <a:pt x="179" y="213"/>
                  </a:lnTo>
                  <a:lnTo>
                    <a:pt x="179" y="177"/>
                  </a:lnTo>
                  <a:lnTo>
                    <a:pt x="181" y="174"/>
                  </a:lnTo>
                  <a:lnTo>
                    <a:pt x="181" y="172"/>
                  </a:lnTo>
                  <a:lnTo>
                    <a:pt x="179" y="172"/>
                  </a:lnTo>
                  <a:lnTo>
                    <a:pt x="179" y="114"/>
                  </a:lnTo>
                  <a:lnTo>
                    <a:pt x="116" y="109"/>
                  </a:lnTo>
                  <a:lnTo>
                    <a:pt x="43" y="104"/>
                  </a:lnTo>
                  <a:lnTo>
                    <a:pt x="29" y="104"/>
                  </a:lnTo>
                  <a:lnTo>
                    <a:pt x="29" y="51"/>
                  </a:lnTo>
                  <a:lnTo>
                    <a:pt x="29" y="31"/>
                  </a:lnTo>
                  <a:lnTo>
                    <a:pt x="29" y="26"/>
                  </a:lnTo>
                  <a:lnTo>
                    <a:pt x="29" y="9"/>
                  </a:lnTo>
                  <a:lnTo>
                    <a:pt x="29" y="4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1423"/>
                  </a:lnTo>
                  <a:lnTo>
                    <a:pt x="1276" y="1423"/>
                  </a:lnTo>
                  <a:lnTo>
                    <a:pt x="1276" y="5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11" name="ïşḻïḋê"/>
            <p:cNvSpPr/>
            <p:nvPr/>
          </p:nvSpPr>
          <p:spPr bwMode="auto">
            <a:xfrm>
              <a:off x="2035441" y="4413770"/>
              <a:ext cx="2035444" cy="2744114"/>
            </a:xfrm>
            <a:custGeom>
              <a:avLst/>
              <a:gdLst>
                <a:gd name="T0" fmla="*/ 1281 w 1281"/>
                <a:gd name="T1" fmla="*/ 1727 h 1727"/>
                <a:gd name="T2" fmla="*/ 1194 w 1281"/>
                <a:gd name="T3" fmla="*/ 304 h 1727"/>
                <a:gd name="T4" fmla="*/ 1194 w 1281"/>
                <a:gd name="T5" fmla="*/ 284 h 1727"/>
                <a:gd name="T6" fmla="*/ 1194 w 1281"/>
                <a:gd name="T7" fmla="*/ 265 h 1727"/>
                <a:gd name="T8" fmla="*/ 1080 w 1281"/>
                <a:gd name="T9" fmla="*/ 126 h 1727"/>
                <a:gd name="T10" fmla="*/ 1073 w 1281"/>
                <a:gd name="T11" fmla="*/ 80 h 1727"/>
                <a:gd name="T12" fmla="*/ 1063 w 1281"/>
                <a:gd name="T13" fmla="*/ 92 h 1727"/>
                <a:gd name="T14" fmla="*/ 1063 w 1281"/>
                <a:gd name="T15" fmla="*/ 12 h 1727"/>
                <a:gd name="T16" fmla="*/ 1061 w 1281"/>
                <a:gd name="T17" fmla="*/ 0 h 1727"/>
                <a:gd name="T18" fmla="*/ 1053 w 1281"/>
                <a:gd name="T19" fmla="*/ 92 h 1727"/>
                <a:gd name="T20" fmla="*/ 1053 w 1281"/>
                <a:gd name="T21" fmla="*/ 12 h 1727"/>
                <a:gd name="T22" fmla="*/ 1048 w 1281"/>
                <a:gd name="T23" fmla="*/ 0 h 1727"/>
                <a:gd name="T24" fmla="*/ 1041 w 1281"/>
                <a:gd name="T25" fmla="*/ 92 h 1727"/>
                <a:gd name="T26" fmla="*/ 1041 w 1281"/>
                <a:gd name="T27" fmla="*/ 12 h 1727"/>
                <a:gd name="T28" fmla="*/ 1039 w 1281"/>
                <a:gd name="T29" fmla="*/ 0 h 1727"/>
                <a:gd name="T30" fmla="*/ 1031 w 1281"/>
                <a:gd name="T31" fmla="*/ 92 h 1727"/>
                <a:gd name="T32" fmla="*/ 1031 w 1281"/>
                <a:gd name="T33" fmla="*/ 12 h 1727"/>
                <a:gd name="T34" fmla="*/ 1027 w 1281"/>
                <a:gd name="T35" fmla="*/ 0 h 1727"/>
                <a:gd name="T36" fmla="*/ 1019 w 1281"/>
                <a:gd name="T37" fmla="*/ 92 h 1727"/>
                <a:gd name="T38" fmla="*/ 1019 w 1281"/>
                <a:gd name="T39" fmla="*/ 12 h 1727"/>
                <a:gd name="T40" fmla="*/ 1017 w 1281"/>
                <a:gd name="T41" fmla="*/ 0 h 1727"/>
                <a:gd name="T42" fmla="*/ 1010 w 1281"/>
                <a:gd name="T43" fmla="*/ 92 h 1727"/>
                <a:gd name="T44" fmla="*/ 1000 w 1281"/>
                <a:gd name="T45" fmla="*/ 80 h 1727"/>
                <a:gd name="T46" fmla="*/ 1000 w 1281"/>
                <a:gd name="T47" fmla="*/ 257 h 1727"/>
                <a:gd name="T48" fmla="*/ 1000 w 1281"/>
                <a:gd name="T49" fmla="*/ 282 h 1727"/>
                <a:gd name="T50" fmla="*/ 971 w 1281"/>
                <a:gd name="T51" fmla="*/ 304 h 1727"/>
                <a:gd name="T52" fmla="*/ 971 w 1281"/>
                <a:gd name="T53" fmla="*/ 313 h 1727"/>
                <a:gd name="T54" fmla="*/ 971 w 1281"/>
                <a:gd name="T55" fmla="*/ 335 h 1727"/>
                <a:gd name="T56" fmla="*/ 971 w 1281"/>
                <a:gd name="T57" fmla="*/ 403 h 1727"/>
                <a:gd name="T58" fmla="*/ 968 w 1281"/>
                <a:gd name="T59" fmla="*/ 413 h 1727"/>
                <a:gd name="T60" fmla="*/ 932 w 1281"/>
                <a:gd name="T61" fmla="*/ 738 h 1727"/>
                <a:gd name="T62" fmla="*/ 814 w 1281"/>
                <a:gd name="T63" fmla="*/ 515 h 1727"/>
                <a:gd name="T64" fmla="*/ 746 w 1281"/>
                <a:gd name="T65" fmla="*/ 386 h 1727"/>
                <a:gd name="T66" fmla="*/ 719 w 1281"/>
                <a:gd name="T67" fmla="*/ 515 h 1727"/>
                <a:gd name="T68" fmla="*/ 608 w 1281"/>
                <a:gd name="T69" fmla="*/ 386 h 1727"/>
                <a:gd name="T70" fmla="*/ 557 w 1281"/>
                <a:gd name="T71" fmla="*/ 515 h 1727"/>
                <a:gd name="T72" fmla="*/ 513 w 1281"/>
                <a:gd name="T73" fmla="*/ 1195 h 1727"/>
                <a:gd name="T74" fmla="*/ 458 w 1281"/>
                <a:gd name="T75" fmla="*/ 1200 h 1727"/>
                <a:gd name="T76" fmla="*/ 431 w 1281"/>
                <a:gd name="T77" fmla="*/ 1202 h 1727"/>
                <a:gd name="T78" fmla="*/ 412 w 1281"/>
                <a:gd name="T79" fmla="*/ 1180 h 1727"/>
                <a:gd name="T80" fmla="*/ 370 w 1281"/>
                <a:gd name="T81" fmla="*/ 1207 h 1727"/>
                <a:gd name="T82" fmla="*/ 370 w 1281"/>
                <a:gd name="T83" fmla="*/ 1210 h 1727"/>
                <a:gd name="T84" fmla="*/ 370 w 1281"/>
                <a:gd name="T85" fmla="*/ 1200 h 1727"/>
                <a:gd name="T86" fmla="*/ 322 w 1281"/>
                <a:gd name="T87" fmla="*/ 1188 h 1727"/>
                <a:gd name="T88" fmla="*/ 312 w 1281"/>
                <a:gd name="T89" fmla="*/ 1202 h 1727"/>
                <a:gd name="T90" fmla="*/ 269 w 1281"/>
                <a:gd name="T91" fmla="*/ 1197 h 1727"/>
                <a:gd name="T92" fmla="*/ 140 w 1281"/>
                <a:gd name="T93" fmla="*/ 1193 h 1727"/>
                <a:gd name="T94" fmla="*/ 0 w 1281"/>
                <a:gd name="T95" fmla="*/ 1210 h 1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81" h="1727">
                  <a:moveTo>
                    <a:pt x="0" y="1727"/>
                  </a:moveTo>
                  <a:lnTo>
                    <a:pt x="1281" y="1727"/>
                  </a:lnTo>
                  <a:lnTo>
                    <a:pt x="1281" y="304"/>
                  </a:lnTo>
                  <a:lnTo>
                    <a:pt x="1194" y="304"/>
                  </a:lnTo>
                  <a:lnTo>
                    <a:pt x="1194" y="291"/>
                  </a:lnTo>
                  <a:lnTo>
                    <a:pt x="1194" y="284"/>
                  </a:lnTo>
                  <a:lnTo>
                    <a:pt x="1194" y="267"/>
                  </a:lnTo>
                  <a:lnTo>
                    <a:pt x="1194" y="265"/>
                  </a:lnTo>
                  <a:lnTo>
                    <a:pt x="1080" y="265"/>
                  </a:lnTo>
                  <a:lnTo>
                    <a:pt x="1080" y="126"/>
                  </a:lnTo>
                  <a:lnTo>
                    <a:pt x="1080" y="80"/>
                  </a:lnTo>
                  <a:lnTo>
                    <a:pt x="1073" y="80"/>
                  </a:lnTo>
                  <a:lnTo>
                    <a:pt x="1073" y="92"/>
                  </a:lnTo>
                  <a:lnTo>
                    <a:pt x="1063" y="92"/>
                  </a:lnTo>
                  <a:lnTo>
                    <a:pt x="1063" y="12"/>
                  </a:lnTo>
                  <a:lnTo>
                    <a:pt x="1063" y="12"/>
                  </a:lnTo>
                  <a:lnTo>
                    <a:pt x="1063" y="0"/>
                  </a:lnTo>
                  <a:lnTo>
                    <a:pt x="1061" y="0"/>
                  </a:lnTo>
                  <a:lnTo>
                    <a:pt x="1061" y="92"/>
                  </a:lnTo>
                  <a:lnTo>
                    <a:pt x="1053" y="92"/>
                  </a:lnTo>
                  <a:lnTo>
                    <a:pt x="1053" y="12"/>
                  </a:lnTo>
                  <a:lnTo>
                    <a:pt x="1053" y="12"/>
                  </a:lnTo>
                  <a:lnTo>
                    <a:pt x="1053" y="0"/>
                  </a:lnTo>
                  <a:lnTo>
                    <a:pt x="1048" y="0"/>
                  </a:lnTo>
                  <a:lnTo>
                    <a:pt x="1048" y="92"/>
                  </a:lnTo>
                  <a:lnTo>
                    <a:pt x="1041" y="92"/>
                  </a:lnTo>
                  <a:lnTo>
                    <a:pt x="1041" y="12"/>
                  </a:lnTo>
                  <a:lnTo>
                    <a:pt x="1041" y="12"/>
                  </a:lnTo>
                  <a:lnTo>
                    <a:pt x="1041" y="0"/>
                  </a:lnTo>
                  <a:lnTo>
                    <a:pt x="1039" y="0"/>
                  </a:lnTo>
                  <a:lnTo>
                    <a:pt x="1039" y="92"/>
                  </a:lnTo>
                  <a:lnTo>
                    <a:pt x="1031" y="92"/>
                  </a:lnTo>
                  <a:lnTo>
                    <a:pt x="1031" y="12"/>
                  </a:lnTo>
                  <a:lnTo>
                    <a:pt x="1031" y="12"/>
                  </a:lnTo>
                  <a:lnTo>
                    <a:pt x="1029" y="0"/>
                  </a:lnTo>
                  <a:lnTo>
                    <a:pt x="1027" y="0"/>
                  </a:lnTo>
                  <a:lnTo>
                    <a:pt x="1027" y="92"/>
                  </a:lnTo>
                  <a:lnTo>
                    <a:pt x="1019" y="92"/>
                  </a:lnTo>
                  <a:lnTo>
                    <a:pt x="1019" y="12"/>
                  </a:lnTo>
                  <a:lnTo>
                    <a:pt x="1019" y="12"/>
                  </a:lnTo>
                  <a:lnTo>
                    <a:pt x="1019" y="0"/>
                  </a:lnTo>
                  <a:lnTo>
                    <a:pt x="1017" y="0"/>
                  </a:lnTo>
                  <a:lnTo>
                    <a:pt x="1017" y="92"/>
                  </a:lnTo>
                  <a:lnTo>
                    <a:pt x="1010" y="92"/>
                  </a:lnTo>
                  <a:lnTo>
                    <a:pt x="1007" y="80"/>
                  </a:lnTo>
                  <a:lnTo>
                    <a:pt x="1000" y="80"/>
                  </a:lnTo>
                  <a:lnTo>
                    <a:pt x="1000" y="253"/>
                  </a:lnTo>
                  <a:lnTo>
                    <a:pt x="1000" y="257"/>
                  </a:lnTo>
                  <a:lnTo>
                    <a:pt x="1000" y="274"/>
                  </a:lnTo>
                  <a:lnTo>
                    <a:pt x="1000" y="282"/>
                  </a:lnTo>
                  <a:lnTo>
                    <a:pt x="1000" y="304"/>
                  </a:lnTo>
                  <a:lnTo>
                    <a:pt x="971" y="304"/>
                  </a:lnTo>
                  <a:lnTo>
                    <a:pt x="971" y="308"/>
                  </a:lnTo>
                  <a:lnTo>
                    <a:pt x="971" y="313"/>
                  </a:lnTo>
                  <a:lnTo>
                    <a:pt x="971" y="333"/>
                  </a:lnTo>
                  <a:lnTo>
                    <a:pt x="971" y="335"/>
                  </a:lnTo>
                  <a:lnTo>
                    <a:pt x="971" y="355"/>
                  </a:lnTo>
                  <a:lnTo>
                    <a:pt x="971" y="403"/>
                  </a:lnTo>
                  <a:lnTo>
                    <a:pt x="968" y="403"/>
                  </a:lnTo>
                  <a:lnTo>
                    <a:pt x="968" y="413"/>
                  </a:lnTo>
                  <a:lnTo>
                    <a:pt x="932" y="413"/>
                  </a:lnTo>
                  <a:lnTo>
                    <a:pt x="932" y="738"/>
                  </a:lnTo>
                  <a:lnTo>
                    <a:pt x="814" y="738"/>
                  </a:lnTo>
                  <a:lnTo>
                    <a:pt x="814" y="515"/>
                  </a:lnTo>
                  <a:lnTo>
                    <a:pt x="746" y="515"/>
                  </a:lnTo>
                  <a:lnTo>
                    <a:pt x="746" y="386"/>
                  </a:lnTo>
                  <a:lnTo>
                    <a:pt x="719" y="386"/>
                  </a:lnTo>
                  <a:lnTo>
                    <a:pt x="719" y="515"/>
                  </a:lnTo>
                  <a:lnTo>
                    <a:pt x="608" y="515"/>
                  </a:lnTo>
                  <a:lnTo>
                    <a:pt x="608" y="386"/>
                  </a:lnTo>
                  <a:lnTo>
                    <a:pt x="557" y="386"/>
                  </a:lnTo>
                  <a:lnTo>
                    <a:pt x="557" y="515"/>
                  </a:lnTo>
                  <a:lnTo>
                    <a:pt x="513" y="515"/>
                  </a:lnTo>
                  <a:lnTo>
                    <a:pt x="513" y="1195"/>
                  </a:lnTo>
                  <a:lnTo>
                    <a:pt x="475" y="1197"/>
                  </a:lnTo>
                  <a:lnTo>
                    <a:pt x="458" y="1200"/>
                  </a:lnTo>
                  <a:lnTo>
                    <a:pt x="433" y="1202"/>
                  </a:lnTo>
                  <a:lnTo>
                    <a:pt x="431" y="1202"/>
                  </a:lnTo>
                  <a:lnTo>
                    <a:pt x="421" y="1188"/>
                  </a:lnTo>
                  <a:lnTo>
                    <a:pt x="412" y="1180"/>
                  </a:lnTo>
                  <a:lnTo>
                    <a:pt x="373" y="1200"/>
                  </a:lnTo>
                  <a:lnTo>
                    <a:pt x="370" y="1207"/>
                  </a:lnTo>
                  <a:lnTo>
                    <a:pt x="370" y="1210"/>
                  </a:lnTo>
                  <a:lnTo>
                    <a:pt x="370" y="1210"/>
                  </a:lnTo>
                  <a:lnTo>
                    <a:pt x="370" y="1207"/>
                  </a:lnTo>
                  <a:lnTo>
                    <a:pt x="370" y="1200"/>
                  </a:lnTo>
                  <a:lnTo>
                    <a:pt x="332" y="1180"/>
                  </a:lnTo>
                  <a:lnTo>
                    <a:pt x="322" y="1188"/>
                  </a:lnTo>
                  <a:lnTo>
                    <a:pt x="312" y="1202"/>
                  </a:lnTo>
                  <a:lnTo>
                    <a:pt x="312" y="1202"/>
                  </a:lnTo>
                  <a:lnTo>
                    <a:pt x="288" y="1200"/>
                  </a:lnTo>
                  <a:lnTo>
                    <a:pt x="269" y="1197"/>
                  </a:lnTo>
                  <a:lnTo>
                    <a:pt x="160" y="1193"/>
                  </a:lnTo>
                  <a:lnTo>
                    <a:pt x="140" y="1193"/>
                  </a:lnTo>
                  <a:lnTo>
                    <a:pt x="22" y="1205"/>
                  </a:lnTo>
                  <a:lnTo>
                    <a:pt x="0" y="1210"/>
                  </a:lnTo>
                  <a:lnTo>
                    <a:pt x="0" y="17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14" name="işḻïḑê"/>
            <p:cNvSpPr/>
            <p:nvPr/>
          </p:nvSpPr>
          <p:spPr bwMode="auto">
            <a:xfrm>
              <a:off x="3175" y="4502751"/>
              <a:ext cx="2032266" cy="2655133"/>
            </a:xfrm>
            <a:custGeom>
              <a:avLst/>
              <a:gdLst>
                <a:gd name="T0" fmla="*/ 933 w 1279"/>
                <a:gd name="T1" fmla="*/ 988 h 1671"/>
                <a:gd name="T2" fmla="*/ 712 w 1279"/>
                <a:gd name="T3" fmla="*/ 933 h 1671"/>
                <a:gd name="T4" fmla="*/ 577 w 1279"/>
                <a:gd name="T5" fmla="*/ 1207 h 1671"/>
                <a:gd name="T6" fmla="*/ 303 w 1279"/>
                <a:gd name="T7" fmla="*/ 1336 h 1671"/>
                <a:gd name="T8" fmla="*/ 230 w 1279"/>
                <a:gd name="T9" fmla="*/ 517 h 1671"/>
                <a:gd name="T10" fmla="*/ 194 w 1279"/>
                <a:gd name="T11" fmla="*/ 505 h 1671"/>
                <a:gd name="T12" fmla="*/ 240 w 1279"/>
                <a:gd name="T13" fmla="*/ 498 h 1671"/>
                <a:gd name="T14" fmla="*/ 211 w 1279"/>
                <a:gd name="T15" fmla="*/ 486 h 1671"/>
                <a:gd name="T16" fmla="*/ 194 w 1279"/>
                <a:gd name="T17" fmla="*/ 481 h 1671"/>
                <a:gd name="T18" fmla="*/ 192 w 1279"/>
                <a:gd name="T19" fmla="*/ 432 h 1671"/>
                <a:gd name="T20" fmla="*/ 182 w 1279"/>
                <a:gd name="T21" fmla="*/ 427 h 1671"/>
                <a:gd name="T22" fmla="*/ 204 w 1279"/>
                <a:gd name="T23" fmla="*/ 425 h 1671"/>
                <a:gd name="T24" fmla="*/ 218 w 1279"/>
                <a:gd name="T25" fmla="*/ 425 h 1671"/>
                <a:gd name="T26" fmla="*/ 233 w 1279"/>
                <a:gd name="T27" fmla="*/ 418 h 1671"/>
                <a:gd name="T28" fmla="*/ 235 w 1279"/>
                <a:gd name="T29" fmla="*/ 410 h 1671"/>
                <a:gd name="T30" fmla="*/ 189 w 1279"/>
                <a:gd name="T31" fmla="*/ 398 h 1671"/>
                <a:gd name="T32" fmla="*/ 172 w 1279"/>
                <a:gd name="T33" fmla="*/ 379 h 1671"/>
                <a:gd name="T34" fmla="*/ 168 w 1279"/>
                <a:gd name="T35" fmla="*/ 245 h 1671"/>
                <a:gd name="T36" fmla="*/ 163 w 1279"/>
                <a:gd name="T37" fmla="*/ 146 h 1671"/>
                <a:gd name="T38" fmla="*/ 158 w 1279"/>
                <a:gd name="T39" fmla="*/ 63 h 1671"/>
                <a:gd name="T40" fmla="*/ 155 w 1279"/>
                <a:gd name="T41" fmla="*/ 0 h 1671"/>
                <a:gd name="T42" fmla="*/ 153 w 1279"/>
                <a:gd name="T43" fmla="*/ 0 h 1671"/>
                <a:gd name="T44" fmla="*/ 151 w 1279"/>
                <a:gd name="T45" fmla="*/ 65 h 1671"/>
                <a:gd name="T46" fmla="*/ 148 w 1279"/>
                <a:gd name="T47" fmla="*/ 146 h 1671"/>
                <a:gd name="T48" fmla="*/ 146 w 1279"/>
                <a:gd name="T49" fmla="*/ 374 h 1671"/>
                <a:gd name="T50" fmla="*/ 138 w 1279"/>
                <a:gd name="T51" fmla="*/ 386 h 1671"/>
                <a:gd name="T52" fmla="*/ 117 w 1279"/>
                <a:gd name="T53" fmla="*/ 401 h 1671"/>
                <a:gd name="T54" fmla="*/ 80 w 1279"/>
                <a:gd name="T55" fmla="*/ 418 h 1671"/>
                <a:gd name="T56" fmla="*/ 95 w 1279"/>
                <a:gd name="T57" fmla="*/ 425 h 1671"/>
                <a:gd name="T58" fmla="*/ 112 w 1279"/>
                <a:gd name="T59" fmla="*/ 427 h 1671"/>
                <a:gd name="T60" fmla="*/ 129 w 1279"/>
                <a:gd name="T61" fmla="*/ 427 h 1671"/>
                <a:gd name="T62" fmla="*/ 119 w 1279"/>
                <a:gd name="T63" fmla="*/ 439 h 1671"/>
                <a:gd name="T64" fmla="*/ 121 w 1279"/>
                <a:gd name="T65" fmla="*/ 481 h 1671"/>
                <a:gd name="T66" fmla="*/ 100 w 1279"/>
                <a:gd name="T67" fmla="*/ 486 h 1671"/>
                <a:gd name="T68" fmla="*/ 75 w 1279"/>
                <a:gd name="T69" fmla="*/ 498 h 1671"/>
                <a:gd name="T70" fmla="*/ 121 w 1279"/>
                <a:gd name="T71" fmla="*/ 507 h 1671"/>
                <a:gd name="T72" fmla="*/ 85 w 1279"/>
                <a:gd name="T73" fmla="*/ 520 h 1671"/>
                <a:gd name="T74" fmla="*/ 27 w 1279"/>
                <a:gd name="T75" fmla="*/ 1333 h 1671"/>
                <a:gd name="T76" fmla="*/ 126 w 1279"/>
                <a:gd name="T77" fmla="*/ 498 h 1671"/>
                <a:gd name="T78" fmla="*/ 121 w 1279"/>
                <a:gd name="T79" fmla="*/ 498 h 1671"/>
                <a:gd name="T80" fmla="*/ 121 w 1279"/>
                <a:gd name="T81" fmla="*/ 568 h 1671"/>
                <a:gd name="T82" fmla="*/ 119 w 1279"/>
                <a:gd name="T83" fmla="*/ 656 h 1671"/>
                <a:gd name="T84" fmla="*/ 138 w 1279"/>
                <a:gd name="T85" fmla="*/ 799 h 1671"/>
                <a:gd name="T86" fmla="*/ 124 w 1279"/>
                <a:gd name="T87" fmla="*/ 814 h 1671"/>
                <a:gd name="T88" fmla="*/ 119 w 1279"/>
                <a:gd name="T89" fmla="*/ 937 h 1671"/>
                <a:gd name="T90" fmla="*/ 141 w 1279"/>
                <a:gd name="T91" fmla="*/ 1071 h 1671"/>
                <a:gd name="T92" fmla="*/ 121 w 1279"/>
                <a:gd name="T93" fmla="*/ 1188 h 1671"/>
                <a:gd name="T94" fmla="*/ 129 w 1279"/>
                <a:gd name="T95" fmla="*/ 1185 h 1671"/>
                <a:gd name="T96" fmla="*/ 182 w 1279"/>
                <a:gd name="T97" fmla="*/ 656 h 1671"/>
                <a:gd name="T98" fmla="*/ 189 w 1279"/>
                <a:gd name="T99" fmla="*/ 799 h 1671"/>
                <a:gd name="T100" fmla="*/ 199 w 1279"/>
                <a:gd name="T101" fmla="*/ 937 h 1671"/>
                <a:gd name="T102" fmla="*/ 199 w 1279"/>
                <a:gd name="T103" fmla="*/ 957 h 1671"/>
                <a:gd name="T104" fmla="*/ 184 w 1279"/>
                <a:gd name="T105" fmla="*/ 1185 h 1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79" h="1671">
                  <a:moveTo>
                    <a:pt x="1279" y="1154"/>
                  </a:moveTo>
                  <a:lnTo>
                    <a:pt x="1182" y="1178"/>
                  </a:lnTo>
                  <a:lnTo>
                    <a:pt x="1100" y="1212"/>
                  </a:lnTo>
                  <a:lnTo>
                    <a:pt x="1063" y="1212"/>
                  </a:lnTo>
                  <a:lnTo>
                    <a:pt x="1063" y="988"/>
                  </a:lnTo>
                  <a:lnTo>
                    <a:pt x="933" y="988"/>
                  </a:lnTo>
                  <a:lnTo>
                    <a:pt x="933" y="933"/>
                  </a:lnTo>
                  <a:lnTo>
                    <a:pt x="894" y="933"/>
                  </a:lnTo>
                  <a:lnTo>
                    <a:pt x="894" y="877"/>
                  </a:lnTo>
                  <a:lnTo>
                    <a:pt x="783" y="877"/>
                  </a:lnTo>
                  <a:lnTo>
                    <a:pt x="783" y="933"/>
                  </a:lnTo>
                  <a:lnTo>
                    <a:pt x="712" y="933"/>
                  </a:lnTo>
                  <a:lnTo>
                    <a:pt x="712" y="988"/>
                  </a:lnTo>
                  <a:lnTo>
                    <a:pt x="671" y="988"/>
                  </a:lnTo>
                  <a:lnTo>
                    <a:pt x="671" y="1183"/>
                  </a:lnTo>
                  <a:lnTo>
                    <a:pt x="659" y="1180"/>
                  </a:lnTo>
                  <a:lnTo>
                    <a:pt x="618" y="1188"/>
                  </a:lnTo>
                  <a:lnTo>
                    <a:pt x="577" y="1207"/>
                  </a:lnTo>
                  <a:lnTo>
                    <a:pt x="543" y="1236"/>
                  </a:lnTo>
                  <a:lnTo>
                    <a:pt x="519" y="1275"/>
                  </a:lnTo>
                  <a:lnTo>
                    <a:pt x="506" y="1309"/>
                  </a:lnTo>
                  <a:lnTo>
                    <a:pt x="315" y="1309"/>
                  </a:lnTo>
                  <a:lnTo>
                    <a:pt x="303" y="1314"/>
                  </a:lnTo>
                  <a:lnTo>
                    <a:pt x="303" y="1336"/>
                  </a:lnTo>
                  <a:lnTo>
                    <a:pt x="247" y="1333"/>
                  </a:lnTo>
                  <a:lnTo>
                    <a:pt x="243" y="520"/>
                  </a:lnTo>
                  <a:lnTo>
                    <a:pt x="243" y="520"/>
                  </a:lnTo>
                  <a:lnTo>
                    <a:pt x="240" y="520"/>
                  </a:lnTo>
                  <a:lnTo>
                    <a:pt x="235" y="517"/>
                  </a:lnTo>
                  <a:lnTo>
                    <a:pt x="230" y="517"/>
                  </a:lnTo>
                  <a:lnTo>
                    <a:pt x="230" y="517"/>
                  </a:lnTo>
                  <a:lnTo>
                    <a:pt x="230" y="510"/>
                  </a:lnTo>
                  <a:lnTo>
                    <a:pt x="228" y="507"/>
                  </a:lnTo>
                  <a:lnTo>
                    <a:pt x="221" y="507"/>
                  </a:lnTo>
                  <a:lnTo>
                    <a:pt x="209" y="507"/>
                  </a:lnTo>
                  <a:lnTo>
                    <a:pt x="194" y="505"/>
                  </a:lnTo>
                  <a:lnTo>
                    <a:pt x="184" y="505"/>
                  </a:lnTo>
                  <a:lnTo>
                    <a:pt x="184" y="500"/>
                  </a:lnTo>
                  <a:lnTo>
                    <a:pt x="192" y="500"/>
                  </a:lnTo>
                  <a:lnTo>
                    <a:pt x="211" y="500"/>
                  </a:lnTo>
                  <a:lnTo>
                    <a:pt x="228" y="498"/>
                  </a:lnTo>
                  <a:lnTo>
                    <a:pt x="240" y="498"/>
                  </a:lnTo>
                  <a:lnTo>
                    <a:pt x="247" y="495"/>
                  </a:lnTo>
                  <a:lnTo>
                    <a:pt x="247" y="493"/>
                  </a:lnTo>
                  <a:lnTo>
                    <a:pt x="247" y="490"/>
                  </a:lnTo>
                  <a:lnTo>
                    <a:pt x="240" y="488"/>
                  </a:lnTo>
                  <a:lnTo>
                    <a:pt x="228" y="486"/>
                  </a:lnTo>
                  <a:lnTo>
                    <a:pt x="211" y="486"/>
                  </a:lnTo>
                  <a:lnTo>
                    <a:pt x="189" y="486"/>
                  </a:lnTo>
                  <a:lnTo>
                    <a:pt x="184" y="486"/>
                  </a:lnTo>
                  <a:lnTo>
                    <a:pt x="184" y="483"/>
                  </a:lnTo>
                  <a:lnTo>
                    <a:pt x="187" y="483"/>
                  </a:lnTo>
                  <a:lnTo>
                    <a:pt x="192" y="481"/>
                  </a:lnTo>
                  <a:lnTo>
                    <a:pt x="194" y="481"/>
                  </a:lnTo>
                  <a:lnTo>
                    <a:pt x="194" y="478"/>
                  </a:lnTo>
                  <a:lnTo>
                    <a:pt x="194" y="469"/>
                  </a:lnTo>
                  <a:lnTo>
                    <a:pt x="192" y="459"/>
                  </a:lnTo>
                  <a:lnTo>
                    <a:pt x="192" y="449"/>
                  </a:lnTo>
                  <a:lnTo>
                    <a:pt x="192" y="439"/>
                  </a:lnTo>
                  <a:lnTo>
                    <a:pt x="192" y="432"/>
                  </a:lnTo>
                  <a:lnTo>
                    <a:pt x="192" y="430"/>
                  </a:lnTo>
                  <a:lnTo>
                    <a:pt x="192" y="430"/>
                  </a:lnTo>
                  <a:lnTo>
                    <a:pt x="189" y="427"/>
                  </a:lnTo>
                  <a:lnTo>
                    <a:pt x="184" y="427"/>
                  </a:lnTo>
                  <a:lnTo>
                    <a:pt x="182" y="427"/>
                  </a:lnTo>
                  <a:lnTo>
                    <a:pt x="182" y="427"/>
                  </a:lnTo>
                  <a:lnTo>
                    <a:pt x="184" y="427"/>
                  </a:lnTo>
                  <a:lnTo>
                    <a:pt x="189" y="427"/>
                  </a:lnTo>
                  <a:lnTo>
                    <a:pt x="189" y="427"/>
                  </a:lnTo>
                  <a:lnTo>
                    <a:pt x="199" y="427"/>
                  </a:lnTo>
                  <a:lnTo>
                    <a:pt x="204" y="425"/>
                  </a:lnTo>
                  <a:lnTo>
                    <a:pt x="204" y="425"/>
                  </a:lnTo>
                  <a:lnTo>
                    <a:pt x="204" y="425"/>
                  </a:lnTo>
                  <a:lnTo>
                    <a:pt x="209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8" y="425"/>
                  </a:lnTo>
                  <a:lnTo>
                    <a:pt x="221" y="422"/>
                  </a:lnTo>
                  <a:lnTo>
                    <a:pt x="221" y="422"/>
                  </a:lnTo>
                  <a:lnTo>
                    <a:pt x="221" y="422"/>
                  </a:lnTo>
                  <a:lnTo>
                    <a:pt x="221" y="422"/>
                  </a:lnTo>
                  <a:lnTo>
                    <a:pt x="230" y="418"/>
                  </a:lnTo>
                  <a:lnTo>
                    <a:pt x="233" y="418"/>
                  </a:lnTo>
                  <a:lnTo>
                    <a:pt x="233" y="418"/>
                  </a:lnTo>
                  <a:lnTo>
                    <a:pt x="235" y="415"/>
                  </a:lnTo>
                  <a:lnTo>
                    <a:pt x="235" y="413"/>
                  </a:lnTo>
                  <a:lnTo>
                    <a:pt x="235" y="413"/>
                  </a:lnTo>
                  <a:lnTo>
                    <a:pt x="235" y="410"/>
                  </a:lnTo>
                  <a:lnTo>
                    <a:pt x="235" y="410"/>
                  </a:lnTo>
                  <a:lnTo>
                    <a:pt x="221" y="403"/>
                  </a:lnTo>
                  <a:lnTo>
                    <a:pt x="218" y="403"/>
                  </a:lnTo>
                  <a:lnTo>
                    <a:pt x="209" y="401"/>
                  </a:lnTo>
                  <a:lnTo>
                    <a:pt x="197" y="401"/>
                  </a:lnTo>
                  <a:lnTo>
                    <a:pt x="194" y="401"/>
                  </a:lnTo>
                  <a:lnTo>
                    <a:pt x="189" y="398"/>
                  </a:lnTo>
                  <a:lnTo>
                    <a:pt x="187" y="396"/>
                  </a:lnTo>
                  <a:lnTo>
                    <a:pt x="182" y="393"/>
                  </a:lnTo>
                  <a:lnTo>
                    <a:pt x="180" y="391"/>
                  </a:lnTo>
                  <a:lnTo>
                    <a:pt x="177" y="386"/>
                  </a:lnTo>
                  <a:lnTo>
                    <a:pt x="175" y="381"/>
                  </a:lnTo>
                  <a:lnTo>
                    <a:pt x="172" y="379"/>
                  </a:lnTo>
                  <a:lnTo>
                    <a:pt x="170" y="374"/>
                  </a:lnTo>
                  <a:lnTo>
                    <a:pt x="170" y="374"/>
                  </a:lnTo>
                  <a:lnTo>
                    <a:pt x="168" y="374"/>
                  </a:lnTo>
                  <a:lnTo>
                    <a:pt x="168" y="374"/>
                  </a:lnTo>
                  <a:lnTo>
                    <a:pt x="168" y="245"/>
                  </a:lnTo>
                  <a:lnTo>
                    <a:pt x="168" y="245"/>
                  </a:lnTo>
                  <a:lnTo>
                    <a:pt x="165" y="243"/>
                  </a:lnTo>
                  <a:lnTo>
                    <a:pt x="165" y="243"/>
                  </a:lnTo>
                  <a:lnTo>
                    <a:pt x="163" y="243"/>
                  </a:lnTo>
                  <a:lnTo>
                    <a:pt x="163" y="146"/>
                  </a:lnTo>
                  <a:lnTo>
                    <a:pt x="163" y="146"/>
                  </a:lnTo>
                  <a:lnTo>
                    <a:pt x="163" y="146"/>
                  </a:lnTo>
                  <a:lnTo>
                    <a:pt x="160" y="146"/>
                  </a:lnTo>
                  <a:lnTo>
                    <a:pt x="160" y="146"/>
                  </a:lnTo>
                  <a:lnTo>
                    <a:pt x="160" y="65"/>
                  </a:lnTo>
                  <a:lnTo>
                    <a:pt x="160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3" y="0"/>
                  </a:lnTo>
                  <a:lnTo>
                    <a:pt x="153" y="0"/>
                  </a:lnTo>
                  <a:lnTo>
                    <a:pt x="153" y="0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3" y="63"/>
                  </a:lnTo>
                  <a:lnTo>
                    <a:pt x="153" y="63"/>
                  </a:lnTo>
                  <a:lnTo>
                    <a:pt x="153" y="63"/>
                  </a:lnTo>
                  <a:lnTo>
                    <a:pt x="151" y="65"/>
                  </a:lnTo>
                  <a:lnTo>
                    <a:pt x="151" y="65"/>
                  </a:lnTo>
                  <a:lnTo>
                    <a:pt x="151" y="65"/>
                  </a:lnTo>
                  <a:lnTo>
                    <a:pt x="151" y="146"/>
                  </a:lnTo>
                  <a:lnTo>
                    <a:pt x="151" y="146"/>
                  </a:lnTo>
                  <a:lnTo>
                    <a:pt x="151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243"/>
                  </a:lnTo>
                  <a:lnTo>
                    <a:pt x="148" y="243"/>
                  </a:lnTo>
                  <a:lnTo>
                    <a:pt x="146" y="245"/>
                  </a:lnTo>
                  <a:lnTo>
                    <a:pt x="146" y="245"/>
                  </a:lnTo>
                  <a:lnTo>
                    <a:pt x="146" y="374"/>
                  </a:lnTo>
                  <a:lnTo>
                    <a:pt x="146" y="374"/>
                  </a:lnTo>
                  <a:lnTo>
                    <a:pt x="143" y="374"/>
                  </a:lnTo>
                  <a:lnTo>
                    <a:pt x="143" y="374"/>
                  </a:lnTo>
                  <a:lnTo>
                    <a:pt x="141" y="379"/>
                  </a:lnTo>
                  <a:lnTo>
                    <a:pt x="141" y="384"/>
                  </a:lnTo>
                  <a:lnTo>
                    <a:pt x="138" y="386"/>
                  </a:lnTo>
                  <a:lnTo>
                    <a:pt x="136" y="391"/>
                  </a:lnTo>
                  <a:lnTo>
                    <a:pt x="131" y="393"/>
                  </a:lnTo>
                  <a:lnTo>
                    <a:pt x="129" y="396"/>
                  </a:lnTo>
                  <a:lnTo>
                    <a:pt x="124" y="398"/>
                  </a:lnTo>
                  <a:lnTo>
                    <a:pt x="121" y="401"/>
                  </a:lnTo>
                  <a:lnTo>
                    <a:pt x="117" y="401"/>
                  </a:lnTo>
                  <a:lnTo>
                    <a:pt x="105" y="403"/>
                  </a:lnTo>
                  <a:lnTo>
                    <a:pt x="97" y="403"/>
                  </a:lnTo>
                  <a:lnTo>
                    <a:pt x="92" y="405"/>
                  </a:lnTo>
                  <a:lnTo>
                    <a:pt x="80" y="413"/>
                  </a:lnTo>
                  <a:lnTo>
                    <a:pt x="80" y="413"/>
                  </a:lnTo>
                  <a:lnTo>
                    <a:pt x="80" y="418"/>
                  </a:lnTo>
                  <a:lnTo>
                    <a:pt x="80" y="418"/>
                  </a:lnTo>
                  <a:lnTo>
                    <a:pt x="80" y="420"/>
                  </a:lnTo>
                  <a:lnTo>
                    <a:pt x="85" y="420"/>
                  </a:lnTo>
                  <a:lnTo>
                    <a:pt x="95" y="425"/>
                  </a:lnTo>
                  <a:lnTo>
                    <a:pt x="95" y="425"/>
                  </a:lnTo>
                  <a:lnTo>
                    <a:pt x="95" y="425"/>
                  </a:lnTo>
                  <a:lnTo>
                    <a:pt x="100" y="425"/>
                  </a:lnTo>
                  <a:lnTo>
                    <a:pt x="100" y="425"/>
                  </a:lnTo>
                  <a:lnTo>
                    <a:pt x="102" y="425"/>
                  </a:lnTo>
                  <a:lnTo>
                    <a:pt x="102" y="425"/>
                  </a:lnTo>
                  <a:lnTo>
                    <a:pt x="107" y="427"/>
                  </a:lnTo>
                  <a:lnTo>
                    <a:pt x="112" y="427"/>
                  </a:lnTo>
                  <a:lnTo>
                    <a:pt x="112" y="427"/>
                  </a:lnTo>
                  <a:lnTo>
                    <a:pt x="119" y="427"/>
                  </a:lnTo>
                  <a:lnTo>
                    <a:pt x="124" y="427"/>
                  </a:lnTo>
                  <a:lnTo>
                    <a:pt x="124" y="427"/>
                  </a:lnTo>
                  <a:lnTo>
                    <a:pt x="124" y="427"/>
                  </a:lnTo>
                  <a:lnTo>
                    <a:pt x="129" y="427"/>
                  </a:lnTo>
                  <a:lnTo>
                    <a:pt x="129" y="427"/>
                  </a:lnTo>
                  <a:lnTo>
                    <a:pt x="126" y="430"/>
                  </a:lnTo>
                  <a:lnTo>
                    <a:pt x="121" y="430"/>
                  </a:lnTo>
                  <a:lnTo>
                    <a:pt x="119" y="430"/>
                  </a:lnTo>
                  <a:lnTo>
                    <a:pt x="119" y="432"/>
                  </a:lnTo>
                  <a:lnTo>
                    <a:pt x="119" y="439"/>
                  </a:lnTo>
                  <a:lnTo>
                    <a:pt x="119" y="449"/>
                  </a:lnTo>
                  <a:lnTo>
                    <a:pt x="119" y="459"/>
                  </a:lnTo>
                  <a:lnTo>
                    <a:pt x="119" y="469"/>
                  </a:lnTo>
                  <a:lnTo>
                    <a:pt x="119" y="478"/>
                  </a:lnTo>
                  <a:lnTo>
                    <a:pt x="119" y="481"/>
                  </a:lnTo>
                  <a:lnTo>
                    <a:pt x="121" y="481"/>
                  </a:lnTo>
                  <a:lnTo>
                    <a:pt x="124" y="483"/>
                  </a:lnTo>
                  <a:lnTo>
                    <a:pt x="129" y="483"/>
                  </a:lnTo>
                  <a:lnTo>
                    <a:pt x="131" y="483"/>
                  </a:lnTo>
                  <a:lnTo>
                    <a:pt x="131" y="486"/>
                  </a:lnTo>
                  <a:lnTo>
                    <a:pt x="119" y="486"/>
                  </a:lnTo>
                  <a:lnTo>
                    <a:pt x="100" y="486"/>
                  </a:lnTo>
                  <a:lnTo>
                    <a:pt x="83" y="488"/>
                  </a:lnTo>
                  <a:lnTo>
                    <a:pt x="73" y="490"/>
                  </a:lnTo>
                  <a:lnTo>
                    <a:pt x="66" y="490"/>
                  </a:lnTo>
                  <a:lnTo>
                    <a:pt x="66" y="495"/>
                  </a:lnTo>
                  <a:lnTo>
                    <a:pt x="68" y="498"/>
                  </a:lnTo>
                  <a:lnTo>
                    <a:pt x="75" y="498"/>
                  </a:lnTo>
                  <a:lnTo>
                    <a:pt x="88" y="500"/>
                  </a:lnTo>
                  <a:lnTo>
                    <a:pt x="105" y="500"/>
                  </a:lnTo>
                  <a:lnTo>
                    <a:pt x="124" y="500"/>
                  </a:lnTo>
                  <a:lnTo>
                    <a:pt x="131" y="500"/>
                  </a:lnTo>
                  <a:lnTo>
                    <a:pt x="131" y="505"/>
                  </a:lnTo>
                  <a:lnTo>
                    <a:pt x="121" y="507"/>
                  </a:lnTo>
                  <a:lnTo>
                    <a:pt x="107" y="507"/>
                  </a:lnTo>
                  <a:lnTo>
                    <a:pt x="95" y="507"/>
                  </a:lnTo>
                  <a:lnTo>
                    <a:pt x="88" y="510"/>
                  </a:lnTo>
                  <a:lnTo>
                    <a:pt x="88" y="510"/>
                  </a:lnTo>
                  <a:lnTo>
                    <a:pt x="88" y="520"/>
                  </a:lnTo>
                  <a:lnTo>
                    <a:pt x="85" y="520"/>
                  </a:lnTo>
                  <a:lnTo>
                    <a:pt x="80" y="520"/>
                  </a:lnTo>
                  <a:lnTo>
                    <a:pt x="75" y="520"/>
                  </a:lnTo>
                  <a:lnTo>
                    <a:pt x="73" y="520"/>
                  </a:lnTo>
                  <a:lnTo>
                    <a:pt x="73" y="520"/>
                  </a:lnTo>
                  <a:lnTo>
                    <a:pt x="78" y="1331"/>
                  </a:lnTo>
                  <a:lnTo>
                    <a:pt x="27" y="1333"/>
                  </a:lnTo>
                  <a:lnTo>
                    <a:pt x="27" y="1350"/>
                  </a:lnTo>
                  <a:lnTo>
                    <a:pt x="0" y="1353"/>
                  </a:lnTo>
                  <a:lnTo>
                    <a:pt x="0" y="1671"/>
                  </a:lnTo>
                  <a:lnTo>
                    <a:pt x="1279" y="1671"/>
                  </a:lnTo>
                  <a:lnTo>
                    <a:pt x="1279" y="1154"/>
                  </a:lnTo>
                  <a:close/>
                  <a:moveTo>
                    <a:pt x="126" y="498"/>
                  </a:moveTo>
                  <a:lnTo>
                    <a:pt x="124" y="498"/>
                  </a:lnTo>
                  <a:lnTo>
                    <a:pt x="121" y="498"/>
                  </a:lnTo>
                  <a:lnTo>
                    <a:pt x="119" y="498"/>
                  </a:lnTo>
                  <a:lnTo>
                    <a:pt x="117" y="498"/>
                  </a:lnTo>
                  <a:lnTo>
                    <a:pt x="119" y="498"/>
                  </a:lnTo>
                  <a:lnTo>
                    <a:pt x="121" y="498"/>
                  </a:lnTo>
                  <a:lnTo>
                    <a:pt x="124" y="498"/>
                  </a:lnTo>
                  <a:lnTo>
                    <a:pt x="126" y="498"/>
                  </a:lnTo>
                  <a:lnTo>
                    <a:pt x="131" y="498"/>
                  </a:lnTo>
                  <a:lnTo>
                    <a:pt x="126" y="498"/>
                  </a:lnTo>
                  <a:close/>
                  <a:moveTo>
                    <a:pt x="117" y="568"/>
                  </a:moveTo>
                  <a:lnTo>
                    <a:pt x="121" y="568"/>
                  </a:lnTo>
                  <a:lnTo>
                    <a:pt x="131" y="568"/>
                  </a:lnTo>
                  <a:lnTo>
                    <a:pt x="138" y="568"/>
                  </a:lnTo>
                  <a:lnTo>
                    <a:pt x="138" y="656"/>
                  </a:lnTo>
                  <a:lnTo>
                    <a:pt x="134" y="656"/>
                  </a:lnTo>
                  <a:lnTo>
                    <a:pt x="124" y="656"/>
                  </a:lnTo>
                  <a:lnTo>
                    <a:pt x="119" y="656"/>
                  </a:lnTo>
                  <a:lnTo>
                    <a:pt x="117" y="568"/>
                  </a:lnTo>
                  <a:close/>
                  <a:moveTo>
                    <a:pt x="119" y="673"/>
                  </a:moveTo>
                  <a:lnTo>
                    <a:pt x="126" y="673"/>
                  </a:lnTo>
                  <a:lnTo>
                    <a:pt x="136" y="673"/>
                  </a:lnTo>
                  <a:lnTo>
                    <a:pt x="138" y="673"/>
                  </a:lnTo>
                  <a:lnTo>
                    <a:pt x="138" y="799"/>
                  </a:lnTo>
                  <a:lnTo>
                    <a:pt x="136" y="799"/>
                  </a:lnTo>
                  <a:lnTo>
                    <a:pt x="126" y="799"/>
                  </a:lnTo>
                  <a:lnTo>
                    <a:pt x="119" y="799"/>
                  </a:lnTo>
                  <a:lnTo>
                    <a:pt x="119" y="673"/>
                  </a:lnTo>
                  <a:close/>
                  <a:moveTo>
                    <a:pt x="119" y="814"/>
                  </a:moveTo>
                  <a:lnTo>
                    <a:pt x="124" y="814"/>
                  </a:lnTo>
                  <a:lnTo>
                    <a:pt x="136" y="814"/>
                  </a:lnTo>
                  <a:lnTo>
                    <a:pt x="141" y="814"/>
                  </a:lnTo>
                  <a:lnTo>
                    <a:pt x="141" y="937"/>
                  </a:lnTo>
                  <a:lnTo>
                    <a:pt x="136" y="937"/>
                  </a:lnTo>
                  <a:lnTo>
                    <a:pt x="129" y="937"/>
                  </a:lnTo>
                  <a:lnTo>
                    <a:pt x="119" y="937"/>
                  </a:lnTo>
                  <a:lnTo>
                    <a:pt x="119" y="814"/>
                  </a:lnTo>
                  <a:close/>
                  <a:moveTo>
                    <a:pt x="119" y="957"/>
                  </a:moveTo>
                  <a:lnTo>
                    <a:pt x="126" y="957"/>
                  </a:lnTo>
                  <a:lnTo>
                    <a:pt x="136" y="957"/>
                  </a:lnTo>
                  <a:lnTo>
                    <a:pt x="141" y="957"/>
                  </a:lnTo>
                  <a:lnTo>
                    <a:pt x="141" y="1071"/>
                  </a:lnTo>
                  <a:lnTo>
                    <a:pt x="138" y="1071"/>
                  </a:lnTo>
                  <a:lnTo>
                    <a:pt x="129" y="1071"/>
                  </a:lnTo>
                  <a:lnTo>
                    <a:pt x="121" y="1073"/>
                  </a:lnTo>
                  <a:lnTo>
                    <a:pt x="119" y="957"/>
                  </a:lnTo>
                  <a:close/>
                  <a:moveTo>
                    <a:pt x="129" y="1185"/>
                  </a:moveTo>
                  <a:lnTo>
                    <a:pt x="121" y="1188"/>
                  </a:lnTo>
                  <a:lnTo>
                    <a:pt x="121" y="1095"/>
                  </a:lnTo>
                  <a:lnTo>
                    <a:pt x="126" y="1095"/>
                  </a:lnTo>
                  <a:lnTo>
                    <a:pt x="136" y="1095"/>
                  </a:lnTo>
                  <a:lnTo>
                    <a:pt x="141" y="1095"/>
                  </a:lnTo>
                  <a:lnTo>
                    <a:pt x="141" y="1185"/>
                  </a:lnTo>
                  <a:lnTo>
                    <a:pt x="129" y="1185"/>
                  </a:lnTo>
                  <a:close/>
                  <a:moveTo>
                    <a:pt x="182" y="568"/>
                  </a:moveTo>
                  <a:lnTo>
                    <a:pt x="189" y="568"/>
                  </a:lnTo>
                  <a:lnTo>
                    <a:pt x="197" y="568"/>
                  </a:lnTo>
                  <a:lnTo>
                    <a:pt x="197" y="656"/>
                  </a:lnTo>
                  <a:lnTo>
                    <a:pt x="194" y="656"/>
                  </a:lnTo>
                  <a:lnTo>
                    <a:pt x="182" y="656"/>
                  </a:lnTo>
                  <a:lnTo>
                    <a:pt x="182" y="568"/>
                  </a:lnTo>
                  <a:close/>
                  <a:moveTo>
                    <a:pt x="182" y="673"/>
                  </a:moveTo>
                  <a:lnTo>
                    <a:pt x="189" y="673"/>
                  </a:lnTo>
                  <a:lnTo>
                    <a:pt x="197" y="673"/>
                  </a:lnTo>
                  <a:lnTo>
                    <a:pt x="199" y="799"/>
                  </a:lnTo>
                  <a:lnTo>
                    <a:pt x="189" y="799"/>
                  </a:lnTo>
                  <a:lnTo>
                    <a:pt x="182" y="799"/>
                  </a:lnTo>
                  <a:lnTo>
                    <a:pt x="182" y="673"/>
                  </a:lnTo>
                  <a:close/>
                  <a:moveTo>
                    <a:pt x="182" y="814"/>
                  </a:moveTo>
                  <a:lnTo>
                    <a:pt x="194" y="814"/>
                  </a:lnTo>
                  <a:lnTo>
                    <a:pt x="199" y="814"/>
                  </a:lnTo>
                  <a:lnTo>
                    <a:pt x="199" y="937"/>
                  </a:lnTo>
                  <a:lnTo>
                    <a:pt x="192" y="937"/>
                  </a:lnTo>
                  <a:lnTo>
                    <a:pt x="184" y="937"/>
                  </a:lnTo>
                  <a:lnTo>
                    <a:pt x="182" y="814"/>
                  </a:lnTo>
                  <a:close/>
                  <a:moveTo>
                    <a:pt x="184" y="957"/>
                  </a:moveTo>
                  <a:lnTo>
                    <a:pt x="194" y="957"/>
                  </a:lnTo>
                  <a:lnTo>
                    <a:pt x="199" y="957"/>
                  </a:lnTo>
                  <a:lnTo>
                    <a:pt x="199" y="1071"/>
                  </a:lnTo>
                  <a:lnTo>
                    <a:pt x="192" y="1071"/>
                  </a:lnTo>
                  <a:lnTo>
                    <a:pt x="184" y="1071"/>
                  </a:lnTo>
                  <a:lnTo>
                    <a:pt x="184" y="957"/>
                  </a:lnTo>
                  <a:close/>
                  <a:moveTo>
                    <a:pt x="199" y="1188"/>
                  </a:moveTo>
                  <a:lnTo>
                    <a:pt x="184" y="1185"/>
                  </a:lnTo>
                  <a:lnTo>
                    <a:pt x="184" y="1098"/>
                  </a:lnTo>
                  <a:lnTo>
                    <a:pt x="197" y="1098"/>
                  </a:lnTo>
                  <a:lnTo>
                    <a:pt x="199" y="1098"/>
                  </a:lnTo>
                  <a:lnTo>
                    <a:pt x="201" y="1188"/>
                  </a:lnTo>
                  <a:lnTo>
                    <a:pt x="199" y="11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</p:grpSp>
      <p:sp>
        <p:nvSpPr>
          <p:cNvPr id="15" name="任意多边形: 形状 14"/>
          <p:cNvSpPr/>
          <p:nvPr userDrawn="1"/>
        </p:nvSpPr>
        <p:spPr bwMode="auto">
          <a:xfrm rot="10800000" flipH="1">
            <a:off x="1" y="1"/>
            <a:ext cx="5289591" cy="5417820"/>
          </a:xfrm>
          <a:custGeom>
            <a:avLst/>
            <a:gdLst>
              <a:gd name="connsiteX0" fmla="*/ 2457313 w 5289590"/>
              <a:gd name="connsiteY0" fmla="*/ 0 h 5417820"/>
              <a:gd name="connsiteX1" fmla="*/ 0 w 5289590"/>
              <a:gd name="connsiteY1" fmla="*/ 0 h 5417820"/>
              <a:gd name="connsiteX2" fmla="*/ 0 w 5289590"/>
              <a:gd name="connsiteY2" fmla="*/ 5414923 h 5417820"/>
              <a:gd name="connsiteX3" fmla="*/ 249555 w 5289590"/>
              <a:gd name="connsiteY3" fmla="*/ 5415147 h 5417820"/>
              <a:gd name="connsiteX4" fmla="*/ 3224275 w 5289590"/>
              <a:gd name="connsiteY4" fmla="*/ 5417820 h 5417820"/>
              <a:gd name="connsiteX5" fmla="*/ 4957241 w 5289590"/>
              <a:gd name="connsiteY5" fmla="*/ 3815354 h 5417820"/>
              <a:gd name="connsiteX6" fmla="*/ 4957241 w 5289590"/>
              <a:gd name="connsiteY6" fmla="*/ 2308011 h 5417820"/>
              <a:gd name="connsiteX7" fmla="*/ 2522345 w 5289590"/>
              <a:gd name="connsiteY7" fmla="*/ 60040 h 5417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89590" h="5417820">
                <a:moveTo>
                  <a:pt x="2457313" y="0"/>
                </a:moveTo>
                <a:lnTo>
                  <a:pt x="0" y="0"/>
                </a:lnTo>
                <a:lnTo>
                  <a:pt x="0" y="5414923"/>
                </a:lnTo>
                <a:lnTo>
                  <a:pt x="249555" y="5415147"/>
                </a:lnTo>
                <a:cubicBezTo>
                  <a:pt x="1095202" y="5415907"/>
                  <a:pt x="2079227" y="5416792"/>
                  <a:pt x="3224275" y="5417820"/>
                </a:cubicBezTo>
                <a:cubicBezTo>
                  <a:pt x="3224275" y="5417820"/>
                  <a:pt x="3224275" y="5417820"/>
                  <a:pt x="4957241" y="3815354"/>
                </a:cubicBezTo>
                <a:cubicBezTo>
                  <a:pt x="5400373" y="3398273"/>
                  <a:pt x="5400373" y="2725091"/>
                  <a:pt x="4957241" y="2308011"/>
                </a:cubicBezTo>
                <a:cubicBezTo>
                  <a:pt x="4957241" y="2308011"/>
                  <a:pt x="4957241" y="2308011"/>
                  <a:pt x="2522345" y="6004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  <a:alpha val="58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sz="1800"/>
          </a:p>
        </p:txBody>
      </p:sp>
      <p:sp>
        <p:nvSpPr>
          <p:cNvPr id="16" name="任意多边形: 形状 15"/>
          <p:cNvSpPr/>
          <p:nvPr userDrawn="1"/>
        </p:nvSpPr>
        <p:spPr bwMode="auto">
          <a:xfrm rot="10800000">
            <a:off x="1" y="0"/>
            <a:ext cx="6478609" cy="6858000"/>
          </a:xfrm>
          <a:custGeom>
            <a:avLst/>
            <a:gdLst>
              <a:gd name="connsiteX0" fmla="*/ 6468068 w 6478609"/>
              <a:gd name="connsiteY0" fmla="*/ 3674209 h 6858000"/>
              <a:gd name="connsiteX1" fmla="*/ 6478609 w 6478609"/>
              <a:gd name="connsiteY1" fmla="*/ 6858000 h 6858000"/>
              <a:gd name="connsiteX2" fmla="*/ 6418877 w 6478609"/>
              <a:gd name="connsiteY2" fmla="*/ 6847469 h 6858000"/>
              <a:gd name="connsiteX3" fmla="*/ 6316981 w 6478609"/>
              <a:gd name="connsiteY3" fmla="*/ 6780775 h 6858000"/>
              <a:gd name="connsiteX4" fmla="*/ 5009905 w 6478609"/>
              <a:gd name="connsiteY4" fmla="*/ 5474964 h 6858000"/>
              <a:gd name="connsiteX5" fmla="*/ 5009905 w 6478609"/>
              <a:gd name="connsiteY5" fmla="*/ 5050225 h 6858000"/>
              <a:gd name="connsiteX6" fmla="*/ 6309954 w 6478609"/>
              <a:gd name="connsiteY6" fmla="*/ 3751434 h 6858000"/>
              <a:gd name="connsiteX7" fmla="*/ 6408336 w 6478609"/>
              <a:gd name="connsiteY7" fmla="*/ 3684740 h 6858000"/>
              <a:gd name="connsiteX8" fmla="*/ 2028882 w 6478609"/>
              <a:gd name="connsiteY8" fmla="*/ 0 h 6858000"/>
              <a:gd name="connsiteX9" fmla="*/ 5254187 w 6478609"/>
              <a:gd name="connsiteY9" fmla="*/ 2486 h 6858000"/>
              <a:gd name="connsiteX10" fmla="*/ 5254188 w 6478609"/>
              <a:gd name="connsiteY10" fmla="*/ 2487 h 6858000"/>
              <a:gd name="connsiteX11" fmla="*/ 5253400 w 6478609"/>
              <a:gd name="connsiteY11" fmla="*/ 2486 h 6858000"/>
              <a:gd name="connsiteX12" fmla="*/ 2028883 w 6478609"/>
              <a:gd name="connsiteY12" fmla="*/ 1 h 6858000"/>
              <a:gd name="connsiteX13" fmla="*/ 199717 w 6478609"/>
              <a:gd name="connsiteY13" fmla="*/ 1827184 h 6858000"/>
              <a:gd name="connsiteX14" fmla="*/ 49931 w 6478609"/>
              <a:gd name="connsiteY14" fmla="*/ 2566214 h 6858000"/>
              <a:gd name="connsiteX15" fmla="*/ 112342 w 6478609"/>
              <a:gd name="connsiteY15" fmla="*/ 2684832 h 6858000"/>
              <a:gd name="connsiteX16" fmla="*/ 112341 w 6478609"/>
              <a:gd name="connsiteY16" fmla="*/ 2684831 h 6858000"/>
              <a:gd name="connsiteX17" fmla="*/ 199716 w 6478609"/>
              <a:gd name="connsiteY17" fmla="*/ 18271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478609" h="6858000">
                <a:moveTo>
                  <a:pt x="6468068" y="3674209"/>
                </a:moveTo>
                <a:cubicBezTo>
                  <a:pt x="6478609" y="6858000"/>
                  <a:pt x="6478609" y="6858000"/>
                  <a:pt x="6478609" y="6858000"/>
                </a:cubicBezTo>
                <a:cubicBezTo>
                  <a:pt x="6418877" y="6847469"/>
                  <a:pt x="6418877" y="6847469"/>
                  <a:pt x="6418877" y="6847469"/>
                </a:cubicBezTo>
                <a:cubicBezTo>
                  <a:pt x="6380227" y="6833428"/>
                  <a:pt x="6348604" y="6812367"/>
                  <a:pt x="6316981" y="6780775"/>
                </a:cubicBezTo>
                <a:cubicBezTo>
                  <a:pt x="5009905" y="5474964"/>
                  <a:pt x="5009905" y="5474964"/>
                  <a:pt x="5009905" y="5474964"/>
                </a:cubicBezTo>
                <a:cubicBezTo>
                  <a:pt x="4893955" y="5355616"/>
                  <a:pt x="4890441" y="5166063"/>
                  <a:pt x="5009905" y="5050225"/>
                </a:cubicBezTo>
                <a:cubicBezTo>
                  <a:pt x="6309954" y="3751434"/>
                  <a:pt x="6309954" y="3751434"/>
                  <a:pt x="6309954" y="3751434"/>
                </a:cubicBezTo>
                <a:cubicBezTo>
                  <a:pt x="6338063" y="3719842"/>
                  <a:pt x="6373200" y="3698781"/>
                  <a:pt x="6408336" y="3684740"/>
                </a:cubicBezTo>
                <a:close/>
                <a:moveTo>
                  <a:pt x="2028882" y="0"/>
                </a:moveTo>
                <a:cubicBezTo>
                  <a:pt x="5254187" y="2486"/>
                  <a:pt x="5254187" y="2486"/>
                  <a:pt x="5254187" y="2486"/>
                </a:cubicBezTo>
                <a:lnTo>
                  <a:pt x="5254188" y="2487"/>
                </a:lnTo>
                <a:lnTo>
                  <a:pt x="5253400" y="2486"/>
                </a:lnTo>
                <a:cubicBezTo>
                  <a:pt x="5241589" y="2477"/>
                  <a:pt x="5052606" y="2332"/>
                  <a:pt x="2028883" y="1"/>
                </a:cubicBezTo>
                <a:lnTo>
                  <a:pt x="199717" y="1827184"/>
                </a:lnTo>
                <a:cubicBezTo>
                  <a:pt x="2" y="2026683"/>
                  <a:pt x="-49927" y="2319871"/>
                  <a:pt x="49931" y="2566214"/>
                </a:cubicBezTo>
                <a:lnTo>
                  <a:pt x="112342" y="2684832"/>
                </a:lnTo>
                <a:lnTo>
                  <a:pt x="112341" y="2684831"/>
                </a:lnTo>
                <a:cubicBezTo>
                  <a:pt x="-62410" y="2420202"/>
                  <a:pt x="-33285" y="2059932"/>
                  <a:pt x="199716" y="1827183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rgbClr val="1D25AA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sz="1800"/>
          </a:p>
        </p:txBody>
      </p:sp>
      <p:sp>
        <p:nvSpPr>
          <p:cNvPr id="17" name="Freeform 6"/>
          <p:cNvSpPr/>
          <p:nvPr userDrawn="1"/>
        </p:nvSpPr>
        <p:spPr bwMode="auto">
          <a:xfrm rot="10800000" flipV="1">
            <a:off x="1094216" y="3118075"/>
            <a:ext cx="5384395" cy="3737557"/>
          </a:xfrm>
          <a:custGeom>
            <a:avLst/>
            <a:gdLst>
              <a:gd name="T0" fmla="*/ 790 w 1580"/>
              <a:gd name="T1" fmla="*/ 0 h 1098"/>
              <a:gd name="T2" fmla="*/ 893 w 1580"/>
              <a:gd name="T3" fmla="*/ 43 h 1098"/>
              <a:gd name="T4" fmla="*/ 1524 w 1580"/>
              <a:gd name="T5" fmla="*/ 673 h 1098"/>
              <a:gd name="T6" fmla="*/ 1524 w 1580"/>
              <a:gd name="T7" fmla="*/ 879 h 1098"/>
              <a:gd name="T8" fmla="*/ 1305 w 1580"/>
              <a:gd name="T9" fmla="*/ 1098 h 1098"/>
              <a:gd name="T10" fmla="*/ 276 w 1580"/>
              <a:gd name="T11" fmla="*/ 1097 h 1098"/>
              <a:gd name="T12" fmla="*/ 57 w 1580"/>
              <a:gd name="T13" fmla="*/ 878 h 1098"/>
              <a:gd name="T14" fmla="*/ 57 w 1580"/>
              <a:gd name="T15" fmla="*/ 673 h 1098"/>
              <a:gd name="T16" fmla="*/ 687 w 1580"/>
              <a:gd name="T17" fmla="*/ 43 h 1098"/>
              <a:gd name="T18" fmla="*/ 790 w 1580"/>
              <a:gd name="T19" fmla="*/ 0 h 10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80" h="1098">
                <a:moveTo>
                  <a:pt x="790" y="0"/>
                </a:moveTo>
                <a:cubicBezTo>
                  <a:pt x="827" y="0"/>
                  <a:pt x="864" y="14"/>
                  <a:pt x="893" y="43"/>
                </a:cubicBezTo>
                <a:cubicBezTo>
                  <a:pt x="1524" y="673"/>
                  <a:pt x="1524" y="673"/>
                  <a:pt x="1524" y="673"/>
                </a:cubicBezTo>
                <a:cubicBezTo>
                  <a:pt x="1580" y="730"/>
                  <a:pt x="1580" y="822"/>
                  <a:pt x="1524" y="879"/>
                </a:cubicBezTo>
                <a:cubicBezTo>
                  <a:pt x="1305" y="1098"/>
                  <a:pt x="1305" y="1098"/>
                  <a:pt x="1305" y="1098"/>
                </a:cubicBezTo>
                <a:cubicBezTo>
                  <a:pt x="276" y="1097"/>
                  <a:pt x="276" y="1097"/>
                  <a:pt x="276" y="1097"/>
                </a:cubicBezTo>
                <a:cubicBezTo>
                  <a:pt x="57" y="878"/>
                  <a:pt x="57" y="878"/>
                  <a:pt x="57" y="878"/>
                </a:cubicBezTo>
                <a:cubicBezTo>
                  <a:pt x="0" y="821"/>
                  <a:pt x="0" y="729"/>
                  <a:pt x="57" y="673"/>
                </a:cubicBezTo>
                <a:cubicBezTo>
                  <a:pt x="687" y="43"/>
                  <a:pt x="687" y="43"/>
                  <a:pt x="687" y="43"/>
                </a:cubicBezTo>
                <a:cubicBezTo>
                  <a:pt x="716" y="14"/>
                  <a:pt x="753" y="0"/>
                  <a:pt x="790" y="0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rgbClr val="1D25AA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sz="1800"/>
          </a:p>
        </p:txBody>
      </p:sp>
      <p:sp>
        <p:nvSpPr>
          <p:cNvPr id="18" name="任意多边形: 形状 17"/>
          <p:cNvSpPr/>
          <p:nvPr userDrawn="1"/>
        </p:nvSpPr>
        <p:spPr>
          <a:xfrm>
            <a:off x="2" y="908471"/>
            <a:ext cx="6478607" cy="5949531"/>
          </a:xfrm>
          <a:custGeom>
            <a:avLst/>
            <a:gdLst>
              <a:gd name="connsiteX0" fmla="*/ 2834585 w 6478607"/>
              <a:gd name="connsiteY0" fmla="*/ 0 h 5949531"/>
              <a:gd name="connsiteX1" fmla="*/ 3317385 w 6478607"/>
              <a:gd name="connsiteY1" fmla="*/ 199498 h 5949531"/>
              <a:gd name="connsiteX2" fmla="*/ 6278892 w 6478607"/>
              <a:gd name="connsiteY2" fmla="*/ 3157794 h 5949531"/>
              <a:gd name="connsiteX3" fmla="*/ 6278892 w 6478607"/>
              <a:gd name="connsiteY3" fmla="*/ 4122348 h 5949531"/>
              <a:gd name="connsiteX4" fmla="*/ 4449726 w 6478607"/>
              <a:gd name="connsiteY4" fmla="*/ 5949531 h 5949531"/>
              <a:gd name="connsiteX5" fmla="*/ 1224421 w 6478607"/>
              <a:gd name="connsiteY5" fmla="*/ 5947045 h 5949531"/>
              <a:gd name="connsiteX6" fmla="*/ 0 w 6478607"/>
              <a:gd name="connsiteY6" fmla="*/ 4723951 h 5949531"/>
              <a:gd name="connsiteX7" fmla="*/ 0 w 6478607"/>
              <a:gd name="connsiteY7" fmla="*/ 2548733 h 5949531"/>
              <a:gd name="connsiteX8" fmla="*/ 2351785 w 6478607"/>
              <a:gd name="connsiteY8" fmla="*/ 199498 h 5949531"/>
              <a:gd name="connsiteX9" fmla="*/ 2834585 w 6478607"/>
              <a:gd name="connsiteY9" fmla="*/ 0 h 5949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478607" h="5949531">
                <a:moveTo>
                  <a:pt x="2834585" y="0"/>
                </a:moveTo>
                <a:cubicBezTo>
                  <a:pt x="3009414" y="0"/>
                  <a:pt x="3184242" y="66499"/>
                  <a:pt x="3317385" y="199498"/>
                </a:cubicBezTo>
                <a:cubicBezTo>
                  <a:pt x="6278892" y="3157794"/>
                  <a:pt x="6278892" y="3157794"/>
                  <a:pt x="6278892" y="3157794"/>
                </a:cubicBezTo>
                <a:cubicBezTo>
                  <a:pt x="6545179" y="3423793"/>
                  <a:pt x="6545179" y="3856350"/>
                  <a:pt x="6278892" y="4122348"/>
                </a:cubicBezTo>
                <a:lnTo>
                  <a:pt x="4449726" y="5949531"/>
                </a:lnTo>
                <a:cubicBezTo>
                  <a:pt x="1224421" y="5947045"/>
                  <a:pt x="1224421" y="5947045"/>
                  <a:pt x="1224421" y="5947045"/>
                </a:cubicBezTo>
                <a:cubicBezTo>
                  <a:pt x="0" y="4723951"/>
                  <a:pt x="0" y="4723951"/>
                  <a:pt x="0" y="4723951"/>
                </a:cubicBezTo>
                <a:cubicBezTo>
                  <a:pt x="0" y="2548733"/>
                  <a:pt x="0" y="2548733"/>
                  <a:pt x="0" y="2548733"/>
                </a:cubicBezTo>
                <a:cubicBezTo>
                  <a:pt x="2351785" y="199498"/>
                  <a:pt x="2351785" y="199498"/>
                  <a:pt x="2351785" y="199498"/>
                </a:cubicBezTo>
                <a:cubicBezTo>
                  <a:pt x="2484928" y="66499"/>
                  <a:pt x="2659757" y="0"/>
                  <a:pt x="2834585" y="0"/>
                </a:cubicBezTo>
                <a:close/>
              </a:path>
            </a:pathLst>
          </a:custGeom>
          <a:blipFill>
            <a:blip r:embed="rId3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tretch>
              <a:fillRect l="-18912" r="-1883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478608" y="5324803"/>
            <a:ext cx="5040291" cy="558799"/>
          </a:xfrm>
        </p:spPr>
        <p:txBody>
          <a:bodyPr vert="horz" lIns="91440" tIns="45720" rIns="91440" bIns="45720" rtlCol="0" anchor="t" anchorCtr="0">
            <a:normAutofit/>
          </a:bodyPr>
          <a:lstStyle>
            <a:lvl1pPr marL="0" indent="0" algn="r">
              <a:buNone/>
              <a:defRPr kumimoji="0" lang="en-US" sz="2000" i="0" u="none" strike="noStrike" cap="none" spc="300" normalizeH="0" baseline="0" dirty="0">
                <a:ln>
                  <a:noFill/>
                </a:ln>
                <a:solidFill>
                  <a:srgbClr val="768394"/>
                </a:solidFill>
                <a:effectLst/>
                <a:uLnTx/>
                <a:uFillTx/>
                <a:latin typeface="Arial" panose="020B0604020202090204"/>
                <a:ea typeface="微软雅黑"/>
              </a:defRPr>
            </a:lvl1pPr>
          </a:lstStyle>
          <a:p>
            <a:pPr marL="228600" marR="0" lvl="0" indent="-228600" algn="r" fontAlgn="auto">
              <a:spcAft>
                <a:spcPts val="0"/>
              </a:spcAft>
              <a:buClrTx/>
              <a:buSzTx/>
            </a:pPr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478608" y="2257668"/>
            <a:ext cx="5040291" cy="2938244"/>
          </a:xfrm>
        </p:spPr>
        <p:txBody>
          <a:bodyPr>
            <a:normAutofit/>
          </a:bodyPr>
          <a:lstStyle>
            <a:lvl1pPr marL="0" indent="0" algn="r">
              <a:buFont typeface="Arial" panose="020B0604020202090204" pitchFamily="34" charset="0"/>
              <a:buNone/>
              <a:defRPr lang="zh-CN" altLang="en-US" sz="6000" dirty="0">
                <a:solidFill>
                  <a:schemeClr val="accent1"/>
                </a:solidFill>
              </a:defRPr>
            </a:lvl1pPr>
          </a:lstStyle>
          <a:p>
            <a:pPr marL="0" lvl="0" algn="r" defTabSz="913765"/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9144000" y="1182716"/>
            <a:ext cx="2374899" cy="296271"/>
          </a:xfrm>
          <a:prstGeom prst="roundRect">
            <a:avLst/>
          </a:prstGeom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r">
              <a:buNone/>
              <a:defRPr kumimoji="0" lang="en-US" altLang="zh-CN" sz="1400" b="0" i="0" u="none" strike="noStrike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90204"/>
                <a:ea typeface="微软雅黑"/>
              </a:defRPr>
            </a:lvl1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144000" y="1610250"/>
            <a:ext cx="2374899" cy="296271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r">
              <a:buNone/>
              <a:defRPr kumimoji="0" lang="zh-CN" altLang="en-US" sz="1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微软雅黑"/>
              </a:defRPr>
            </a:lvl1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372022" y="205381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373138" y="294917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grpSp>
        <p:nvGrpSpPr>
          <p:cNvPr id="4" name="538e97c3-e9f5-4fc3-acd8-667a9a01b65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>
          <a:xfrm>
            <a:off x="41428" y="3327402"/>
            <a:ext cx="12148987" cy="3528893"/>
            <a:chOff x="3175" y="4413770"/>
            <a:chExt cx="12188825" cy="2744114"/>
          </a:xfrm>
          <a:solidFill>
            <a:schemeClr val="bg2"/>
          </a:solidFill>
        </p:grpSpPr>
        <p:sp>
          <p:nvSpPr>
            <p:cNvPr id="5" name="iSlíḓè"/>
            <p:cNvSpPr/>
            <p:nvPr/>
          </p:nvSpPr>
          <p:spPr bwMode="auto">
            <a:xfrm>
              <a:off x="10164502" y="5675395"/>
              <a:ext cx="2027498" cy="1482489"/>
            </a:xfrm>
            <a:custGeom>
              <a:avLst/>
              <a:gdLst>
                <a:gd name="T0" fmla="*/ 1230 w 1276"/>
                <a:gd name="T1" fmla="*/ 748 h 933"/>
                <a:gd name="T2" fmla="*/ 1221 w 1276"/>
                <a:gd name="T3" fmla="*/ 748 h 933"/>
                <a:gd name="T4" fmla="*/ 1206 w 1276"/>
                <a:gd name="T5" fmla="*/ 748 h 933"/>
                <a:gd name="T6" fmla="*/ 1211 w 1276"/>
                <a:gd name="T7" fmla="*/ 216 h 933"/>
                <a:gd name="T8" fmla="*/ 1218 w 1276"/>
                <a:gd name="T9" fmla="*/ 216 h 933"/>
                <a:gd name="T10" fmla="*/ 1221 w 1276"/>
                <a:gd name="T11" fmla="*/ 214 h 933"/>
                <a:gd name="T12" fmla="*/ 1218 w 1276"/>
                <a:gd name="T13" fmla="*/ 185 h 933"/>
                <a:gd name="T14" fmla="*/ 1206 w 1276"/>
                <a:gd name="T15" fmla="*/ 182 h 933"/>
                <a:gd name="T16" fmla="*/ 1192 w 1276"/>
                <a:gd name="T17" fmla="*/ 180 h 933"/>
                <a:gd name="T18" fmla="*/ 1182 w 1276"/>
                <a:gd name="T19" fmla="*/ 0 h 933"/>
                <a:gd name="T20" fmla="*/ 1172 w 1276"/>
                <a:gd name="T21" fmla="*/ 180 h 933"/>
                <a:gd name="T22" fmla="*/ 1158 w 1276"/>
                <a:gd name="T23" fmla="*/ 180 h 933"/>
                <a:gd name="T24" fmla="*/ 1143 w 1276"/>
                <a:gd name="T25" fmla="*/ 182 h 933"/>
                <a:gd name="T26" fmla="*/ 1141 w 1276"/>
                <a:gd name="T27" fmla="*/ 212 h 933"/>
                <a:gd name="T28" fmla="*/ 1143 w 1276"/>
                <a:gd name="T29" fmla="*/ 214 h 933"/>
                <a:gd name="T30" fmla="*/ 1151 w 1276"/>
                <a:gd name="T31" fmla="*/ 214 h 933"/>
                <a:gd name="T32" fmla="*/ 1071 w 1276"/>
                <a:gd name="T33" fmla="*/ 659 h 933"/>
                <a:gd name="T34" fmla="*/ 659 w 1276"/>
                <a:gd name="T35" fmla="*/ 496 h 933"/>
                <a:gd name="T36" fmla="*/ 666 w 1276"/>
                <a:gd name="T37" fmla="*/ 491 h 933"/>
                <a:gd name="T38" fmla="*/ 611 w 1276"/>
                <a:gd name="T39" fmla="*/ 430 h 933"/>
                <a:gd name="T40" fmla="*/ 620 w 1276"/>
                <a:gd name="T41" fmla="*/ 425 h 933"/>
                <a:gd name="T42" fmla="*/ 606 w 1276"/>
                <a:gd name="T43" fmla="*/ 420 h 933"/>
                <a:gd name="T44" fmla="*/ 608 w 1276"/>
                <a:gd name="T45" fmla="*/ 406 h 933"/>
                <a:gd name="T46" fmla="*/ 606 w 1276"/>
                <a:gd name="T47" fmla="*/ 389 h 933"/>
                <a:gd name="T48" fmla="*/ 594 w 1276"/>
                <a:gd name="T49" fmla="*/ 379 h 933"/>
                <a:gd name="T50" fmla="*/ 586 w 1276"/>
                <a:gd name="T51" fmla="*/ 377 h 933"/>
                <a:gd name="T52" fmla="*/ 569 w 1276"/>
                <a:gd name="T53" fmla="*/ 377 h 933"/>
                <a:gd name="T54" fmla="*/ 562 w 1276"/>
                <a:gd name="T55" fmla="*/ 379 h 933"/>
                <a:gd name="T56" fmla="*/ 552 w 1276"/>
                <a:gd name="T57" fmla="*/ 391 h 933"/>
                <a:gd name="T58" fmla="*/ 548 w 1276"/>
                <a:gd name="T59" fmla="*/ 399 h 933"/>
                <a:gd name="T60" fmla="*/ 548 w 1276"/>
                <a:gd name="T61" fmla="*/ 413 h 933"/>
                <a:gd name="T62" fmla="*/ 552 w 1276"/>
                <a:gd name="T63" fmla="*/ 423 h 933"/>
                <a:gd name="T64" fmla="*/ 538 w 1276"/>
                <a:gd name="T65" fmla="*/ 425 h 933"/>
                <a:gd name="T66" fmla="*/ 548 w 1276"/>
                <a:gd name="T67" fmla="*/ 430 h 933"/>
                <a:gd name="T68" fmla="*/ 519 w 1276"/>
                <a:gd name="T69" fmla="*/ 491 h 933"/>
                <a:gd name="T70" fmla="*/ 412 w 1276"/>
                <a:gd name="T71" fmla="*/ 491 h 933"/>
                <a:gd name="T72" fmla="*/ 402 w 1276"/>
                <a:gd name="T73" fmla="*/ 491 h 933"/>
                <a:gd name="T74" fmla="*/ 359 w 1276"/>
                <a:gd name="T75" fmla="*/ 464 h 933"/>
                <a:gd name="T76" fmla="*/ 366 w 1276"/>
                <a:gd name="T77" fmla="*/ 459 h 933"/>
                <a:gd name="T78" fmla="*/ 204 w 1276"/>
                <a:gd name="T79" fmla="*/ 447 h 933"/>
                <a:gd name="T80" fmla="*/ 194 w 1276"/>
                <a:gd name="T81" fmla="*/ 416 h 933"/>
                <a:gd name="T82" fmla="*/ 177 w 1276"/>
                <a:gd name="T83" fmla="*/ 391 h 933"/>
                <a:gd name="T84" fmla="*/ 155 w 1276"/>
                <a:gd name="T85" fmla="*/ 369 h 933"/>
                <a:gd name="T86" fmla="*/ 141 w 1276"/>
                <a:gd name="T87" fmla="*/ 360 h 933"/>
                <a:gd name="T88" fmla="*/ 114 w 1276"/>
                <a:gd name="T89" fmla="*/ 350 h 933"/>
                <a:gd name="T90" fmla="*/ 112 w 1276"/>
                <a:gd name="T91" fmla="*/ 348 h 933"/>
                <a:gd name="T92" fmla="*/ 97 w 1276"/>
                <a:gd name="T93" fmla="*/ 345 h 933"/>
                <a:gd name="T94" fmla="*/ 92 w 1276"/>
                <a:gd name="T95" fmla="*/ 345 h 933"/>
                <a:gd name="T96" fmla="*/ 88 w 1276"/>
                <a:gd name="T97" fmla="*/ 345 h 933"/>
                <a:gd name="T98" fmla="*/ 78 w 1276"/>
                <a:gd name="T99" fmla="*/ 263 h 933"/>
                <a:gd name="T100" fmla="*/ 73 w 1276"/>
                <a:gd name="T101" fmla="*/ 345 h 933"/>
                <a:gd name="T102" fmla="*/ 68 w 1276"/>
                <a:gd name="T103" fmla="*/ 345 h 933"/>
                <a:gd name="T104" fmla="*/ 51 w 1276"/>
                <a:gd name="T105" fmla="*/ 348 h 933"/>
                <a:gd name="T106" fmla="*/ 51 w 1276"/>
                <a:gd name="T107" fmla="*/ 348 h 933"/>
                <a:gd name="T108" fmla="*/ 37 w 1276"/>
                <a:gd name="T109" fmla="*/ 355 h 933"/>
                <a:gd name="T110" fmla="*/ 22 w 1276"/>
                <a:gd name="T111" fmla="*/ 360 h 933"/>
                <a:gd name="T112" fmla="*/ 0 w 1276"/>
                <a:gd name="T113" fmla="*/ 374 h 933"/>
                <a:gd name="T114" fmla="*/ 1276 w 1276"/>
                <a:gd name="T115" fmla="*/ 933 h 933"/>
                <a:gd name="T116" fmla="*/ 1233 w 1276"/>
                <a:gd name="T117" fmla="*/ 739 h 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76" h="933">
                  <a:moveTo>
                    <a:pt x="1233" y="746"/>
                  </a:moveTo>
                  <a:lnTo>
                    <a:pt x="1230" y="748"/>
                  </a:lnTo>
                  <a:lnTo>
                    <a:pt x="1228" y="748"/>
                  </a:lnTo>
                  <a:lnTo>
                    <a:pt x="1221" y="748"/>
                  </a:lnTo>
                  <a:lnTo>
                    <a:pt x="1216" y="748"/>
                  </a:lnTo>
                  <a:lnTo>
                    <a:pt x="1206" y="748"/>
                  </a:lnTo>
                  <a:lnTo>
                    <a:pt x="1206" y="741"/>
                  </a:lnTo>
                  <a:lnTo>
                    <a:pt x="1211" y="216"/>
                  </a:lnTo>
                  <a:lnTo>
                    <a:pt x="1213" y="216"/>
                  </a:lnTo>
                  <a:lnTo>
                    <a:pt x="1218" y="216"/>
                  </a:lnTo>
                  <a:lnTo>
                    <a:pt x="1221" y="214"/>
                  </a:lnTo>
                  <a:lnTo>
                    <a:pt x="1221" y="214"/>
                  </a:lnTo>
                  <a:lnTo>
                    <a:pt x="1221" y="185"/>
                  </a:lnTo>
                  <a:lnTo>
                    <a:pt x="1218" y="185"/>
                  </a:lnTo>
                  <a:lnTo>
                    <a:pt x="1213" y="182"/>
                  </a:lnTo>
                  <a:lnTo>
                    <a:pt x="1206" y="182"/>
                  </a:lnTo>
                  <a:lnTo>
                    <a:pt x="1197" y="180"/>
                  </a:lnTo>
                  <a:lnTo>
                    <a:pt x="1192" y="180"/>
                  </a:lnTo>
                  <a:lnTo>
                    <a:pt x="1192" y="93"/>
                  </a:lnTo>
                  <a:lnTo>
                    <a:pt x="1182" y="0"/>
                  </a:lnTo>
                  <a:lnTo>
                    <a:pt x="1175" y="90"/>
                  </a:lnTo>
                  <a:lnTo>
                    <a:pt x="1172" y="180"/>
                  </a:lnTo>
                  <a:lnTo>
                    <a:pt x="1165" y="180"/>
                  </a:lnTo>
                  <a:lnTo>
                    <a:pt x="1158" y="180"/>
                  </a:lnTo>
                  <a:lnTo>
                    <a:pt x="1151" y="180"/>
                  </a:lnTo>
                  <a:lnTo>
                    <a:pt x="1143" y="182"/>
                  </a:lnTo>
                  <a:lnTo>
                    <a:pt x="1141" y="182"/>
                  </a:lnTo>
                  <a:lnTo>
                    <a:pt x="1141" y="212"/>
                  </a:lnTo>
                  <a:lnTo>
                    <a:pt x="1141" y="212"/>
                  </a:lnTo>
                  <a:lnTo>
                    <a:pt x="1143" y="214"/>
                  </a:lnTo>
                  <a:lnTo>
                    <a:pt x="1148" y="214"/>
                  </a:lnTo>
                  <a:lnTo>
                    <a:pt x="1151" y="214"/>
                  </a:lnTo>
                  <a:lnTo>
                    <a:pt x="1146" y="714"/>
                  </a:lnTo>
                  <a:lnTo>
                    <a:pt x="1071" y="659"/>
                  </a:lnTo>
                  <a:lnTo>
                    <a:pt x="661" y="651"/>
                  </a:lnTo>
                  <a:lnTo>
                    <a:pt x="659" y="496"/>
                  </a:lnTo>
                  <a:lnTo>
                    <a:pt x="666" y="496"/>
                  </a:lnTo>
                  <a:lnTo>
                    <a:pt x="666" y="491"/>
                  </a:lnTo>
                  <a:lnTo>
                    <a:pt x="611" y="491"/>
                  </a:lnTo>
                  <a:lnTo>
                    <a:pt x="611" y="430"/>
                  </a:lnTo>
                  <a:lnTo>
                    <a:pt x="620" y="428"/>
                  </a:lnTo>
                  <a:lnTo>
                    <a:pt x="620" y="425"/>
                  </a:lnTo>
                  <a:lnTo>
                    <a:pt x="603" y="423"/>
                  </a:lnTo>
                  <a:lnTo>
                    <a:pt x="606" y="420"/>
                  </a:lnTo>
                  <a:lnTo>
                    <a:pt x="608" y="413"/>
                  </a:lnTo>
                  <a:lnTo>
                    <a:pt x="608" y="406"/>
                  </a:lnTo>
                  <a:lnTo>
                    <a:pt x="608" y="399"/>
                  </a:lnTo>
                  <a:lnTo>
                    <a:pt x="606" y="389"/>
                  </a:lnTo>
                  <a:lnTo>
                    <a:pt x="601" y="384"/>
                  </a:lnTo>
                  <a:lnTo>
                    <a:pt x="594" y="379"/>
                  </a:lnTo>
                  <a:lnTo>
                    <a:pt x="586" y="377"/>
                  </a:lnTo>
                  <a:lnTo>
                    <a:pt x="586" y="377"/>
                  </a:lnTo>
                  <a:lnTo>
                    <a:pt x="577" y="374"/>
                  </a:lnTo>
                  <a:lnTo>
                    <a:pt x="569" y="377"/>
                  </a:lnTo>
                  <a:lnTo>
                    <a:pt x="569" y="377"/>
                  </a:lnTo>
                  <a:lnTo>
                    <a:pt x="562" y="379"/>
                  </a:lnTo>
                  <a:lnTo>
                    <a:pt x="557" y="384"/>
                  </a:lnTo>
                  <a:lnTo>
                    <a:pt x="552" y="391"/>
                  </a:lnTo>
                  <a:lnTo>
                    <a:pt x="548" y="399"/>
                  </a:lnTo>
                  <a:lnTo>
                    <a:pt x="548" y="399"/>
                  </a:lnTo>
                  <a:lnTo>
                    <a:pt x="548" y="406"/>
                  </a:lnTo>
                  <a:lnTo>
                    <a:pt x="548" y="413"/>
                  </a:lnTo>
                  <a:lnTo>
                    <a:pt x="552" y="420"/>
                  </a:lnTo>
                  <a:lnTo>
                    <a:pt x="552" y="423"/>
                  </a:lnTo>
                  <a:lnTo>
                    <a:pt x="552" y="423"/>
                  </a:lnTo>
                  <a:lnTo>
                    <a:pt x="538" y="425"/>
                  </a:lnTo>
                  <a:lnTo>
                    <a:pt x="538" y="430"/>
                  </a:lnTo>
                  <a:lnTo>
                    <a:pt x="548" y="430"/>
                  </a:lnTo>
                  <a:lnTo>
                    <a:pt x="550" y="491"/>
                  </a:lnTo>
                  <a:lnTo>
                    <a:pt x="519" y="491"/>
                  </a:lnTo>
                  <a:lnTo>
                    <a:pt x="509" y="491"/>
                  </a:lnTo>
                  <a:lnTo>
                    <a:pt x="412" y="491"/>
                  </a:lnTo>
                  <a:lnTo>
                    <a:pt x="412" y="491"/>
                  </a:lnTo>
                  <a:lnTo>
                    <a:pt x="402" y="491"/>
                  </a:lnTo>
                  <a:lnTo>
                    <a:pt x="359" y="491"/>
                  </a:lnTo>
                  <a:lnTo>
                    <a:pt x="359" y="464"/>
                  </a:lnTo>
                  <a:lnTo>
                    <a:pt x="366" y="464"/>
                  </a:lnTo>
                  <a:lnTo>
                    <a:pt x="366" y="459"/>
                  </a:lnTo>
                  <a:lnTo>
                    <a:pt x="206" y="459"/>
                  </a:lnTo>
                  <a:lnTo>
                    <a:pt x="204" y="447"/>
                  </a:lnTo>
                  <a:lnTo>
                    <a:pt x="201" y="430"/>
                  </a:lnTo>
                  <a:lnTo>
                    <a:pt x="194" y="416"/>
                  </a:lnTo>
                  <a:lnTo>
                    <a:pt x="187" y="403"/>
                  </a:lnTo>
                  <a:lnTo>
                    <a:pt x="177" y="391"/>
                  </a:lnTo>
                  <a:lnTo>
                    <a:pt x="167" y="379"/>
                  </a:lnTo>
                  <a:lnTo>
                    <a:pt x="155" y="369"/>
                  </a:lnTo>
                  <a:lnTo>
                    <a:pt x="141" y="362"/>
                  </a:lnTo>
                  <a:lnTo>
                    <a:pt x="141" y="360"/>
                  </a:lnTo>
                  <a:lnTo>
                    <a:pt x="126" y="355"/>
                  </a:lnTo>
                  <a:lnTo>
                    <a:pt x="114" y="350"/>
                  </a:lnTo>
                  <a:lnTo>
                    <a:pt x="114" y="348"/>
                  </a:lnTo>
                  <a:lnTo>
                    <a:pt x="112" y="348"/>
                  </a:lnTo>
                  <a:lnTo>
                    <a:pt x="112" y="348"/>
                  </a:lnTo>
                  <a:lnTo>
                    <a:pt x="97" y="345"/>
                  </a:lnTo>
                  <a:lnTo>
                    <a:pt x="95" y="345"/>
                  </a:lnTo>
                  <a:lnTo>
                    <a:pt x="92" y="345"/>
                  </a:lnTo>
                  <a:lnTo>
                    <a:pt x="90" y="345"/>
                  </a:lnTo>
                  <a:lnTo>
                    <a:pt x="88" y="345"/>
                  </a:lnTo>
                  <a:lnTo>
                    <a:pt x="90" y="263"/>
                  </a:lnTo>
                  <a:lnTo>
                    <a:pt x="78" y="263"/>
                  </a:lnTo>
                  <a:lnTo>
                    <a:pt x="75" y="345"/>
                  </a:lnTo>
                  <a:lnTo>
                    <a:pt x="73" y="345"/>
                  </a:lnTo>
                  <a:lnTo>
                    <a:pt x="71" y="345"/>
                  </a:lnTo>
                  <a:lnTo>
                    <a:pt x="68" y="345"/>
                  </a:lnTo>
                  <a:lnTo>
                    <a:pt x="54" y="348"/>
                  </a:lnTo>
                  <a:lnTo>
                    <a:pt x="51" y="348"/>
                  </a:lnTo>
                  <a:lnTo>
                    <a:pt x="51" y="348"/>
                  </a:lnTo>
                  <a:lnTo>
                    <a:pt x="51" y="348"/>
                  </a:lnTo>
                  <a:lnTo>
                    <a:pt x="51" y="350"/>
                  </a:lnTo>
                  <a:lnTo>
                    <a:pt x="37" y="355"/>
                  </a:lnTo>
                  <a:lnTo>
                    <a:pt x="22" y="360"/>
                  </a:lnTo>
                  <a:lnTo>
                    <a:pt x="22" y="360"/>
                  </a:lnTo>
                  <a:lnTo>
                    <a:pt x="8" y="369"/>
                  </a:lnTo>
                  <a:lnTo>
                    <a:pt x="0" y="374"/>
                  </a:lnTo>
                  <a:lnTo>
                    <a:pt x="0" y="933"/>
                  </a:lnTo>
                  <a:lnTo>
                    <a:pt x="1276" y="933"/>
                  </a:lnTo>
                  <a:lnTo>
                    <a:pt x="1276" y="739"/>
                  </a:lnTo>
                  <a:lnTo>
                    <a:pt x="1233" y="739"/>
                  </a:lnTo>
                  <a:lnTo>
                    <a:pt x="1233" y="7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" name="íṩľîḑê"/>
            <p:cNvSpPr/>
            <p:nvPr/>
          </p:nvSpPr>
          <p:spPr bwMode="auto">
            <a:xfrm>
              <a:off x="8129058" y="4653701"/>
              <a:ext cx="2035444" cy="2504183"/>
            </a:xfrm>
            <a:custGeom>
              <a:avLst/>
              <a:gdLst>
                <a:gd name="T0" fmla="*/ 1247 w 1281"/>
                <a:gd name="T1" fmla="*/ 1059 h 1576"/>
                <a:gd name="T2" fmla="*/ 1063 w 1281"/>
                <a:gd name="T3" fmla="*/ 1107 h 1576"/>
                <a:gd name="T4" fmla="*/ 1010 w 1281"/>
                <a:gd name="T5" fmla="*/ 634 h 1576"/>
                <a:gd name="T6" fmla="*/ 879 w 1281"/>
                <a:gd name="T7" fmla="*/ 801 h 1576"/>
                <a:gd name="T8" fmla="*/ 831 w 1281"/>
                <a:gd name="T9" fmla="*/ 306 h 1576"/>
                <a:gd name="T10" fmla="*/ 882 w 1281"/>
                <a:gd name="T11" fmla="*/ 296 h 1576"/>
                <a:gd name="T12" fmla="*/ 882 w 1281"/>
                <a:gd name="T13" fmla="*/ 264 h 1576"/>
                <a:gd name="T14" fmla="*/ 884 w 1281"/>
                <a:gd name="T15" fmla="*/ 245 h 1576"/>
                <a:gd name="T16" fmla="*/ 879 w 1281"/>
                <a:gd name="T17" fmla="*/ 89 h 1576"/>
                <a:gd name="T18" fmla="*/ 877 w 1281"/>
                <a:gd name="T19" fmla="*/ 143 h 1576"/>
                <a:gd name="T20" fmla="*/ 795 w 1281"/>
                <a:gd name="T21" fmla="*/ 111 h 1576"/>
                <a:gd name="T22" fmla="*/ 790 w 1281"/>
                <a:gd name="T23" fmla="*/ 145 h 1576"/>
                <a:gd name="T24" fmla="*/ 710 w 1281"/>
                <a:gd name="T25" fmla="*/ 114 h 1576"/>
                <a:gd name="T26" fmla="*/ 703 w 1281"/>
                <a:gd name="T27" fmla="*/ 89 h 1576"/>
                <a:gd name="T28" fmla="*/ 623 w 1281"/>
                <a:gd name="T29" fmla="*/ 153 h 1576"/>
                <a:gd name="T30" fmla="*/ 615 w 1281"/>
                <a:gd name="T31" fmla="*/ 153 h 1576"/>
                <a:gd name="T32" fmla="*/ 615 w 1281"/>
                <a:gd name="T33" fmla="*/ 89 h 1576"/>
                <a:gd name="T34" fmla="*/ 536 w 1281"/>
                <a:gd name="T35" fmla="*/ 153 h 1576"/>
                <a:gd name="T36" fmla="*/ 528 w 1281"/>
                <a:gd name="T37" fmla="*/ 153 h 1576"/>
                <a:gd name="T38" fmla="*/ 526 w 1281"/>
                <a:gd name="T39" fmla="*/ 0 h 1576"/>
                <a:gd name="T40" fmla="*/ 521 w 1281"/>
                <a:gd name="T41" fmla="*/ 145 h 1576"/>
                <a:gd name="T42" fmla="*/ 499 w 1281"/>
                <a:gd name="T43" fmla="*/ 189 h 1576"/>
                <a:gd name="T44" fmla="*/ 468 w 1281"/>
                <a:gd name="T45" fmla="*/ 191 h 1576"/>
                <a:gd name="T46" fmla="*/ 448 w 1281"/>
                <a:gd name="T47" fmla="*/ 191 h 1576"/>
                <a:gd name="T48" fmla="*/ 429 w 1281"/>
                <a:gd name="T49" fmla="*/ 194 h 1576"/>
                <a:gd name="T50" fmla="*/ 412 w 1281"/>
                <a:gd name="T51" fmla="*/ 196 h 1576"/>
                <a:gd name="T52" fmla="*/ 395 w 1281"/>
                <a:gd name="T53" fmla="*/ 199 h 1576"/>
                <a:gd name="T54" fmla="*/ 366 w 1281"/>
                <a:gd name="T55" fmla="*/ 206 h 1576"/>
                <a:gd name="T56" fmla="*/ 354 w 1281"/>
                <a:gd name="T57" fmla="*/ 208 h 1576"/>
                <a:gd name="T58" fmla="*/ 347 w 1281"/>
                <a:gd name="T59" fmla="*/ 213 h 1576"/>
                <a:gd name="T60" fmla="*/ 342 w 1281"/>
                <a:gd name="T61" fmla="*/ 216 h 1576"/>
                <a:gd name="T62" fmla="*/ 342 w 1281"/>
                <a:gd name="T63" fmla="*/ 216 h 1576"/>
                <a:gd name="T64" fmla="*/ 337 w 1281"/>
                <a:gd name="T65" fmla="*/ 221 h 1576"/>
                <a:gd name="T66" fmla="*/ 339 w 1281"/>
                <a:gd name="T67" fmla="*/ 228 h 1576"/>
                <a:gd name="T68" fmla="*/ 337 w 1281"/>
                <a:gd name="T69" fmla="*/ 223 h 1576"/>
                <a:gd name="T70" fmla="*/ 337 w 1281"/>
                <a:gd name="T71" fmla="*/ 228 h 1576"/>
                <a:gd name="T72" fmla="*/ 339 w 1281"/>
                <a:gd name="T73" fmla="*/ 230 h 1576"/>
                <a:gd name="T74" fmla="*/ 342 w 1281"/>
                <a:gd name="T75" fmla="*/ 233 h 1576"/>
                <a:gd name="T76" fmla="*/ 344 w 1281"/>
                <a:gd name="T77" fmla="*/ 238 h 1576"/>
                <a:gd name="T78" fmla="*/ 352 w 1281"/>
                <a:gd name="T79" fmla="*/ 240 h 1576"/>
                <a:gd name="T80" fmla="*/ 359 w 1281"/>
                <a:gd name="T81" fmla="*/ 242 h 1576"/>
                <a:gd name="T82" fmla="*/ 368 w 1281"/>
                <a:gd name="T83" fmla="*/ 245 h 1576"/>
                <a:gd name="T84" fmla="*/ 378 w 1281"/>
                <a:gd name="T85" fmla="*/ 247 h 1576"/>
                <a:gd name="T86" fmla="*/ 390 w 1281"/>
                <a:gd name="T87" fmla="*/ 250 h 1576"/>
                <a:gd name="T88" fmla="*/ 400 w 1281"/>
                <a:gd name="T89" fmla="*/ 252 h 1576"/>
                <a:gd name="T90" fmla="*/ 402 w 1281"/>
                <a:gd name="T91" fmla="*/ 310 h 1576"/>
                <a:gd name="T92" fmla="*/ 402 w 1281"/>
                <a:gd name="T93" fmla="*/ 371 h 1576"/>
                <a:gd name="T94" fmla="*/ 402 w 1281"/>
                <a:gd name="T95" fmla="*/ 400 h 1576"/>
                <a:gd name="T96" fmla="*/ 400 w 1281"/>
                <a:gd name="T97" fmla="*/ 1260 h 1576"/>
                <a:gd name="T98" fmla="*/ 90 w 1281"/>
                <a:gd name="T99" fmla="*/ 383 h 1576"/>
                <a:gd name="T100" fmla="*/ 10 w 1281"/>
                <a:gd name="T101" fmla="*/ 1224 h 1576"/>
                <a:gd name="T102" fmla="*/ 1281 w 1281"/>
                <a:gd name="T103" fmla="*/ 1576 h 1576"/>
                <a:gd name="T104" fmla="*/ 352 w 1281"/>
                <a:gd name="T105" fmla="*/ 228 h 1576"/>
                <a:gd name="T106" fmla="*/ 342 w 1281"/>
                <a:gd name="T107" fmla="*/ 225 h 1576"/>
                <a:gd name="T108" fmla="*/ 342 w 1281"/>
                <a:gd name="T109" fmla="*/ 228 h 1576"/>
                <a:gd name="T110" fmla="*/ 410 w 1281"/>
                <a:gd name="T111" fmla="*/ 199 h 1576"/>
                <a:gd name="T112" fmla="*/ 412 w 1281"/>
                <a:gd name="T113" fmla="*/ 206 h 1576"/>
                <a:gd name="T114" fmla="*/ 419 w 1281"/>
                <a:gd name="T115" fmla="*/ 211 h 1576"/>
                <a:gd name="T116" fmla="*/ 427 w 1281"/>
                <a:gd name="T117" fmla="*/ 196 h 1576"/>
                <a:gd name="T118" fmla="*/ 429 w 1281"/>
                <a:gd name="T119" fmla="*/ 204 h 1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81" h="1576">
                  <a:moveTo>
                    <a:pt x="1281" y="1017"/>
                  </a:moveTo>
                  <a:lnTo>
                    <a:pt x="1277" y="1022"/>
                  </a:lnTo>
                  <a:lnTo>
                    <a:pt x="1264" y="1032"/>
                  </a:lnTo>
                  <a:lnTo>
                    <a:pt x="1255" y="1044"/>
                  </a:lnTo>
                  <a:lnTo>
                    <a:pt x="1247" y="1059"/>
                  </a:lnTo>
                  <a:lnTo>
                    <a:pt x="1240" y="1073"/>
                  </a:lnTo>
                  <a:lnTo>
                    <a:pt x="1235" y="1090"/>
                  </a:lnTo>
                  <a:lnTo>
                    <a:pt x="1235" y="1102"/>
                  </a:lnTo>
                  <a:lnTo>
                    <a:pt x="1063" y="1102"/>
                  </a:lnTo>
                  <a:lnTo>
                    <a:pt x="1063" y="1107"/>
                  </a:lnTo>
                  <a:lnTo>
                    <a:pt x="1071" y="1107"/>
                  </a:lnTo>
                  <a:lnTo>
                    <a:pt x="1071" y="1134"/>
                  </a:lnTo>
                  <a:lnTo>
                    <a:pt x="1051" y="1134"/>
                  </a:lnTo>
                  <a:lnTo>
                    <a:pt x="1051" y="634"/>
                  </a:lnTo>
                  <a:lnTo>
                    <a:pt x="1010" y="634"/>
                  </a:lnTo>
                  <a:lnTo>
                    <a:pt x="1010" y="602"/>
                  </a:lnTo>
                  <a:lnTo>
                    <a:pt x="925" y="602"/>
                  </a:lnTo>
                  <a:lnTo>
                    <a:pt x="925" y="634"/>
                  </a:lnTo>
                  <a:lnTo>
                    <a:pt x="879" y="634"/>
                  </a:lnTo>
                  <a:lnTo>
                    <a:pt x="879" y="801"/>
                  </a:lnTo>
                  <a:lnTo>
                    <a:pt x="848" y="801"/>
                  </a:lnTo>
                  <a:lnTo>
                    <a:pt x="848" y="825"/>
                  </a:lnTo>
                  <a:lnTo>
                    <a:pt x="831" y="825"/>
                  </a:lnTo>
                  <a:lnTo>
                    <a:pt x="831" y="495"/>
                  </a:lnTo>
                  <a:lnTo>
                    <a:pt x="831" y="306"/>
                  </a:lnTo>
                  <a:lnTo>
                    <a:pt x="872" y="306"/>
                  </a:lnTo>
                  <a:lnTo>
                    <a:pt x="872" y="306"/>
                  </a:lnTo>
                  <a:lnTo>
                    <a:pt x="872" y="306"/>
                  </a:lnTo>
                  <a:lnTo>
                    <a:pt x="882" y="306"/>
                  </a:lnTo>
                  <a:lnTo>
                    <a:pt x="882" y="296"/>
                  </a:lnTo>
                  <a:lnTo>
                    <a:pt x="884" y="296"/>
                  </a:lnTo>
                  <a:lnTo>
                    <a:pt x="887" y="289"/>
                  </a:lnTo>
                  <a:lnTo>
                    <a:pt x="887" y="281"/>
                  </a:lnTo>
                  <a:lnTo>
                    <a:pt x="882" y="281"/>
                  </a:lnTo>
                  <a:lnTo>
                    <a:pt x="882" y="264"/>
                  </a:lnTo>
                  <a:lnTo>
                    <a:pt x="884" y="264"/>
                  </a:lnTo>
                  <a:lnTo>
                    <a:pt x="884" y="262"/>
                  </a:lnTo>
                  <a:lnTo>
                    <a:pt x="884" y="247"/>
                  </a:lnTo>
                  <a:lnTo>
                    <a:pt x="884" y="247"/>
                  </a:lnTo>
                  <a:lnTo>
                    <a:pt x="884" y="245"/>
                  </a:lnTo>
                  <a:lnTo>
                    <a:pt x="884" y="143"/>
                  </a:lnTo>
                  <a:lnTo>
                    <a:pt x="882" y="143"/>
                  </a:lnTo>
                  <a:lnTo>
                    <a:pt x="882" y="89"/>
                  </a:lnTo>
                  <a:lnTo>
                    <a:pt x="879" y="89"/>
                  </a:lnTo>
                  <a:lnTo>
                    <a:pt x="879" y="89"/>
                  </a:lnTo>
                  <a:lnTo>
                    <a:pt x="879" y="111"/>
                  </a:lnTo>
                  <a:lnTo>
                    <a:pt x="877" y="111"/>
                  </a:lnTo>
                  <a:lnTo>
                    <a:pt x="877" y="111"/>
                  </a:lnTo>
                  <a:lnTo>
                    <a:pt x="877" y="143"/>
                  </a:lnTo>
                  <a:lnTo>
                    <a:pt x="877" y="143"/>
                  </a:lnTo>
                  <a:lnTo>
                    <a:pt x="877" y="145"/>
                  </a:lnTo>
                  <a:lnTo>
                    <a:pt x="877" y="150"/>
                  </a:lnTo>
                  <a:lnTo>
                    <a:pt x="795" y="150"/>
                  </a:lnTo>
                  <a:lnTo>
                    <a:pt x="795" y="114"/>
                  </a:lnTo>
                  <a:lnTo>
                    <a:pt x="795" y="111"/>
                  </a:lnTo>
                  <a:lnTo>
                    <a:pt x="792" y="111"/>
                  </a:lnTo>
                  <a:lnTo>
                    <a:pt x="792" y="89"/>
                  </a:lnTo>
                  <a:lnTo>
                    <a:pt x="792" y="89"/>
                  </a:lnTo>
                  <a:lnTo>
                    <a:pt x="790" y="89"/>
                  </a:lnTo>
                  <a:lnTo>
                    <a:pt x="790" y="145"/>
                  </a:lnTo>
                  <a:lnTo>
                    <a:pt x="787" y="145"/>
                  </a:lnTo>
                  <a:lnTo>
                    <a:pt x="787" y="150"/>
                  </a:lnTo>
                  <a:lnTo>
                    <a:pt x="710" y="150"/>
                  </a:lnTo>
                  <a:lnTo>
                    <a:pt x="710" y="114"/>
                  </a:lnTo>
                  <a:lnTo>
                    <a:pt x="710" y="114"/>
                  </a:lnTo>
                  <a:lnTo>
                    <a:pt x="705" y="114"/>
                  </a:lnTo>
                  <a:lnTo>
                    <a:pt x="705" y="145"/>
                  </a:lnTo>
                  <a:lnTo>
                    <a:pt x="705" y="145"/>
                  </a:lnTo>
                  <a:lnTo>
                    <a:pt x="705" y="89"/>
                  </a:lnTo>
                  <a:lnTo>
                    <a:pt x="703" y="89"/>
                  </a:lnTo>
                  <a:lnTo>
                    <a:pt x="700" y="89"/>
                  </a:lnTo>
                  <a:lnTo>
                    <a:pt x="700" y="145"/>
                  </a:lnTo>
                  <a:lnTo>
                    <a:pt x="698" y="145"/>
                  </a:lnTo>
                  <a:lnTo>
                    <a:pt x="698" y="150"/>
                  </a:lnTo>
                  <a:lnTo>
                    <a:pt x="623" y="153"/>
                  </a:lnTo>
                  <a:lnTo>
                    <a:pt x="623" y="114"/>
                  </a:lnTo>
                  <a:lnTo>
                    <a:pt x="623" y="114"/>
                  </a:lnTo>
                  <a:lnTo>
                    <a:pt x="618" y="114"/>
                  </a:lnTo>
                  <a:lnTo>
                    <a:pt x="618" y="153"/>
                  </a:lnTo>
                  <a:lnTo>
                    <a:pt x="615" y="153"/>
                  </a:lnTo>
                  <a:lnTo>
                    <a:pt x="615" y="148"/>
                  </a:lnTo>
                  <a:lnTo>
                    <a:pt x="615" y="145"/>
                  </a:lnTo>
                  <a:lnTo>
                    <a:pt x="615" y="145"/>
                  </a:lnTo>
                  <a:lnTo>
                    <a:pt x="615" y="92"/>
                  </a:lnTo>
                  <a:lnTo>
                    <a:pt x="615" y="89"/>
                  </a:lnTo>
                  <a:lnTo>
                    <a:pt x="611" y="89"/>
                  </a:lnTo>
                  <a:lnTo>
                    <a:pt x="611" y="145"/>
                  </a:lnTo>
                  <a:lnTo>
                    <a:pt x="608" y="145"/>
                  </a:lnTo>
                  <a:lnTo>
                    <a:pt x="608" y="153"/>
                  </a:lnTo>
                  <a:lnTo>
                    <a:pt x="536" y="153"/>
                  </a:lnTo>
                  <a:lnTo>
                    <a:pt x="536" y="114"/>
                  </a:lnTo>
                  <a:lnTo>
                    <a:pt x="536" y="114"/>
                  </a:lnTo>
                  <a:lnTo>
                    <a:pt x="533" y="114"/>
                  </a:lnTo>
                  <a:lnTo>
                    <a:pt x="533" y="153"/>
                  </a:lnTo>
                  <a:lnTo>
                    <a:pt x="528" y="153"/>
                  </a:lnTo>
                  <a:lnTo>
                    <a:pt x="528" y="148"/>
                  </a:lnTo>
                  <a:lnTo>
                    <a:pt x="526" y="145"/>
                  </a:lnTo>
                  <a:lnTo>
                    <a:pt x="526" y="145"/>
                  </a:lnTo>
                  <a:lnTo>
                    <a:pt x="526" y="2"/>
                  </a:lnTo>
                  <a:lnTo>
                    <a:pt x="526" y="0"/>
                  </a:lnTo>
                  <a:lnTo>
                    <a:pt x="521" y="0"/>
                  </a:lnTo>
                  <a:lnTo>
                    <a:pt x="521" y="92"/>
                  </a:lnTo>
                  <a:lnTo>
                    <a:pt x="521" y="92"/>
                  </a:lnTo>
                  <a:lnTo>
                    <a:pt x="521" y="145"/>
                  </a:lnTo>
                  <a:lnTo>
                    <a:pt x="521" y="145"/>
                  </a:lnTo>
                  <a:lnTo>
                    <a:pt x="521" y="187"/>
                  </a:lnTo>
                  <a:lnTo>
                    <a:pt x="511" y="189"/>
                  </a:lnTo>
                  <a:lnTo>
                    <a:pt x="511" y="189"/>
                  </a:lnTo>
                  <a:lnTo>
                    <a:pt x="509" y="189"/>
                  </a:lnTo>
                  <a:lnTo>
                    <a:pt x="499" y="189"/>
                  </a:lnTo>
                  <a:lnTo>
                    <a:pt x="490" y="189"/>
                  </a:lnTo>
                  <a:lnTo>
                    <a:pt x="490" y="189"/>
                  </a:lnTo>
                  <a:lnTo>
                    <a:pt x="487" y="189"/>
                  </a:lnTo>
                  <a:lnTo>
                    <a:pt x="477" y="189"/>
                  </a:lnTo>
                  <a:lnTo>
                    <a:pt x="468" y="191"/>
                  </a:lnTo>
                  <a:lnTo>
                    <a:pt x="468" y="191"/>
                  </a:lnTo>
                  <a:lnTo>
                    <a:pt x="465" y="191"/>
                  </a:lnTo>
                  <a:lnTo>
                    <a:pt x="465" y="191"/>
                  </a:lnTo>
                  <a:lnTo>
                    <a:pt x="456" y="191"/>
                  </a:lnTo>
                  <a:lnTo>
                    <a:pt x="448" y="191"/>
                  </a:lnTo>
                  <a:lnTo>
                    <a:pt x="448" y="191"/>
                  </a:lnTo>
                  <a:lnTo>
                    <a:pt x="446" y="191"/>
                  </a:lnTo>
                  <a:lnTo>
                    <a:pt x="439" y="194"/>
                  </a:lnTo>
                  <a:lnTo>
                    <a:pt x="429" y="194"/>
                  </a:lnTo>
                  <a:lnTo>
                    <a:pt x="429" y="194"/>
                  </a:lnTo>
                  <a:lnTo>
                    <a:pt x="429" y="194"/>
                  </a:lnTo>
                  <a:lnTo>
                    <a:pt x="419" y="196"/>
                  </a:lnTo>
                  <a:lnTo>
                    <a:pt x="412" y="196"/>
                  </a:lnTo>
                  <a:lnTo>
                    <a:pt x="412" y="196"/>
                  </a:lnTo>
                  <a:lnTo>
                    <a:pt x="412" y="196"/>
                  </a:lnTo>
                  <a:lnTo>
                    <a:pt x="412" y="196"/>
                  </a:lnTo>
                  <a:lnTo>
                    <a:pt x="412" y="196"/>
                  </a:lnTo>
                  <a:lnTo>
                    <a:pt x="405" y="199"/>
                  </a:lnTo>
                  <a:lnTo>
                    <a:pt x="398" y="199"/>
                  </a:lnTo>
                  <a:lnTo>
                    <a:pt x="395" y="199"/>
                  </a:lnTo>
                  <a:lnTo>
                    <a:pt x="390" y="201"/>
                  </a:lnTo>
                  <a:lnTo>
                    <a:pt x="383" y="201"/>
                  </a:lnTo>
                  <a:lnTo>
                    <a:pt x="383" y="201"/>
                  </a:lnTo>
                  <a:lnTo>
                    <a:pt x="376" y="204"/>
                  </a:lnTo>
                  <a:lnTo>
                    <a:pt x="366" y="206"/>
                  </a:lnTo>
                  <a:lnTo>
                    <a:pt x="356" y="208"/>
                  </a:lnTo>
                  <a:lnTo>
                    <a:pt x="354" y="208"/>
                  </a:lnTo>
                  <a:lnTo>
                    <a:pt x="354" y="208"/>
                  </a:lnTo>
                  <a:lnTo>
                    <a:pt x="354" y="208"/>
                  </a:lnTo>
                  <a:lnTo>
                    <a:pt x="354" y="208"/>
                  </a:lnTo>
                  <a:lnTo>
                    <a:pt x="354" y="208"/>
                  </a:lnTo>
                  <a:lnTo>
                    <a:pt x="349" y="211"/>
                  </a:lnTo>
                  <a:lnTo>
                    <a:pt x="349" y="211"/>
                  </a:lnTo>
                  <a:lnTo>
                    <a:pt x="347" y="213"/>
                  </a:lnTo>
                  <a:lnTo>
                    <a:pt x="347" y="213"/>
                  </a:lnTo>
                  <a:lnTo>
                    <a:pt x="347" y="213"/>
                  </a:lnTo>
                  <a:lnTo>
                    <a:pt x="344" y="213"/>
                  </a:lnTo>
                  <a:lnTo>
                    <a:pt x="342" y="216"/>
                  </a:lnTo>
                  <a:lnTo>
                    <a:pt x="342" y="216"/>
                  </a:lnTo>
                  <a:lnTo>
                    <a:pt x="342" y="216"/>
                  </a:lnTo>
                  <a:lnTo>
                    <a:pt x="339" y="218"/>
                  </a:lnTo>
                  <a:lnTo>
                    <a:pt x="339" y="218"/>
                  </a:lnTo>
                  <a:lnTo>
                    <a:pt x="339" y="218"/>
                  </a:lnTo>
                  <a:lnTo>
                    <a:pt x="342" y="216"/>
                  </a:lnTo>
                  <a:lnTo>
                    <a:pt x="342" y="216"/>
                  </a:lnTo>
                  <a:lnTo>
                    <a:pt x="342" y="216"/>
                  </a:lnTo>
                  <a:lnTo>
                    <a:pt x="339" y="218"/>
                  </a:lnTo>
                  <a:lnTo>
                    <a:pt x="339" y="218"/>
                  </a:lnTo>
                  <a:lnTo>
                    <a:pt x="337" y="221"/>
                  </a:lnTo>
                  <a:lnTo>
                    <a:pt x="337" y="221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7" y="225"/>
                  </a:lnTo>
                  <a:lnTo>
                    <a:pt x="337" y="225"/>
                  </a:lnTo>
                  <a:lnTo>
                    <a:pt x="339" y="228"/>
                  </a:lnTo>
                  <a:lnTo>
                    <a:pt x="337" y="225"/>
                  </a:lnTo>
                  <a:lnTo>
                    <a:pt x="337" y="225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7" y="225"/>
                  </a:lnTo>
                  <a:lnTo>
                    <a:pt x="337" y="225"/>
                  </a:lnTo>
                  <a:lnTo>
                    <a:pt x="337" y="228"/>
                  </a:lnTo>
                  <a:lnTo>
                    <a:pt x="337" y="228"/>
                  </a:lnTo>
                  <a:lnTo>
                    <a:pt x="337" y="228"/>
                  </a:lnTo>
                  <a:lnTo>
                    <a:pt x="337" y="228"/>
                  </a:lnTo>
                  <a:lnTo>
                    <a:pt x="337" y="230"/>
                  </a:lnTo>
                  <a:lnTo>
                    <a:pt x="339" y="230"/>
                  </a:lnTo>
                  <a:lnTo>
                    <a:pt x="339" y="233"/>
                  </a:lnTo>
                  <a:lnTo>
                    <a:pt x="339" y="233"/>
                  </a:lnTo>
                  <a:lnTo>
                    <a:pt x="339" y="233"/>
                  </a:lnTo>
                  <a:lnTo>
                    <a:pt x="339" y="233"/>
                  </a:lnTo>
                  <a:lnTo>
                    <a:pt x="342" y="233"/>
                  </a:lnTo>
                  <a:lnTo>
                    <a:pt x="342" y="235"/>
                  </a:lnTo>
                  <a:lnTo>
                    <a:pt x="342" y="235"/>
                  </a:lnTo>
                  <a:lnTo>
                    <a:pt x="344" y="238"/>
                  </a:lnTo>
                  <a:lnTo>
                    <a:pt x="344" y="238"/>
                  </a:lnTo>
                  <a:lnTo>
                    <a:pt x="344" y="238"/>
                  </a:lnTo>
                  <a:lnTo>
                    <a:pt x="347" y="238"/>
                  </a:lnTo>
                  <a:lnTo>
                    <a:pt x="347" y="238"/>
                  </a:lnTo>
                  <a:lnTo>
                    <a:pt x="349" y="238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6" y="242"/>
                  </a:lnTo>
                  <a:lnTo>
                    <a:pt x="359" y="242"/>
                  </a:lnTo>
                  <a:lnTo>
                    <a:pt x="359" y="242"/>
                  </a:lnTo>
                  <a:lnTo>
                    <a:pt x="359" y="242"/>
                  </a:lnTo>
                  <a:lnTo>
                    <a:pt x="359" y="242"/>
                  </a:lnTo>
                  <a:lnTo>
                    <a:pt x="364" y="245"/>
                  </a:lnTo>
                  <a:lnTo>
                    <a:pt x="368" y="245"/>
                  </a:lnTo>
                  <a:lnTo>
                    <a:pt x="368" y="245"/>
                  </a:lnTo>
                  <a:lnTo>
                    <a:pt x="368" y="245"/>
                  </a:lnTo>
                  <a:lnTo>
                    <a:pt x="368" y="245"/>
                  </a:lnTo>
                  <a:lnTo>
                    <a:pt x="373" y="247"/>
                  </a:lnTo>
                  <a:lnTo>
                    <a:pt x="378" y="247"/>
                  </a:lnTo>
                  <a:lnTo>
                    <a:pt x="378" y="247"/>
                  </a:lnTo>
                  <a:lnTo>
                    <a:pt x="381" y="247"/>
                  </a:lnTo>
                  <a:lnTo>
                    <a:pt x="381" y="247"/>
                  </a:lnTo>
                  <a:lnTo>
                    <a:pt x="385" y="250"/>
                  </a:lnTo>
                  <a:lnTo>
                    <a:pt x="390" y="250"/>
                  </a:lnTo>
                  <a:lnTo>
                    <a:pt x="390" y="250"/>
                  </a:lnTo>
                  <a:lnTo>
                    <a:pt x="393" y="250"/>
                  </a:lnTo>
                  <a:lnTo>
                    <a:pt x="393" y="250"/>
                  </a:lnTo>
                  <a:lnTo>
                    <a:pt x="398" y="252"/>
                  </a:lnTo>
                  <a:lnTo>
                    <a:pt x="400" y="252"/>
                  </a:lnTo>
                  <a:lnTo>
                    <a:pt x="460" y="262"/>
                  </a:lnTo>
                  <a:lnTo>
                    <a:pt x="460" y="301"/>
                  </a:lnTo>
                  <a:lnTo>
                    <a:pt x="436" y="303"/>
                  </a:lnTo>
                  <a:lnTo>
                    <a:pt x="417" y="308"/>
                  </a:lnTo>
                  <a:lnTo>
                    <a:pt x="402" y="310"/>
                  </a:lnTo>
                  <a:lnTo>
                    <a:pt x="398" y="315"/>
                  </a:lnTo>
                  <a:lnTo>
                    <a:pt x="398" y="337"/>
                  </a:lnTo>
                  <a:lnTo>
                    <a:pt x="402" y="342"/>
                  </a:lnTo>
                  <a:lnTo>
                    <a:pt x="402" y="342"/>
                  </a:lnTo>
                  <a:lnTo>
                    <a:pt x="402" y="371"/>
                  </a:lnTo>
                  <a:lnTo>
                    <a:pt x="398" y="374"/>
                  </a:lnTo>
                  <a:lnTo>
                    <a:pt x="398" y="376"/>
                  </a:lnTo>
                  <a:lnTo>
                    <a:pt x="402" y="381"/>
                  </a:lnTo>
                  <a:lnTo>
                    <a:pt x="402" y="381"/>
                  </a:lnTo>
                  <a:lnTo>
                    <a:pt x="402" y="400"/>
                  </a:lnTo>
                  <a:lnTo>
                    <a:pt x="398" y="403"/>
                  </a:lnTo>
                  <a:lnTo>
                    <a:pt x="398" y="412"/>
                  </a:lnTo>
                  <a:lnTo>
                    <a:pt x="402" y="417"/>
                  </a:lnTo>
                  <a:lnTo>
                    <a:pt x="402" y="417"/>
                  </a:lnTo>
                  <a:lnTo>
                    <a:pt x="400" y="1260"/>
                  </a:lnTo>
                  <a:lnTo>
                    <a:pt x="378" y="1260"/>
                  </a:lnTo>
                  <a:lnTo>
                    <a:pt x="376" y="415"/>
                  </a:lnTo>
                  <a:lnTo>
                    <a:pt x="315" y="415"/>
                  </a:lnTo>
                  <a:lnTo>
                    <a:pt x="315" y="383"/>
                  </a:lnTo>
                  <a:lnTo>
                    <a:pt x="90" y="383"/>
                  </a:lnTo>
                  <a:lnTo>
                    <a:pt x="75" y="415"/>
                  </a:lnTo>
                  <a:lnTo>
                    <a:pt x="42" y="415"/>
                  </a:lnTo>
                  <a:lnTo>
                    <a:pt x="17" y="473"/>
                  </a:lnTo>
                  <a:lnTo>
                    <a:pt x="17" y="1224"/>
                  </a:lnTo>
                  <a:lnTo>
                    <a:pt x="10" y="1224"/>
                  </a:lnTo>
                  <a:lnTo>
                    <a:pt x="10" y="1221"/>
                  </a:lnTo>
                  <a:lnTo>
                    <a:pt x="5" y="1219"/>
                  </a:lnTo>
                  <a:lnTo>
                    <a:pt x="0" y="1219"/>
                  </a:lnTo>
                  <a:lnTo>
                    <a:pt x="0" y="1576"/>
                  </a:lnTo>
                  <a:lnTo>
                    <a:pt x="1281" y="1576"/>
                  </a:lnTo>
                  <a:lnTo>
                    <a:pt x="1281" y="1017"/>
                  </a:lnTo>
                  <a:close/>
                  <a:moveTo>
                    <a:pt x="342" y="225"/>
                  </a:moveTo>
                  <a:lnTo>
                    <a:pt x="344" y="225"/>
                  </a:lnTo>
                  <a:lnTo>
                    <a:pt x="344" y="225"/>
                  </a:lnTo>
                  <a:lnTo>
                    <a:pt x="352" y="228"/>
                  </a:lnTo>
                  <a:lnTo>
                    <a:pt x="344" y="225"/>
                  </a:lnTo>
                  <a:lnTo>
                    <a:pt x="344" y="225"/>
                  </a:lnTo>
                  <a:lnTo>
                    <a:pt x="342" y="225"/>
                  </a:lnTo>
                  <a:lnTo>
                    <a:pt x="342" y="223"/>
                  </a:lnTo>
                  <a:lnTo>
                    <a:pt x="342" y="225"/>
                  </a:lnTo>
                  <a:close/>
                  <a:moveTo>
                    <a:pt x="342" y="228"/>
                  </a:moveTo>
                  <a:lnTo>
                    <a:pt x="342" y="228"/>
                  </a:lnTo>
                  <a:lnTo>
                    <a:pt x="339" y="228"/>
                  </a:lnTo>
                  <a:lnTo>
                    <a:pt x="342" y="228"/>
                  </a:lnTo>
                  <a:lnTo>
                    <a:pt x="342" y="228"/>
                  </a:lnTo>
                  <a:lnTo>
                    <a:pt x="361" y="233"/>
                  </a:lnTo>
                  <a:lnTo>
                    <a:pt x="342" y="228"/>
                  </a:lnTo>
                  <a:close/>
                  <a:moveTo>
                    <a:pt x="410" y="199"/>
                  </a:moveTo>
                  <a:lnTo>
                    <a:pt x="410" y="201"/>
                  </a:lnTo>
                  <a:lnTo>
                    <a:pt x="410" y="199"/>
                  </a:lnTo>
                  <a:lnTo>
                    <a:pt x="410" y="199"/>
                  </a:lnTo>
                  <a:lnTo>
                    <a:pt x="410" y="199"/>
                  </a:lnTo>
                  <a:close/>
                  <a:moveTo>
                    <a:pt x="414" y="208"/>
                  </a:moveTo>
                  <a:lnTo>
                    <a:pt x="412" y="206"/>
                  </a:lnTo>
                  <a:lnTo>
                    <a:pt x="412" y="206"/>
                  </a:lnTo>
                  <a:lnTo>
                    <a:pt x="412" y="206"/>
                  </a:lnTo>
                  <a:lnTo>
                    <a:pt x="412" y="206"/>
                  </a:lnTo>
                  <a:lnTo>
                    <a:pt x="412" y="206"/>
                  </a:lnTo>
                  <a:lnTo>
                    <a:pt x="414" y="208"/>
                  </a:lnTo>
                  <a:lnTo>
                    <a:pt x="419" y="211"/>
                  </a:lnTo>
                  <a:lnTo>
                    <a:pt x="414" y="208"/>
                  </a:lnTo>
                  <a:close/>
                  <a:moveTo>
                    <a:pt x="427" y="199"/>
                  </a:moveTo>
                  <a:lnTo>
                    <a:pt x="427" y="196"/>
                  </a:lnTo>
                  <a:lnTo>
                    <a:pt x="429" y="196"/>
                  </a:lnTo>
                  <a:lnTo>
                    <a:pt x="427" y="196"/>
                  </a:lnTo>
                  <a:lnTo>
                    <a:pt x="427" y="199"/>
                  </a:lnTo>
                  <a:close/>
                  <a:moveTo>
                    <a:pt x="429" y="206"/>
                  </a:moveTo>
                  <a:lnTo>
                    <a:pt x="429" y="204"/>
                  </a:lnTo>
                  <a:lnTo>
                    <a:pt x="429" y="204"/>
                  </a:lnTo>
                  <a:lnTo>
                    <a:pt x="429" y="204"/>
                  </a:lnTo>
                  <a:lnTo>
                    <a:pt x="429" y="206"/>
                  </a:lnTo>
                  <a:lnTo>
                    <a:pt x="431" y="206"/>
                  </a:lnTo>
                  <a:lnTo>
                    <a:pt x="429" y="2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" name="íṡ1îḋé"/>
            <p:cNvSpPr/>
            <p:nvPr/>
          </p:nvSpPr>
          <p:spPr bwMode="auto">
            <a:xfrm>
              <a:off x="6098382" y="5262269"/>
              <a:ext cx="2030676" cy="1895615"/>
            </a:xfrm>
            <a:custGeom>
              <a:avLst/>
              <a:gdLst>
                <a:gd name="T0" fmla="*/ 1278 w 1278"/>
                <a:gd name="T1" fmla="*/ 836 h 1193"/>
                <a:gd name="T2" fmla="*/ 1271 w 1278"/>
                <a:gd name="T3" fmla="*/ 819 h 1193"/>
                <a:gd name="T4" fmla="*/ 1252 w 1278"/>
                <a:gd name="T5" fmla="*/ 821 h 1193"/>
                <a:gd name="T6" fmla="*/ 1242 w 1278"/>
                <a:gd name="T7" fmla="*/ 807 h 1193"/>
                <a:gd name="T8" fmla="*/ 1206 w 1278"/>
                <a:gd name="T9" fmla="*/ 700 h 1193"/>
                <a:gd name="T10" fmla="*/ 1167 w 1278"/>
                <a:gd name="T11" fmla="*/ 693 h 1193"/>
                <a:gd name="T12" fmla="*/ 1126 w 1278"/>
                <a:gd name="T13" fmla="*/ 651 h 1193"/>
                <a:gd name="T14" fmla="*/ 1075 w 1278"/>
                <a:gd name="T15" fmla="*/ 598 h 1193"/>
                <a:gd name="T16" fmla="*/ 1068 w 1278"/>
                <a:gd name="T17" fmla="*/ 586 h 1193"/>
                <a:gd name="T18" fmla="*/ 1053 w 1278"/>
                <a:gd name="T19" fmla="*/ 566 h 1193"/>
                <a:gd name="T20" fmla="*/ 1048 w 1278"/>
                <a:gd name="T21" fmla="*/ 581 h 1193"/>
                <a:gd name="T22" fmla="*/ 1034 w 1278"/>
                <a:gd name="T23" fmla="*/ 593 h 1193"/>
                <a:gd name="T24" fmla="*/ 1034 w 1278"/>
                <a:gd name="T25" fmla="*/ 625 h 1193"/>
                <a:gd name="T26" fmla="*/ 956 w 1278"/>
                <a:gd name="T27" fmla="*/ 685 h 1193"/>
                <a:gd name="T28" fmla="*/ 925 w 1278"/>
                <a:gd name="T29" fmla="*/ 695 h 1193"/>
                <a:gd name="T30" fmla="*/ 884 w 1278"/>
                <a:gd name="T31" fmla="*/ 824 h 1193"/>
                <a:gd name="T32" fmla="*/ 864 w 1278"/>
                <a:gd name="T33" fmla="*/ 807 h 1193"/>
                <a:gd name="T34" fmla="*/ 850 w 1278"/>
                <a:gd name="T35" fmla="*/ 838 h 1193"/>
                <a:gd name="T36" fmla="*/ 833 w 1278"/>
                <a:gd name="T37" fmla="*/ 819 h 1193"/>
                <a:gd name="T38" fmla="*/ 814 w 1278"/>
                <a:gd name="T39" fmla="*/ 841 h 1193"/>
                <a:gd name="T40" fmla="*/ 751 w 1278"/>
                <a:gd name="T41" fmla="*/ 32 h 1193"/>
                <a:gd name="T42" fmla="*/ 445 w 1278"/>
                <a:gd name="T43" fmla="*/ 855 h 1193"/>
                <a:gd name="T44" fmla="*/ 431 w 1278"/>
                <a:gd name="T45" fmla="*/ 739 h 1193"/>
                <a:gd name="T46" fmla="*/ 404 w 1278"/>
                <a:gd name="T47" fmla="*/ 756 h 1193"/>
                <a:gd name="T48" fmla="*/ 378 w 1278"/>
                <a:gd name="T49" fmla="*/ 561 h 1193"/>
                <a:gd name="T50" fmla="*/ 375 w 1278"/>
                <a:gd name="T51" fmla="*/ 547 h 1193"/>
                <a:gd name="T52" fmla="*/ 368 w 1278"/>
                <a:gd name="T53" fmla="*/ 569 h 1193"/>
                <a:gd name="T54" fmla="*/ 351 w 1278"/>
                <a:gd name="T55" fmla="*/ 479 h 1193"/>
                <a:gd name="T56" fmla="*/ 341 w 1278"/>
                <a:gd name="T57" fmla="*/ 348 h 1193"/>
                <a:gd name="T58" fmla="*/ 324 w 1278"/>
                <a:gd name="T59" fmla="*/ 372 h 1193"/>
                <a:gd name="T60" fmla="*/ 312 w 1278"/>
                <a:gd name="T61" fmla="*/ 479 h 1193"/>
                <a:gd name="T62" fmla="*/ 295 w 1278"/>
                <a:gd name="T63" fmla="*/ 561 h 1193"/>
                <a:gd name="T64" fmla="*/ 290 w 1278"/>
                <a:gd name="T65" fmla="*/ 547 h 1193"/>
                <a:gd name="T66" fmla="*/ 288 w 1278"/>
                <a:gd name="T67" fmla="*/ 569 h 1193"/>
                <a:gd name="T68" fmla="*/ 269 w 1278"/>
                <a:gd name="T69" fmla="*/ 693 h 1193"/>
                <a:gd name="T70" fmla="*/ 269 w 1278"/>
                <a:gd name="T71" fmla="*/ 695 h 1193"/>
                <a:gd name="T72" fmla="*/ 261 w 1278"/>
                <a:gd name="T73" fmla="*/ 758 h 1193"/>
                <a:gd name="T74" fmla="*/ 244 w 1278"/>
                <a:gd name="T75" fmla="*/ 712 h 1193"/>
                <a:gd name="T76" fmla="*/ 232 w 1278"/>
                <a:gd name="T77" fmla="*/ 574 h 1193"/>
                <a:gd name="T78" fmla="*/ 208 w 1278"/>
                <a:gd name="T79" fmla="*/ 710 h 1193"/>
                <a:gd name="T80" fmla="*/ 194 w 1278"/>
                <a:gd name="T81" fmla="*/ 748 h 1193"/>
                <a:gd name="T82" fmla="*/ 174 w 1278"/>
                <a:gd name="T83" fmla="*/ 688 h 1193"/>
                <a:gd name="T84" fmla="*/ 172 w 1278"/>
                <a:gd name="T85" fmla="*/ 685 h 1193"/>
                <a:gd name="T86" fmla="*/ 169 w 1278"/>
                <a:gd name="T87" fmla="*/ 615 h 1193"/>
                <a:gd name="T88" fmla="*/ 167 w 1278"/>
                <a:gd name="T89" fmla="*/ 610 h 1193"/>
                <a:gd name="T90" fmla="*/ 157 w 1278"/>
                <a:gd name="T91" fmla="*/ 557 h 1193"/>
                <a:gd name="T92" fmla="*/ 148 w 1278"/>
                <a:gd name="T93" fmla="*/ 547 h 1193"/>
                <a:gd name="T94" fmla="*/ 123 w 1278"/>
                <a:gd name="T95" fmla="*/ 479 h 1193"/>
                <a:gd name="T96" fmla="*/ 123 w 1278"/>
                <a:gd name="T97" fmla="*/ 464 h 1193"/>
                <a:gd name="T98" fmla="*/ 121 w 1278"/>
                <a:gd name="T99" fmla="*/ 304 h 1193"/>
                <a:gd name="T100" fmla="*/ 97 w 1278"/>
                <a:gd name="T101" fmla="*/ 464 h 1193"/>
                <a:gd name="T102" fmla="*/ 94 w 1278"/>
                <a:gd name="T103" fmla="*/ 476 h 1193"/>
                <a:gd name="T104" fmla="*/ 70 w 1278"/>
                <a:gd name="T105" fmla="*/ 554 h 1193"/>
                <a:gd name="T106" fmla="*/ 60 w 1278"/>
                <a:gd name="T107" fmla="*/ 549 h 1193"/>
                <a:gd name="T108" fmla="*/ 48 w 1278"/>
                <a:gd name="T109" fmla="*/ 610 h 1193"/>
                <a:gd name="T110" fmla="*/ 41 w 1278"/>
                <a:gd name="T111" fmla="*/ 746 h 1193"/>
                <a:gd name="T112" fmla="*/ 17 w 1278"/>
                <a:gd name="T113" fmla="*/ 739 h 1193"/>
                <a:gd name="T114" fmla="*/ 7 w 1278"/>
                <a:gd name="T115" fmla="*/ 848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78" h="1193">
                  <a:moveTo>
                    <a:pt x="12" y="306"/>
                  </a:moveTo>
                  <a:lnTo>
                    <a:pt x="0" y="304"/>
                  </a:lnTo>
                  <a:lnTo>
                    <a:pt x="0" y="1193"/>
                  </a:lnTo>
                  <a:lnTo>
                    <a:pt x="1278" y="1193"/>
                  </a:lnTo>
                  <a:lnTo>
                    <a:pt x="1278" y="836"/>
                  </a:lnTo>
                  <a:lnTo>
                    <a:pt x="1274" y="836"/>
                  </a:lnTo>
                  <a:lnTo>
                    <a:pt x="1274" y="819"/>
                  </a:lnTo>
                  <a:lnTo>
                    <a:pt x="1271" y="819"/>
                  </a:lnTo>
                  <a:lnTo>
                    <a:pt x="1271" y="819"/>
                  </a:lnTo>
                  <a:lnTo>
                    <a:pt x="1271" y="819"/>
                  </a:lnTo>
                  <a:lnTo>
                    <a:pt x="1269" y="819"/>
                  </a:lnTo>
                  <a:lnTo>
                    <a:pt x="1269" y="836"/>
                  </a:lnTo>
                  <a:lnTo>
                    <a:pt x="1257" y="836"/>
                  </a:lnTo>
                  <a:lnTo>
                    <a:pt x="1257" y="824"/>
                  </a:lnTo>
                  <a:lnTo>
                    <a:pt x="1252" y="821"/>
                  </a:lnTo>
                  <a:lnTo>
                    <a:pt x="1245" y="821"/>
                  </a:lnTo>
                  <a:lnTo>
                    <a:pt x="1245" y="807"/>
                  </a:lnTo>
                  <a:lnTo>
                    <a:pt x="1242" y="807"/>
                  </a:lnTo>
                  <a:lnTo>
                    <a:pt x="1242" y="807"/>
                  </a:lnTo>
                  <a:lnTo>
                    <a:pt x="1242" y="807"/>
                  </a:lnTo>
                  <a:lnTo>
                    <a:pt x="1240" y="807"/>
                  </a:lnTo>
                  <a:lnTo>
                    <a:pt x="1240" y="821"/>
                  </a:lnTo>
                  <a:lnTo>
                    <a:pt x="1220" y="821"/>
                  </a:lnTo>
                  <a:lnTo>
                    <a:pt x="1223" y="702"/>
                  </a:lnTo>
                  <a:lnTo>
                    <a:pt x="1206" y="700"/>
                  </a:lnTo>
                  <a:lnTo>
                    <a:pt x="1182" y="700"/>
                  </a:lnTo>
                  <a:lnTo>
                    <a:pt x="1174" y="695"/>
                  </a:lnTo>
                  <a:lnTo>
                    <a:pt x="1174" y="695"/>
                  </a:lnTo>
                  <a:lnTo>
                    <a:pt x="1172" y="695"/>
                  </a:lnTo>
                  <a:lnTo>
                    <a:pt x="1167" y="693"/>
                  </a:lnTo>
                  <a:lnTo>
                    <a:pt x="1167" y="688"/>
                  </a:lnTo>
                  <a:lnTo>
                    <a:pt x="1155" y="685"/>
                  </a:lnTo>
                  <a:lnTo>
                    <a:pt x="1150" y="685"/>
                  </a:lnTo>
                  <a:lnTo>
                    <a:pt x="1140" y="668"/>
                  </a:lnTo>
                  <a:lnTo>
                    <a:pt x="1126" y="651"/>
                  </a:lnTo>
                  <a:lnTo>
                    <a:pt x="1111" y="639"/>
                  </a:lnTo>
                  <a:lnTo>
                    <a:pt x="1092" y="629"/>
                  </a:lnTo>
                  <a:lnTo>
                    <a:pt x="1073" y="625"/>
                  </a:lnTo>
                  <a:lnTo>
                    <a:pt x="1073" y="598"/>
                  </a:lnTo>
                  <a:lnTo>
                    <a:pt x="1075" y="598"/>
                  </a:lnTo>
                  <a:lnTo>
                    <a:pt x="1075" y="595"/>
                  </a:lnTo>
                  <a:lnTo>
                    <a:pt x="1075" y="593"/>
                  </a:lnTo>
                  <a:lnTo>
                    <a:pt x="1073" y="593"/>
                  </a:lnTo>
                  <a:lnTo>
                    <a:pt x="1070" y="588"/>
                  </a:lnTo>
                  <a:lnTo>
                    <a:pt x="1068" y="586"/>
                  </a:lnTo>
                  <a:lnTo>
                    <a:pt x="1063" y="583"/>
                  </a:lnTo>
                  <a:lnTo>
                    <a:pt x="1061" y="581"/>
                  </a:lnTo>
                  <a:lnTo>
                    <a:pt x="1056" y="581"/>
                  </a:lnTo>
                  <a:lnTo>
                    <a:pt x="1056" y="566"/>
                  </a:lnTo>
                  <a:lnTo>
                    <a:pt x="1053" y="566"/>
                  </a:lnTo>
                  <a:lnTo>
                    <a:pt x="1053" y="564"/>
                  </a:lnTo>
                  <a:lnTo>
                    <a:pt x="1053" y="566"/>
                  </a:lnTo>
                  <a:lnTo>
                    <a:pt x="1048" y="566"/>
                  </a:lnTo>
                  <a:lnTo>
                    <a:pt x="1048" y="581"/>
                  </a:lnTo>
                  <a:lnTo>
                    <a:pt x="1048" y="581"/>
                  </a:lnTo>
                  <a:lnTo>
                    <a:pt x="1046" y="581"/>
                  </a:lnTo>
                  <a:lnTo>
                    <a:pt x="1041" y="583"/>
                  </a:lnTo>
                  <a:lnTo>
                    <a:pt x="1039" y="586"/>
                  </a:lnTo>
                  <a:lnTo>
                    <a:pt x="1036" y="588"/>
                  </a:lnTo>
                  <a:lnTo>
                    <a:pt x="1034" y="593"/>
                  </a:lnTo>
                  <a:lnTo>
                    <a:pt x="1031" y="593"/>
                  </a:lnTo>
                  <a:lnTo>
                    <a:pt x="1031" y="595"/>
                  </a:lnTo>
                  <a:lnTo>
                    <a:pt x="1031" y="598"/>
                  </a:lnTo>
                  <a:lnTo>
                    <a:pt x="1034" y="598"/>
                  </a:lnTo>
                  <a:lnTo>
                    <a:pt x="1034" y="625"/>
                  </a:lnTo>
                  <a:lnTo>
                    <a:pt x="1014" y="629"/>
                  </a:lnTo>
                  <a:lnTo>
                    <a:pt x="995" y="639"/>
                  </a:lnTo>
                  <a:lnTo>
                    <a:pt x="978" y="651"/>
                  </a:lnTo>
                  <a:lnTo>
                    <a:pt x="964" y="668"/>
                  </a:lnTo>
                  <a:lnTo>
                    <a:pt x="956" y="685"/>
                  </a:lnTo>
                  <a:lnTo>
                    <a:pt x="949" y="685"/>
                  </a:lnTo>
                  <a:lnTo>
                    <a:pt x="937" y="688"/>
                  </a:lnTo>
                  <a:lnTo>
                    <a:pt x="937" y="693"/>
                  </a:lnTo>
                  <a:lnTo>
                    <a:pt x="935" y="695"/>
                  </a:lnTo>
                  <a:lnTo>
                    <a:pt x="925" y="695"/>
                  </a:lnTo>
                  <a:lnTo>
                    <a:pt x="925" y="697"/>
                  </a:lnTo>
                  <a:lnTo>
                    <a:pt x="922" y="700"/>
                  </a:lnTo>
                  <a:lnTo>
                    <a:pt x="896" y="700"/>
                  </a:lnTo>
                  <a:lnTo>
                    <a:pt x="881" y="702"/>
                  </a:lnTo>
                  <a:lnTo>
                    <a:pt x="884" y="824"/>
                  </a:lnTo>
                  <a:lnTo>
                    <a:pt x="867" y="824"/>
                  </a:lnTo>
                  <a:lnTo>
                    <a:pt x="867" y="807"/>
                  </a:lnTo>
                  <a:lnTo>
                    <a:pt x="864" y="807"/>
                  </a:lnTo>
                  <a:lnTo>
                    <a:pt x="864" y="807"/>
                  </a:lnTo>
                  <a:lnTo>
                    <a:pt x="864" y="807"/>
                  </a:lnTo>
                  <a:lnTo>
                    <a:pt x="862" y="807"/>
                  </a:lnTo>
                  <a:lnTo>
                    <a:pt x="862" y="824"/>
                  </a:lnTo>
                  <a:lnTo>
                    <a:pt x="855" y="824"/>
                  </a:lnTo>
                  <a:lnTo>
                    <a:pt x="850" y="826"/>
                  </a:lnTo>
                  <a:lnTo>
                    <a:pt x="850" y="838"/>
                  </a:lnTo>
                  <a:lnTo>
                    <a:pt x="850" y="838"/>
                  </a:lnTo>
                  <a:lnTo>
                    <a:pt x="835" y="838"/>
                  </a:lnTo>
                  <a:lnTo>
                    <a:pt x="833" y="819"/>
                  </a:lnTo>
                  <a:lnTo>
                    <a:pt x="833" y="819"/>
                  </a:lnTo>
                  <a:lnTo>
                    <a:pt x="833" y="819"/>
                  </a:lnTo>
                  <a:lnTo>
                    <a:pt x="830" y="819"/>
                  </a:lnTo>
                  <a:lnTo>
                    <a:pt x="828" y="819"/>
                  </a:lnTo>
                  <a:lnTo>
                    <a:pt x="828" y="838"/>
                  </a:lnTo>
                  <a:lnTo>
                    <a:pt x="818" y="838"/>
                  </a:lnTo>
                  <a:lnTo>
                    <a:pt x="814" y="841"/>
                  </a:lnTo>
                  <a:lnTo>
                    <a:pt x="814" y="841"/>
                  </a:lnTo>
                  <a:lnTo>
                    <a:pt x="809" y="841"/>
                  </a:lnTo>
                  <a:lnTo>
                    <a:pt x="811" y="90"/>
                  </a:lnTo>
                  <a:lnTo>
                    <a:pt x="782" y="32"/>
                  </a:lnTo>
                  <a:lnTo>
                    <a:pt x="751" y="32"/>
                  </a:lnTo>
                  <a:lnTo>
                    <a:pt x="734" y="0"/>
                  </a:lnTo>
                  <a:lnTo>
                    <a:pt x="508" y="0"/>
                  </a:lnTo>
                  <a:lnTo>
                    <a:pt x="508" y="32"/>
                  </a:lnTo>
                  <a:lnTo>
                    <a:pt x="448" y="32"/>
                  </a:lnTo>
                  <a:lnTo>
                    <a:pt x="445" y="855"/>
                  </a:lnTo>
                  <a:lnTo>
                    <a:pt x="438" y="848"/>
                  </a:lnTo>
                  <a:lnTo>
                    <a:pt x="438" y="836"/>
                  </a:lnTo>
                  <a:lnTo>
                    <a:pt x="436" y="746"/>
                  </a:lnTo>
                  <a:lnTo>
                    <a:pt x="436" y="739"/>
                  </a:lnTo>
                  <a:lnTo>
                    <a:pt x="431" y="739"/>
                  </a:lnTo>
                  <a:lnTo>
                    <a:pt x="429" y="739"/>
                  </a:lnTo>
                  <a:lnTo>
                    <a:pt x="429" y="746"/>
                  </a:lnTo>
                  <a:lnTo>
                    <a:pt x="429" y="758"/>
                  </a:lnTo>
                  <a:lnTo>
                    <a:pt x="404" y="758"/>
                  </a:lnTo>
                  <a:lnTo>
                    <a:pt x="404" y="756"/>
                  </a:lnTo>
                  <a:lnTo>
                    <a:pt x="399" y="746"/>
                  </a:lnTo>
                  <a:lnTo>
                    <a:pt x="399" y="693"/>
                  </a:lnTo>
                  <a:lnTo>
                    <a:pt x="392" y="676"/>
                  </a:lnTo>
                  <a:lnTo>
                    <a:pt x="392" y="622"/>
                  </a:lnTo>
                  <a:lnTo>
                    <a:pt x="378" y="561"/>
                  </a:lnTo>
                  <a:lnTo>
                    <a:pt x="380" y="561"/>
                  </a:lnTo>
                  <a:lnTo>
                    <a:pt x="380" y="547"/>
                  </a:lnTo>
                  <a:lnTo>
                    <a:pt x="375" y="547"/>
                  </a:lnTo>
                  <a:lnTo>
                    <a:pt x="375" y="547"/>
                  </a:lnTo>
                  <a:lnTo>
                    <a:pt x="375" y="547"/>
                  </a:lnTo>
                  <a:lnTo>
                    <a:pt x="368" y="547"/>
                  </a:lnTo>
                  <a:lnTo>
                    <a:pt x="368" y="554"/>
                  </a:lnTo>
                  <a:lnTo>
                    <a:pt x="366" y="554"/>
                  </a:lnTo>
                  <a:lnTo>
                    <a:pt x="366" y="569"/>
                  </a:lnTo>
                  <a:lnTo>
                    <a:pt x="368" y="569"/>
                  </a:lnTo>
                  <a:lnTo>
                    <a:pt x="358" y="610"/>
                  </a:lnTo>
                  <a:lnTo>
                    <a:pt x="346" y="481"/>
                  </a:lnTo>
                  <a:lnTo>
                    <a:pt x="351" y="481"/>
                  </a:lnTo>
                  <a:lnTo>
                    <a:pt x="351" y="479"/>
                  </a:lnTo>
                  <a:lnTo>
                    <a:pt x="351" y="479"/>
                  </a:lnTo>
                  <a:lnTo>
                    <a:pt x="351" y="469"/>
                  </a:lnTo>
                  <a:lnTo>
                    <a:pt x="344" y="469"/>
                  </a:lnTo>
                  <a:lnTo>
                    <a:pt x="337" y="372"/>
                  </a:lnTo>
                  <a:lnTo>
                    <a:pt x="341" y="372"/>
                  </a:lnTo>
                  <a:lnTo>
                    <a:pt x="341" y="348"/>
                  </a:lnTo>
                  <a:lnTo>
                    <a:pt x="341" y="309"/>
                  </a:lnTo>
                  <a:lnTo>
                    <a:pt x="320" y="309"/>
                  </a:lnTo>
                  <a:lnTo>
                    <a:pt x="320" y="348"/>
                  </a:lnTo>
                  <a:lnTo>
                    <a:pt x="320" y="372"/>
                  </a:lnTo>
                  <a:lnTo>
                    <a:pt x="324" y="372"/>
                  </a:lnTo>
                  <a:lnTo>
                    <a:pt x="324" y="374"/>
                  </a:lnTo>
                  <a:lnTo>
                    <a:pt x="317" y="469"/>
                  </a:lnTo>
                  <a:lnTo>
                    <a:pt x="312" y="469"/>
                  </a:lnTo>
                  <a:lnTo>
                    <a:pt x="312" y="472"/>
                  </a:lnTo>
                  <a:lnTo>
                    <a:pt x="312" y="479"/>
                  </a:lnTo>
                  <a:lnTo>
                    <a:pt x="312" y="481"/>
                  </a:lnTo>
                  <a:lnTo>
                    <a:pt x="317" y="481"/>
                  </a:lnTo>
                  <a:lnTo>
                    <a:pt x="305" y="610"/>
                  </a:lnTo>
                  <a:lnTo>
                    <a:pt x="295" y="566"/>
                  </a:lnTo>
                  <a:lnTo>
                    <a:pt x="295" y="561"/>
                  </a:lnTo>
                  <a:lnTo>
                    <a:pt x="298" y="561"/>
                  </a:lnTo>
                  <a:lnTo>
                    <a:pt x="298" y="547"/>
                  </a:lnTo>
                  <a:lnTo>
                    <a:pt x="290" y="547"/>
                  </a:lnTo>
                  <a:lnTo>
                    <a:pt x="290" y="547"/>
                  </a:lnTo>
                  <a:lnTo>
                    <a:pt x="290" y="547"/>
                  </a:lnTo>
                  <a:lnTo>
                    <a:pt x="286" y="547"/>
                  </a:lnTo>
                  <a:lnTo>
                    <a:pt x="286" y="554"/>
                  </a:lnTo>
                  <a:lnTo>
                    <a:pt x="286" y="554"/>
                  </a:lnTo>
                  <a:lnTo>
                    <a:pt x="286" y="569"/>
                  </a:lnTo>
                  <a:lnTo>
                    <a:pt x="288" y="569"/>
                  </a:lnTo>
                  <a:lnTo>
                    <a:pt x="276" y="622"/>
                  </a:lnTo>
                  <a:lnTo>
                    <a:pt x="276" y="622"/>
                  </a:lnTo>
                  <a:lnTo>
                    <a:pt x="274" y="627"/>
                  </a:lnTo>
                  <a:lnTo>
                    <a:pt x="274" y="676"/>
                  </a:lnTo>
                  <a:lnTo>
                    <a:pt x="269" y="693"/>
                  </a:lnTo>
                  <a:lnTo>
                    <a:pt x="269" y="693"/>
                  </a:lnTo>
                  <a:lnTo>
                    <a:pt x="269" y="693"/>
                  </a:lnTo>
                  <a:lnTo>
                    <a:pt x="269" y="695"/>
                  </a:lnTo>
                  <a:lnTo>
                    <a:pt x="269" y="695"/>
                  </a:lnTo>
                  <a:lnTo>
                    <a:pt x="269" y="695"/>
                  </a:lnTo>
                  <a:lnTo>
                    <a:pt x="269" y="695"/>
                  </a:lnTo>
                  <a:lnTo>
                    <a:pt x="269" y="746"/>
                  </a:lnTo>
                  <a:lnTo>
                    <a:pt x="261" y="756"/>
                  </a:lnTo>
                  <a:lnTo>
                    <a:pt x="261" y="756"/>
                  </a:lnTo>
                  <a:lnTo>
                    <a:pt x="261" y="758"/>
                  </a:lnTo>
                  <a:lnTo>
                    <a:pt x="261" y="758"/>
                  </a:lnTo>
                  <a:lnTo>
                    <a:pt x="252" y="758"/>
                  </a:lnTo>
                  <a:lnTo>
                    <a:pt x="252" y="748"/>
                  </a:lnTo>
                  <a:lnTo>
                    <a:pt x="244" y="748"/>
                  </a:lnTo>
                  <a:lnTo>
                    <a:pt x="244" y="712"/>
                  </a:lnTo>
                  <a:lnTo>
                    <a:pt x="244" y="710"/>
                  </a:lnTo>
                  <a:lnTo>
                    <a:pt x="240" y="710"/>
                  </a:lnTo>
                  <a:lnTo>
                    <a:pt x="225" y="574"/>
                  </a:lnTo>
                  <a:lnTo>
                    <a:pt x="225" y="574"/>
                  </a:lnTo>
                  <a:lnTo>
                    <a:pt x="232" y="574"/>
                  </a:lnTo>
                  <a:lnTo>
                    <a:pt x="232" y="537"/>
                  </a:lnTo>
                  <a:lnTo>
                    <a:pt x="215" y="537"/>
                  </a:lnTo>
                  <a:lnTo>
                    <a:pt x="215" y="574"/>
                  </a:lnTo>
                  <a:lnTo>
                    <a:pt x="220" y="574"/>
                  </a:lnTo>
                  <a:lnTo>
                    <a:pt x="208" y="710"/>
                  </a:lnTo>
                  <a:lnTo>
                    <a:pt x="208" y="710"/>
                  </a:lnTo>
                  <a:lnTo>
                    <a:pt x="208" y="710"/>
                  </a:lnTo>
                  <a:lnTo>
                    <a:pt x="201" y="710"/>
                  </a:lnTo>
                  <a:lnTo>
                    <a:pt x="201" y="748"/>
                  </a:lnTo>
                  <a:lnTo>
                    <a:pt x="194" y="748"/>
                  </a:lnTo>
                  <a:lnTo>
                    <a:pt x="194" y="758"/>
                  </a:lnTo>
                  <a:lnTo>
                    <a:pt x="179" y="758"/>
                  </a:lnTo>
                  <a:lnTo>
                    <a:pt x="179" y="758"/>
                  </a:lnTo>
                  <a:lnTo>
                    <a:pt x="174" y="746"/>
                  </a:lnTo>
                  <a:lnTo>
                    <a:pt x="174" y="688"/>
                  </a:lnTo>
                  <a:lnTo>
                    <a:pt x="174" y="688"/>
                  </a:lnTo>
                  <a:lnTo>
                    <a:pt x="174" y="688"/>
                  </a:lnTo>
                  <a:lnTo>
                    <a:pt x="172" y="688"/>
                  </a:lnTo>
                  <a:lnTo>
                    <a:pt x="172" y="685"/>
                  </a:lnTo>
                  <a:lnTo>
                    <a:pt x="172" y="685"/>
                  </a:lnTo>
                  <a:lnTo>
                    <a:pt x="172" y="685"/>
                  </a:lnTo>
                  <a:lnTo>
                    <a:pt x="169" y="683"/>
                  </a:lnTo>
                  <a:lnTo>
                    <a:pt x="169" y="617"/>
                  </a:lnTo>
                  <a:lnTo>
                    <a:pt x="169" y="617"/>
                  </a:lnTo>
                  <a:lnTo>
                    <a:pt x="169" y="615"/>
                  </a:lnTo>
                  <a:lnTo>
                    <a:pt x="167" y="615"/>
                  </a:lnTo>
                  <a:lnTo>
                    <a:pt x="167" y="615"/>
                  </a:lnTo>
                  <a:lnTo>
                    <a:pt x="167" y="610"/>
                  </a:lnTo>
                  <a:lnTo>
                    <a:pt x="167" y="610"/>
                  </a:lnTo>
                  <a:lnTo>
                    <a:pt x="167" y="610"/>
                  </a:lnTo>
                  <a:lnTo>
                    <a:pt x="165" y="610"/>
                  </a:lnTo>
                  <a:lnTo>
                    <a:pt x="165" y="610"/>
                  </a:lnTo>
                  <a:lnTo>
                    <a:pt x="155" y="569"/>
                  </a:lnTo>
                  <a:lnTo>
                    <a:pt x="157" y="569"/>
                  </a:lnTo>
                  <a:lnTo>
                    <a:pt x="157" y="557"/>
                  </a:lnTo>
                  <a:lnTo>
                    <a:pt x="155" y="557"/>
                  </a:lnTo>
                  <a:lnTo>
                    <a:pt x="155" y="547"/>
                  </a:lnTo>
                  <a:lnTo>
                    <a:pt x="148" y="547"/>
                  </a:lnTo>
                  <a:lnTo>
                    <a:pt x="148" y="547"/>
                  </a:lnTo>
                  <a:lnTo>
                    <a:pt x="148" y="547"/>
                  </a:lnTo>
                  <a:lnTo>
                    <a:pt x="143" y="547"/>
                  </a:lnTo>
                  <a:lnTo>
                    <a:pt x="143" y="561"/>
                  </a:lnTo>
                  <a:lnTo>
                    <a:pt x="145" y="561"/>
                  </a:lnTo>
                  <a:lnTo>
                    <a:pt x="136" y="603"/>
                  </a:lnTo>
                  <a:lnTo>
                    <a:pt x="123" y="479"/>
                  </a:lnTo>
                  <a:lnTo>
                    <a:pt x="131" y="476"/>
                  </a:lnTo>
                  <a:lnTo>
                    <a:pt x="131" y="476"/>
                  </a:lnTo>
                  <a:lnTo>
                    <a:pt x="131" y="467"/>
                  </a:lnTo>
                  <a:lnTo>
                    <a:pt x="128" y="464"/>
                  </a:lnTo>
                  <a:lnTo>
                    <a:pt x="123" y="464"/>
                  </a:lnTo>
                  <a:lnTo>
                    <a:pt x="116" y="370"/>
                  </a:lnTo>
                  <a:lnTo>
                    <a:pt x="116" y="370"/>
                  </a:lnTo>
                  <a:lnTo>
                    <a:pt x="121" y="370"/>
                  </a:lnTo>
                  <a:lnTo>
                    <a:pt x="121" y="343"/>
                  </a:lnTo>
                  <a:lnTo>
                    <a:pt x="121" y="304"/>
                  </a:lnTo>
                  <a:lnTo>
                    <a:pt x="99" y="304"/>
                  </a:lnTo>
                  <a:lnTo>
                    <a:pt x="99" y="343"/>
                  </a:lnTo>
                  <a:lnTo>
                    <a:pt x="99" y="370"/>
                  </a:lnTo>
                  <a:lnTo>
                    <a:pt x="104" y="370"/>
                  </a:lnTo>
                  <a:lnTo>
                    <a:pt x="97" y="464"/>
                  </a:lnTo>
                  <a:lnTo>
                    <a:pt x="90" y="464"/>
                  </a:lnTo>
                  <a:lnTo>
                    <a:pt x="90" y="474"/>
                  </a:lnTo>
                  <a:lnTo>
                    <a:pt x="90" y="474"/>
                  </a:lnTo>
                  <a:lnTo>
                    <a:pt x="90" y="476"/>
                  </a:lnTo>
                  <a:lnTo>
                    <a:pt x="94" y="476"/>
                  </a:lnTo>
                  <a:lnTo>
                    <a:pt x="82" y="603"/>
                  </a:lnTo>
                  <a:lnTo>
                    <a:pt x="75" y="569"/>
                  </a:lnTo>
                  <a:lnTo>
                    <a:pt x="75" y="569"/>
                  </a:lnTo>
                  <a:lnTo>
                    <a:pt x="75" y="554"/>
                  </a:lnTo>
                  <a:lnTo>
                    <a:pt x="70" y="554"/>
                  </a:lnTo>
                  <a:lnTo>
                    <a:pt x="70" y="549"/>
                  </a:lnTo>
                  <a:lnTo>
                    <a:pt x="65" y="549"/>
                  </a:lnTo>
                  <a:lnTo>
                    <a:pt x="65" y="547"/>
                  </a:lnTo>
                  <a:lnTo>
                    <a:pt x="65" y="549"/>
                  </a:lnTo>
                  <a:lnTo>
                    <a:pt x="60" y="549"/>
                  </a:lnTo>
                  <a:lnTo>
                    <a:pt x="60" y="561"/>
                  </a:lnTo>
                  <a:lnTo>
                    <a:pt x="63" y="561"/>
                  </a:lnTo>
                  <a:lnTo>
                    <a:pt x="51" y="610"/>
                  </a:lnTo>
                  <a:lnTo>
                    <a:pt x="51" y="610"/>
                  </a:lnTo>
                  <a:lnTo>
                    <a:pt x="48" y="610"/>
                  </a:lnTo>
                  <a:lnTo>
                    <a:pt x="46" y="610"/>
                  </a:lnTo>
                  <a:lnTo>
                    <a:pt x="46" y="683"/>
                  </a:lnTo>
                  <a:lnTo>
                    <a:pt x="41" y="685"/>
                  </a:lnTo>
                  <a:lnTo>
                    <a:pt x="41" y="700"/>
                  </a:lnTo>
                  <a:lnTo>
                    <a:pt x="41" y="746"/>
                  </a:lnTo>
                  <a:lnTo>
                    <a:pt x="34" y="756"/>
                  </a:lnTo>
                  <a:lnTo>
                    <a:pt x="34" y="758"/>
                  </a:lnTo>
                  <a:lnTo>
                    <a:pt x="19" y="758"/>
                  </a:lnTo>
                  <a:lnTo>
                    <a:pt x="17" y="746"/>
                  </a:lnTo>
                  <a:lnTo>
                    <a:pt x="17" y="739"/>
                  </a:lnTo>
                  <a:lnTo>
                    <a:pt x="17" y="739"/>
                  </a:lnTo>
                  <a:lnTo>
                    <a:pt x="12" y="739"/>
                  </a:lnTo>
                  <a:lnTo>
                    <a:pt x="12" y="746"/>
                  </a:lnTo>
                  <a:lnTo>
                    <a:pt x="7" y="836"/>
                  </a:lnTo>
                  <a:lnTo>
                    <a:pt x="7" y="848"/>
                  </a:lnTo>
                  <a:lnTo>
                    <a:pt x="5" y="851"/>
                  </a:lnTo>
                  <a:lnTo>
                    <a:pt x="10" y="365"/>
                  </a:lnTo>
                  <a:lnTo>
                    <a:pt x="12" y="3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" name="íŝḻïdè"/>
            <p:cNvSpPr/>
            <p:nvPr/>
          </p:nvSpPr>
          <p:spPr bwMode="auto">
            <a:xfrm>
              <a:off x="4070883" y="4896810"/>
              <a:ext cx="2027498" cy="2261074"/>
            </a:xfrm>
            <a:custGeom>
              <a:avLst/>
              <a:gdLst>
                <a:gd name="T0" fmla="*/ 1242 w 1276"/>
                <a:gd name="T1" fmla="*/ 529 h 1423"/>
                <a:gd name="T2" fmla="*/ 1225 w 1276"/>
                <a:gd name="T3" fmla="*/ 527 h 1423"/>
                <a:gd name="T4" fmla="*/ 1196 w 1276"/>
                <a:gd name="T5" fmla="*/ 505 h 1423"/>
                <a:gd name="T6" fmla="*/ 1172 w 1276"/>
                <a:gd name="T7" fmla="*/ 483 h 1423"/>
                <a:gd name="T8" fmla="*/ 1148 w 1276"/>
                <a:gd name="T9" fmla="*/ 461 h 1423"/>
                <a:gd name="T10" fmla="*/ 1126 w 1276"/>
                <a:gd name="T11" fmla="*/ 439 h 1423"/>
                <a:gd name="T12" fmla="*/ 1043 w 1276"/>
                <a:gd name="T13" fmla="*/ 434 h 1423"/>
                <a:gd name="T14" fmla="*/ 1005 w 1276"/>
                <a:gd name="T15" fmla="*/ 447 h 1423"/>
                <a:gd name="T16" fmla="*/ 985 w 1276"/>
                <a:gd name="T17" fmla="*/ 461 h 1423"/>
                <a:gd name="T18" fmla="*/ 981 w 1276"/>
                <a:gd name="T19" fmla="*/ 481 h 1423"/>
                <a:gd name="T20" fmla="*/ 959 w 1276"/>
                <a:gd name="T21" fmla="*/ 495 h 1423"/>
                <a:gd name="T22" fmla="*/ 939 w 1276"/>
                <a:gd name="T23" fmla="*/ 505 h 1423"/>
                <a:gd name="T24" fmla="*/ 937 w 1276"/>
                <a:gd name="T25" fmla="*/ 524 h 1423"/>
                <a:gd name="T26" fmla="*/ 913 w 1276"/>
                <a:gd name="T27" fmla="*/ 529 h 1423"/>
                <a:gd name="T28" fmla="*/ 840 w 1276"/>
                <a:gd name="T29" fmla="*/ 534 h 1423"/>
                <a:gd name="T30" fmla="*/ 840 w 1276"/>
                <a:gd name="T31" fmla="*/ 595 h 1423"/>
                <a:gd name="T32" fmla="*/ 765 w 1276"/>
                <a:gd name="T33" fmla="*/ 876 h 1423"/>
                <a:gd name="T34" fmla="*/ 763 w 1276"/>
                <a:gd name="T35" fmla="*/ 544 h 1423"/>
                <a:gd name="T36" fmla="*/ 690 w 1276"/>
                <a:gd name="T37" fmla="*/ 539 h 1423"/>
                <a:gd name="T38" fmla="*/ 668 w 1276"/>
                <a:gd name="T39" fmla="*/ 534 h 1423"/>
                <a:gd name="T40" fmla="*/ 661 w 1276"/>
                <a:gd name="T41" fmla="*/ 515 h 1423"/>
                <a:gd name="T42" fmla="*/ 646 w 1276"/>
                <a:gd name="T43" fmla="*/ 502 h 1423"/>
                <a:gd name="T44" fmla="*/ 625 w 1276"/>
                <a:gd name="T45" fmla="*/ 490 h 1423"/>
                <a:gd name="T46" fmla="*/ 617 w 1276"/>
                <a:gd name="T47" fmla="*/ 471 h 1423"/>
                <a:gd name="T48" fmla="*/ 600 w 1276"/>
                <a:gd name="T49" fmla="*/ 456 h 1423"/>
                <a:gd name="T50" fmla="*/ 559 w 1276"/>
                <a:gd name="T51" fmla="*/ 444 h 1423"/>
                <a:gd name="T52" fmla="*/ 482 w 1276"/>
                <a:gd name="T53" fmla="*/ 449 h 1423"/>
                <a:gd name="T54" fmla="*/ 460 w 1276"/>
                <a:gd name="T55" fmla="*/ 471 h 1423"/>
                <a:gd name="T56" fmla="*/ 436 w 1276"/>
                <a:gd name="T57" fmla="*/ 493 h 1423"/>
                <a:gd name="T58" fmla="*/ 411 w 1276"/>
                <a:gd name="T59" fmla="*/ 512 h 1423"/>
                <a:gd name="T60" fmla="*/ 385 w 1276"/>
                <a:gd name="T61" fmla="*/ 534 h 1423"/>
                <a:gd name="T62" fmla="*/ 382 w 1276"/>
                <a:gd name="T63" fmla="*/ 536 h 1423"/>
                <a:gd name="T64" fmla="*/ 322 w 1276"/>
                <a:gd name="T65" fmla="*/ 328 h 1423"/>
                <a:gd name="T66" fmla="*/ 264 w 1276"/>
                <a:gd name="T67" fmla="*/ 274 h 1423"/>
                <a:gd name="T68" fmla="*/ 201 w 1276"/>
                <a:gd name="T69" fmla="*/ 233 h 1423"/>
                <a:gd name="T70" fmla="*/ 179 w 1276"/>
                <a:gd name="T71" fmla="*/ 328 h 1423"/>
                <a:gd name="T72" fmla="*/ 181 w 1276"/>
                <a:gd name="T73" fmla="*/ 255 h 1423"/>
                <a:gd name="T74" fmla="*/ 179 w 1276"/>
                <a:gd name="T75" fmla="*/ 252 h 1423"/>
                <a:gd name="T76" fmla="*/ 181 w 1276"/>
                <a:gd name="T77" fmla="*/ 213 h 1423"/>
                <a:gd name="T78" fmla="*/ 179 w 1276"/>
                <a:gd name="T79" fmla="*/ 213 h 1423"/>
                <a:gd name="T80" fmla="*/ 181 w 1276"/>
                <a:gd name="T81" fmla="*/ 174 h 1423"/>
                <a:gd name="T82" fmla="*/ 179 w 1276"/>
                <a:gd name="T83" fmla="*/ 172 h 1423"/>
                <a:gd name="T84" fmla="*/ 116 w 1276"/>
                <a:gd name="T85" fmla="*/ 109 h 1423"/>
                <a:gd name="T86" fmla="*/ 29 w 1276"/>
                <a:gd name="T87" fmla="*/ 104 h 1423"/>
                <a:gd name="T88" fmla="*/ 29 w 1276"/>
                <a:gd name="T89" fmla="*/ 31 h 1423"/>
                <a:gd name="T90" fmla="*/ 29 w 1276"/>
                <a:gd name="T91" fmla="*/ 9 h 1423"/>
                <a:gd name="T92" fmla="*/ 29 w 1276"/>
                <a:gd name="T93" fmla="*/ 0 h 1423"/>
                <a:gd name="T94" fmla="*/ 0 w 1276"/>
                <a:gd name="T95" fmla="*/ 1423 h 1423"/>
                <a:gd name="T96" fmla="*/ 1276 w 1276"/>
                <a:gd name="T97" fmla="*/ 534 h 1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76" h="1423">
                  <a:moveTo>
                    <a:pt x="1276" y="534"/>
                  </a:moveTo>
                  <a:lnTo>
                    <a:pt x="1242" y="529"/>
                  </a:lnTo>
                  <a:lnTo>
                    <a:pt x="1223" y="532"/>
                  </a:lnTo>
                  <a:lnTo>
                    <a:pt x="1225" y="527"/>
                  </a:lnTo>
                  <a:lnTo>
                    <a:pt x="1196" y="524"/>
                  </a:lnTo>
                  <a:lnTo>
                    <a:pt x="1196" y="505"/>
                  </a:lnTo>
                  <a:lnTo>
                    <a:pt x="1172" y="502"/>
                  </a:lnTo>
                  <a:lnTo>
                    <a:pt x="1172" y="483"/>
                  </a:lnTo>
                  <a:lnTo>
                    <a:pt x="1148" y="481"/>
                  </a:lnTo>
                  <a:lnTo>
                    <a:pt x="1148" y="461"/>
                  </a:lnTo>
                  <a:lnTo>
                    <a:pt x="1123" y="459"/>
                  </a:lnTo>
                  <a:lnTo>
                    <a:pt x="1126" y="439"/>
                  </a:lnTo>
                  <a:lnTo>
                    <a:pt x="1094" y="434"/>
                  </a:lnTo>
                  <a:lnTo>
                    <a:pt x="1043" y="434"/>
                  </a:lnTo>
                  <a:lnTo>
                    <a:pt x="1007" y="439"/>
                  </a:lnTo>
                  <a:lnTo>
                    <a:pt x="1005" y="447"/>
                  </a:lnTo>
                  <a:lnTo>
                    <a:pt x="1005" y="459"/>
                  </a:lnTo>
                  <a:lnTo>
                    <a:pt x="985" y="461"/>
                  </a:lnTo>
                  <a:lnTo>
                    <a:pt x="983" y="471"/>
                  </a:lnTo>
                  <a:lnTo>
                    <a:pt x="981" y="481"/>
                  </a:lnTo>
                  <a:lnTo>
                    <a:pt x="964" y="483"/>
                  </a:lnTo>
                  <a:lnTo>
                    <a:pt x="959" y="495"/>
                  </a:lnTo>
                  <a:lnTo>
                    <a:pt x="959" y="502"/>
                  </a:lnTo>
                  <a:lnTo>
                    <a:pt x="939" y="505"/>
                  </a:lnTo>
                  <a:lnTo>
                    <a:pt x="937" y="517"/>
                  </a:lnTo>
                  <a:lnTo>
                    <a:pt x="937" y="524"/>
                  </a:lnTo>
                  <a:lnTo>
                    <a:pt x="915" y="527"/>
                  </a:lnTo>
                  <a:lnTo>
                    <a:pt x="913" y="529"/>
                  </a:lnTo>
                  <a:lnTo>
                    <a:pt x="893" y="527"/>
                  </a:lnTo>
                  <a:lnTo>
                    <a:pt x="840" y="534"/>
                  </a:lnTo>
                  <a:lnTo>
                    <a:pt x="840" y="595"/>
                  </a:lnTo>
                  <a:lnTo>
                    <a:pt x="840" y="595"/>
                  </a:lnTo>
                  <a:lnTo>
                    <a:pt x="840" y="876"/>
                  </a:lnTo>
                  <a:lnTo>
                    <a:pt x="765" y="876"/>
                  </a:lnTo>
                  <a:lnTo>
                    <a:pt x="763" y="600"/>
                  </a:lnTo>
                  <a:lnTo>
                    <a:pt x="763" y="544"/>
                  </a:lnTo>
                  <a:lnTo>
                    <a:pt x="707" y="536"/>
                  </a:lnTo>
                  <a:lnTo>
                    <a:pt x="690" y="539"/>
                  </a:lnTo>
                  <a:lnTo>
                    <a:pt x="688" y="536"/>
                  </a:lnTo>
                  <a:lnTo>
                    <a:pt x="668" y="534"/>
                  </a:lnTo>
                  <a:lnTo>
                    <a:pt x="668" y="527"/>
                  </a:lnTo>
                  <a:lnTo>
                    <a:pt x="661" y="515"/>
                  </a:lnTo>
                  <a:lnTo>
                    <a:pt x="646" y="512"/>
                  </a:lnTo>
                  <a:lnTo>
                    <a:pt x="646" y="502"/>
                  </a:lnTo>
                  <a:lnTo>
                    <a:pt x="639" y="493"/>
                  </a:lnTo>
                  <a:lnTo>
                    <a:pt x="625" y="490"/>
                  </a:lnTo>
                  <a:lnTo>
                    <a:pt x="625" y="481"/>
                  </a:lnTo>
                  <a:lnTo>
                    <a:pt x="617" y="471"/>
                  </a:lnTo>
                  <a:lnTo>
                    <a:pt x="603" y="468"/>
                  </a:lnTo>
                  <a:lnTo>
                    <a:pt x="600" y="456"/>
                  </a:lnTo>
                  <a:lnTo>
                    <a:pt x="598" y="449"/>
                  </a:lnTo>
                  <a:lnTo>
                    <a:pt x="559" y="444"/>
                  </a:lnTo>
                  <a:lnTo>
                    <a:pt x="511" y="444"/>
                  </a:lnTo>
                  <a:lnTo>
                    <a:pt x="482" y="449"/>
                  </a:lnTo>
                  <a:lnTo>
                    <a:pt x="482" y="466"/>
                  </a:lnTo>
                  <a:lnTo>
                    <a:pt x="460" y="471"/>
                  </a:lnTo>
                  <a:lnTo>
                    <a:pt x="460" y="488"/>
                  </a:lnTo>
                  <a:lnTo>
                    <a:pt x="436" y="493"/>
                  </a:lnTo>
                  <a:lnTo>
                    <a:pt x="436" y="510"/>
                  </a:lnTo>
                  <a:lnTo>
                    <a:pt x="411" y="512"/>
                  </a:lnTo>
                  <a:lnTo>
                    <a:pt x="411" y="532"/>
                  </a:lnTo>
                  <a:lnTo>
                    <a:pt x="385" y="534"/>
                  </a:lnTo>
                  <a:lnTo>
                    <a:pt x="385" y="536"/>
                  </a:lnTo>
                  <a:lnTo>
                    <a:pt x="382" y="536"/>
                  </a:lnTo>
                  <a:lnTo>
                    <a:pt x="382" y="328"/>
                  </a:lnTo>
                  <a:lnTo>
                    <a:pt x="322" y="328"/>
                  </a:lnTo>
                  <a:lnTo>
                    <a:pt x="322" y="274"/>
                  </a:lnTo>
                  <a:lnTo>
                    <a:pt x="264" y="274"/>
                  </a:lnTo>
                  <a:lnTo>
                    <a:pt x="264" y="233"/>
                  </a:lnTo>
                  <a:lnTo>
                    <a:pt x="201" y="233"/>
                  </a:lnTo>
                  <a:lnTo>
                    <a:pt x="201" y="328"/>
                  </a:lnTo>
                  <a:lnTo>
                    <a:pt x="179" y="328"/>
                  </a:lnTo>
                  <a:lnTo>
                    <a:pt x="179" y="257"/>
                  </a:lnTo>
                  <a:lnTo>
                    <a:pt x="181" y="255"/>
                  </a:lnTo>
                  <a:lnTo>
                    <a:pt x="181" y="252"/>
                  </a:lnTo>
                  <a:lnTo>
                    <a:pt x="179" y="252"/>
                  </a:lnTo>
                  <a:lnTo>
                    <a:pt x="179" y="218"/>
                  </a:lnTo>
                  <a:lnTo>
                    <a:pt x="181" y="213"/>
                  </a:lnTo>
                  <a:lnTo>
                    <a:pt x="181" y="213"/>
                  </a:lnTo>
                  <a:lnTo>
                    <a:pt x="179" y="213"/>
                  </a:lnTo>
                  <a:lnTo>
                    <a:pt x="179" y="177"/>
                  </a:lnTo>
                  <a:lnTo>
                    <a:pt x="181" y="174"/>
                  </a:lnTo>
                  <a:lnTo>
                    <a:pt x="181" y="172"/>
                  </a:lnTo>
                  <a:lnTo>
                    <a:pt x="179" y="172"/>
                  </a:lnTo>
                  <a:lnTo>
                    <a:pt x="179" y="114"/>
                  </a:lnTo>
                  <a:lnTo>
                    <a:pt x="116" y="109"/>
                  </a:lnTo>
                  <a:lnTo>
                    <a:pt x="43" y="104"/>
                  </a:lnTo>
                  <a:lnTo>
                    <a:pt x="29" y="104"/>
                  </a:lnTo>
                  <a:lnTo>
                    <a:pt x="29" y="51"/>
                  </a:lnTo>
                  <a:lnTo>
                    <a:pt x="29" y="31"/>
                  </a:lnTo>
                  <a:lnTo>
                    <a:pt x="29" y="26"/>
                  </a:lnTo>
                  <a:lnTo>
                    <a:pt x="29" y="9"/>
                  </a:lnTo>
                  <a:lnTo>
                    <a:pt x="29" y="4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1423"/>
                  </a:lnTo>
                  <a:lnTo>
                    <a:pt x="1276" y="1423"/>
                  </a:lnTo>
                  <a:lnTo>
                    <a:pt x="1276" y="5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" name="ïşḻïḋê"/>
            <p:cNvSpPr/>
            <p:nvPr/>
          </p:nvSpPr>
          <p:spPr bwMode="auto">
            <a:xfrm>
              <a:off x="2035441" y="4413770"/>
              <a:ext cx="2035444" cy="2744114"/>
            </a:xfrm>
            <a:custGeom>
              <a:avLst/>
              <a:gdLst>
                <a:gd name="T0" fmla="*/ 1281 w 1281"/>
                <a:gd name="T1" fmla="*/ 1727 h 1727"/>
                <a:gd name="T2" fmla="*/ 1194 w 1281"/>
                <a:gd name="T3" fmla="*/ 304 h 1727"/>
                <a:gd name="T4" fmla="*/ 1194 w 1281"/>
                <a:gd name="T5" fmla="*/ 284 h 1727"/>
                <a:gd name="T6" fmla="*/ 1194 w 1281"/>
                <a:gd name="T7" fmla="*/ 265 h 1727"/>
                <a:gd name="T8" fmla="*/ 1080 w 1281"/>
                <a:gd name="T9" fmla="*/ 126 h 1727"/>
                <a:gd name="T10" fmla="*/ 1073 w 1281"/>
                <a:gd name="T11" fmla="*/ 80 h 1727"/>
                <a:gd name="T12" fmla="*/ 1063 w 1281"/>
                <a:gd name="T13" fmla="*/ 92 h 1727"/>
                <a:gd name="T14" fmla="*/ 1063 w 1281"/>
                <a:gd name="T15" fmla="*/ 12 h 1727"/>
                <a:gd name="T16" fmla="*/ 1061 w 1281"/>
                <a:gd name="T17" fmla="*/ 0 h 1727"/>
                <a:gd name="T18" fmla="*/ 1053 w 1281"/>
                <a:gd name="T19" fmla="*/ 92 h 1727"/>
                <a:gd name="T20" fmla="*/ 1053 w 1281"/>
                <a:gd name="T21" fmla="*/ 12 h 1727"/>
                <a:gd name="T22" fmla="*/ 1048 w 1281"/>
                <a:gd name="T23" fmla="*/ 0 h 1727"/>
                <a:gd name="T24" fmla="*/ 1041 w 1281"/>
                <a:gd name="T25" fmla="*/ 92 h 1727"/>
                <a:gd name="T26" fmla="*/ 1041 w 1281"/>
                <a:gd name="T27" fmla="*/ 12 h 1727"/>
                <a:gd name="T28" fmla="*/ 1039 w 1281"/>
                <a:gd name="T29" fmla="*/ 0 h 1727"/>
                <a:gd name="T30" fmla="*/ 1031 w 1281"/>
                <a:gd name="T31" fmla="*/ 92 h 1727"/>
                <a:gd name="T32" fmla="*/ 1031 w 1281"/>
                <a:gd name="T33" fmla="*/ 12 h 1727"/>
                <a:gd name="T34" fmla="*/ 1027 w 1281"/>
                <a:gd name="T35" fmla="*/ 0 h 1727"/>
                <a:gd name="T36" fmla="*/ 1019 w 1281"/>
                <a:gd name="T37" fmla="*/ 92 h 1727"/>
                <a:gd name="T38" fmla="*/ 1019 w 1281"/>
                <a:gd name="T39" fmla="*/ 12 h 1727"/>
                <a:gd name="T40" fmla="*/ 1017 w 1281"/>
                <a:gd name="T41" fmla="*/ 0 h 1727"/>
                <a:gd name="T42" fmla="*/ 1010 w 1281"/>
                <a:gd name="T43" fmla="*/ 92 h 1727"/>
                <a:gd name="T44" fmla="*/ 1000 w 1281"/>
                <a:gd name="T45" fmla="*/ 80 h 1727"/>
                <a:gd name="T46" fmla="*/ 1000 w 1281"/>
                <a:gd name="T47" fmla="*/ 257 h 1727"/>
                <a:gd name="T48" fmla="*/ 1000 w 1281"/>
                <a:gd name="T49" fmla="*/ 282 h 1727"/>
                <a:gd name="T50" fmla="*/ 971 w 1281"/>
                <a:gd name="T51" fmla="*/ 304 h 1727"/>
                <a:gd name="T52" fmla="*/ 971 w 1281"/>
                <a:gd name="T53" fmla="*/ 313 h 1727"/>
                <a:gd name="T54" fmla="*/ 971 w 1281"/>
                <a:gd name="T55" fmla="*/ 335 h 1727"/>
                <a:gd name="T56" fmla="*/ 971 w 1281"/>
                <a:gd name="T57" fmla="*/ 403 h 1727"/>
                <a:gd name="T58" fmla="*/ 968 w 1281"/>
                <a:gd name="T59" fmla="*/ 413 h 1727"/>
                <a:gd name="T60" fmla="*/ 932 w 1281"/>
                <a:gd name="T61" fmla="*/ 738 h 1727"/>
                <a:gd name="T62" fmla="*/ 814 w 1281"/>
                <a:gd name="T63" fmla="*/ 515 h 1727"/>
                <a:gd name="T64" fmla="*/ 746 w 1281"/>
                <a:gd name="T65" fmla="*/ 386 h 1727"/>
                <a:gd name="T66" fmla="*/ 719 w 1281"/>
                <a:gd name="T67" fmla="*/ 515 h 1727"/>
                <a:gd name="T68" fmla="*/ 608 w 1281"/>
                <a:gd name="T69" fmla="*/ 386 h 1727"/>
                <a:gd name="T70" fmla="*/ 557 w 1281"/>
                <a:gd name="T71" fmla="*/ 515 h 1727"/>
                <a:gd name="T72" fmla="*/ 513 w 1281"/>
                <a:gd name="T73" fmla="*/ 1195 h 1727"/>
                <a:gd name="T74" fmla="*/ 458 w 1281"/>
                <a:gd name="T75" fmla="*/ 1200 h 1727"/>
                <a:gd name="T76" fmla="*/ 431 w 1281"/>
                <a:gd name="T77" fmla="*/ 1202 h 1727"/>
                <a:gd name="T78" fmla="*/ 412 w 1281"/>
                <a:gd name="T79" fmla="*/ 1180 h 1727"/>
                <a:gd name="T80" fmla="*/ 370 w 1281"/>
                <a:gd name="T81" fmla="*/ 1207 h 1727"/>
                <a:gd name="T82" fmla="*/ 370 w 1281"/>
                <a:gd name="T83" fmla="*/ 1210 h 1727"/>
                <a:gd name="T84" fmla="*/ 370 w 1281"/>
                <a:gd name="T85" fmla="*/ 1200 h 1727"/>
                <a:gd name="T86" fmla="*/ 322 w 1281"/>
                <a:gd name="T87" fmla="*/ 1188 h 1727"/>
                <a:gd name="T88" fmla="*/ 312 w 1281"/>
                <a:gd name="T89" fmla="*/ 1202 h 1727"/>
                <a:gd name="T90" fmla="*/ 269 w 1281"/>
                <a:gd name="T91" fmla="*/ 1197 h 1727"/>
                <a:gd name="T92" fmla="*/ 140 w 1281"/>
                <a:gd name="T93" fmla="*/ 1193 h 1727"/>
                <a:gd name="T94" fmla="*/ 0 w 1281"/>
                <a:gd name="T95" fmla="*/ 1210 h 1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81" h="1727">
                  <a:moveTo>
                    <a:pt x="0" y="1727"/>
                  </a:moveTo>
                  <a:lnTo>
                    <a:pt x="1281" y="1727"/>
                  </a:lnTo>
                  <a:lnTo>
                    <a:pt x="1281" y="304"/>
                  </a:lnTo>
                  <a:lnTo>
                    <a:pt x="1194" y="304"/>
                  </a:lnTo>
                  <a:lnTo>
                    <a:pt x="1194" y="291"/>
                  </a:lnTo>
                  <a:lnTo>
                    <a:pt x="1194" y="284"/>
                  </a:lnTo>
                  <a:lnTo>
                    <a:pt x="1194" y="267"/>
                  </a:lnTo>
                  <a:lnTo>
                    <a:pt x="1194" y="265"/>
                  </a:lnTo>
                  <a:lnTo>
                    <a:pt x="1080" y="265"/>
                  </a:lnTo>
                  <a:lnTo>
                    <a:pt x="1080" y="126"/>
                  </a:lnTo>
                  <a:lnTo>
                    <a:pt x="1080" y="80"/>
                  </a:lnTo>
                  <a:lnTo>
                    <a:pt x="1073" y="80"/>
                  </a:lnTo>
                  <a:lnTo>
                    <a:pt x="1073" y="92"/>
                  </a:lnTo>
                  <a:lnTo>
                    <a:pt x="1063" y="92"/>
                  </a:lnTo>
                  <a:lnTo>
                    <a:pt x="1063" y="12"/>
                  </a:lnTo>
                  <a:lnTo>
                    <a:pt x="1063" y="12"/>
                  </a:lnTo>
                  <a:lnTo>
                    <a:pt x="1063" y="0"/>
                  </a:lnTo>
                  <a:lnTo>
                    <a:pt x="1061" y="0"/>
                  </a:lnTo>
                  <a:lnTo>
                    <a:pt x="1061" y="92"/>
                  </a:lnTo>
                  <a:lnTo>
                    <a:pt x="1053" y="92"/>
                  </a:lnTo>
                  <a:lnTo>
                    <a:pt x="1053" y="12"/>
                  </a:lnTo>
                  <a:lnTo>
                    <a:pt x="1053" y="12"/>
                  </a:lnTo>
                  <a:lnTo>
                    <a:pt x="1053" y="0"/>
                  </a:lnTo>
                  <a:lnTo>
                    <a:pt x="1048" y="0"/>
                  </a:lnTo>
                  <a:lnTo>
                    <a:pt x="1048" y="92"/>
                  </a:lnTo>
                  <a:lnTo>
                    <a:pt x="1041" y="92"/>
                  </a:lnTo>
                  <a:lnTo>
                    <a:pt x="1041" y="12"/>
                  </a:lnTo>
                  <a:lnTo>
                    <a:pt x="1041" y="12"/>
                  </a:lnTo>
                  <a:lnTo>
                    <a:pt x="1041" y="0"/>
                  </a:lnTo>
                  <a:lnTo>
                    <a:pt x="1039" y="0"/>
                  </a:lnTo>
                  <a:lnTo>
                    <a:pt x="1039" y="92"/>
                  </a:lnTo>
                  <a:lnTo>
                    <a:pt x="1031" y="92"/>
                  </a:lnTo>
                  <a:lnTo>
                    <a:pt x="1031" y="12"/>
                  </a:lnTo>
                  <a:lnTo>
                    <a:pt x="1031" y="12"/>
                  </a:lnTo>
                  <a:lnTo>
                    <a:pt x="1029" y="0"/>
                  </a:lnTo>
                  <a:lnTo>
                    <a:pt x="1027" y="0"/>
                  </a:lnTo>
                  <a:lnTo>
                    <a:pt x="1027" y="92"/>
                  </a:lnTo>
                  <a:lnTo>
                    <a:pt x="1019" y="92"/>
                  </a:lnTo>
                  <a:lnTo>
                    <a:pt x="1019" y="12"/>
                  </a:lnTo>
                  <a:lnTo>
                    <a:pt x="1019" y="12"/>
                  </a:lnTo>
                  <a:lnTo>
                    <a:pt x="1019" y="0"/>
                  </a:lnTo>
                  <a:lnTo>
                    <a:pt x="1017" y="0"/>
                  </a:lnTo>
                  <a:lnTo>
                    <a:pt x="1017" y="92"/>
                  </a:lnTo>
                  <a:lnTo>
                    <a:pt x="1010" y="92"/>
                  </a:lnTo>
                  <a:lnTo>
                    <a:pt x="1007" y="80"/>
                  </a:lnTo>
                  <a:lnTo>
                    <a:pt x="1000" y="80"/>
                  </a:lnTo>
                  <a:lnTo>
                    <a:pt x="1000" y="253"/>
                  </a:lnTo>
                  <a:lnTo>
                    <a:pt x="1000" y="257"/>
                  </a:lnTo>
                  <a:lnTo>
                    <a:pt x="1000" y="274"/>
                  </a:lnTo>
                  <a:lnTo>
                    <a:pt x="1000" y="282"/>
                  </a:lnTo>
                  <a:lnTo>
                    <a:pt x="1000" y="304"/>
                  </a:lnTo>
                  <a:lnTo>
                    <a:pt x="971" y="304"/>
                  </a:lnTo>
                  <a:lnTo>
                    <a:pt x="971" y="308"/>
                  </a:lnTo>
                  <a:lnTo>
                    <a:pt x="971" y="313"/>
                  </a:lnTo>
                  <a:lnTo>
                    <a:pt x="971" y="333"/>
                  </a:lnTo>
                  <a:lnTo>
                    <a:pt x="971" y="335"/>
                  </a:lnTo>
                  <a:lnTo>
                    <a:pt x="971" y="355"/>
                  </a:lnTo>
                  <a:lnTo>
                    <a:pt x="971" y="403"/>
                  </a:lnTo>
                  <a:lnTo>
                    <a:pt x="968" y="403"/>
                  </a:lnTo>
                  <a:lnTo>
                    <a:pt x="968" y="413"/>
                  </a:lnTo>
                  <a:lnTo>
                    <a:pt x="932" y="413"/>
                  </a:lnTo>
                  <a:lnTo>
                    <a:pt x="932" y="738"/>
                  </a:lnTo>
                  <a:lnTo>
                    <a:pt x="814" y="738"/>
                  </a:lnTo>
                  <a:lnTo>
                    <a:pt x="814" y="515"/>
                  </a:lnTo>
                  <a:lnTo>
                    <a:pt x="746" y="515"/>
                  </a:lnTo>
                  <a:lnTo>
                    <a:pt x="746" y="386"/>
                  </a:lnTo>
                  <a:lnTo>
                    <a:pt x="719" y="386"/>
                  </a:lnTo>
                  <a:lnTo>
                    <a:pt x="719" y="515"/>
                  </a:lnTo>
                  <a:lnTo>
                    <a:pt x="608" y="515"/>
                  </a:lnTo>
                  <a:lnTo>
                    <a:pt x="608" y="386"/>
                  </a:lnTo>
                  <a:lnTo>
                    <a:pt x="557" y="386"/>
                  </a:lnTo>
                  <a:lnTo>
                    <a:pt x="557" y="515"/>
                  </a:lnTo>
                  <a:lnTo>
                    <a:pt x="513" y="515"/>
                  </a:lnTo>
                  <a:lnTo>
                    <a:pt x="513" y="1195"/>
                  </a:lnTo>
                  <a:lnTo>
                    <a:pt x="475" y="1197"/>
                  </a:lnTo>
                  <a:lnTo>
                    <a:pt x="458" y="1200"/>
                  </a:lnTo>
                  <a:lnTo>
                    <a:pt x="433" y="1202"/>
                  </a:lnTo>
                  <a:lnTo>
                    <a:pt x="431" y="1202"/>
                  </a:lnTo>
                  <a:lnTo>
                    <a:pt x="421" y="1188"/>
                  </a:lnTo>
                  <a:lnTo>
                    <a:pt x="412" y="1180"/>
                  </a:lnTo>
                  <a:lnTo>
                    <a:pt x="373" y="1200"/>
                  </a:lnTo>
                  <a:lnTo>
                    <a:pt x="370" y="1207"/>
                  </a:lnTo>
                  <a:lnTo>
                    <a:pt x="370" y="1210"/>
                  </a:lnTo>
                  <a:lnTo>
                    <a:pt x="370" y="1210"/>
                  </a:lnTo>
                  <a:lnTo>
                    <a:pt x="370" y="1207"/>
                  </a:lnTo>
                  <a:lnTo>
                    <a:pt x="370" y="1200"/>
                  </a:lnTo>
                  <a:lnTo>
                    <a:pt x="332" y="1180"/>
                  </a:lnTo>
                  <a:lnTo>
                    <a:pt x="322" y="1188"/>
                  </a:lnTo>
                  <a:lnTo>
                    <a:pt x="312" y="1202"/>
                  </a:lnTo>
                  <a:lnTo>
                    <a:pt x="312" y="1202"/>
                  </a:lnTo>
                  <a:lnTo>
                    <a:pt x="288" y="1200"/>
                  </a:lnTo>
                  <a:lnTo>
                    <a:pt x="269" y="1197"/>
                  </a:lnTo>
                  <a:lnTo>
                    <a:pt x="160" y="1193"/>
                  </a:lnTo>
                  <a:lnTo>
                    <a:pt x="140" y="1193"/>
                  </a:lnTo>
                  <a:lnTo>
                    <a:pt x="22" y="1205"/>
                  </a:lnTo>
                  <a:lnTo>
                    <a:pt x="0" y="1210"/>
                  </a:lnTo>
                  <a:lnTo>
                    <a:pt x="0" y="17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10" name="işḻïḑê"/>
            <p:cNvSpPr/>
            <p:nvPr/>
          </p:nvSpPr>
          <p:spPr bwMode="auto">
            <a:xfrm>
              <a:off x="3175" y="4502751"/>
              <a:ext cx="2032266" cy="2655133"/>
            </a:xfrm>
            <a:custGeom>
              <a:avLst/>
              <a:gdLst>
                <a:gd name="T0" fmla="*/ 933 w 1279"/>
                <a:gd name="T1" fmla="*/ 988 h 1671"/>
                <a:gd name="T2" fmla="*/ 712 w 1279"/>
                <a:gd name="T3" fmla="*/ 933 h 1671"/>
                <a:gd name="T4" fmla="*/ 577 w 1279"/>
                <a:gd name="T5" fmla="*/ 1207 h 1671"/>
                <a:gd name="T6" fmla="*/ 303 w 1279"/>
                <a:gd name="T7" fmla="*/ 1336 h 1671"/>
                <a:gd name="T8" fmla="*/ 230 w 1279"/>
                <a:gd name="T9" fmla="*/ 517 h 1671"/>
                <a:gd name="T10" fmla="*/ 194 w 1279"/>
                <a:gd name="T11" fmla="*/ 505 h 1671"/>
                <a:gd name="T12" fmla="*/ 240 w 1279"/>
                <a:gd name="T13" fmla="*/ 498 h 1671"/>
                <a:gd name="T14" fmla="*/ 211 w 1279"/>
                <a:gd name="T15" fmla="*/ 486 h 1671"/>
                <a:gd name="T16" fmla="*/ 194 w 1279"/>
                <a:gd name="T17" fmla="*/ 481 h 1671"/>
                <a:gd name="T18" fmla="*/ 192 w 1279"/>
                <a:gd name="T19" fmla="*/ 432 h 1671"/>
                <a:gd name="T20" fmla="*/ 182 w 1279"/>
                <a:gd name="T21" fmla="*/ 427 h 1671"/>
                <a:gd name="T22" fmla="*/ 204 w 1279"/>
                <a:gd name="T23" fmla="*/ 425 h 1671"/>
                <a:gd name="T24" fmla="*/ 218 w 1279"/>
                <a:gd name="T25" fmla="*/ 425 h 1671"/>
                <a:gd name="T26" fmla="*/ 233 w 1279"/>
                <a:gd name="T27" fmla="*/ 418 h 1671"/>
                <a:gd name="T28" fmla="*/ 235 w 1279"/>
                <a:gd name="T29" fmla="*/ 410 h 1671"/>
                <a:gd name="T30" fmla="*/ 189 w 1279"/>
                <a:gd name="T31" fmla="*/ 398 h 1671"/>
                <a:gd name="T32" fmla="*/ 172 w 1279"/>
                <a:gd name="T33" fmla="*/ 379 h 1671"/>
                <a:gd name="T34" fmla="*/ 168 w 1279"/>
                <a:gd name="T35" fmla="*/ 245 h 1671"/>
                <a:gd name="T36" fmla="*/ 163 w 1279"/>
                <a:gd name="T37" fmla="*/ 146 h 1671"/>
                <a:gd name="T38" fmla="*/ 158 w 1279"/>
                <a:gd name="T39" fmla="*/ 63 h 1671"/>
                <a:gd name="T40" fmla="*/ 155 w 1279"/>
                <a:gd name="T41" fmla="*/ 0 h 1671"/>
                <a:gd name="T42" fmla="*/ 153 w 1279"/>
                <a:gd name="T43" fmla="*/ 0 h 1671"/>
                <a:gd name="T44" fmla="*/ 151 w 1279"/>
                <a:gd name="T45" fmla="*/ 65 h 1671"/>
                <a:gd name="T46" fmla="*/ 148 w 1279"/>
                <a:gd name="T47" fmla="*/ 146 h 1671"/>
                <a:gd name="T48" fmla="*/ 146 w 1279"/>
                <a:gd name="T49" fmla="*/ 374 h 1671"/>
                <a:gd name="T50" fmla="*/ 138 w 1279"/>
                <a:gd name="T51" fmla="*/ 386 h 1671"/>
                <a:gd name="T52" fmla="*/ 117 w 1279"/>
                <a:gd name="T53" fmla="*/ 401 h 1671"/>
                <a:gd name="T54" fmla="*/ 80 w 1279"/>
                <a:gd name="T55" fmla="*/ 418 h 1671"/>
                <a:gd name="T56" fmla="*/ 95 w 1279"/>
                <a:gd name="T57" fmla="*/ 425 h 1671"/>
                <a:gd name="T58" fmla="*/ 112 w 1279"/>
                <a:gd name="T59" fmla="*/ 427 h 1671"/>
                <a:gd name="T60" fmla="*/ 129 w 1279"/>
                <a:gd name="T61" fmla="*/ 427 h 1671"/>
                <a:gd name="T62" fmla="*/ 119 w 1279"/>
                <a:gd name="T63" fmla="*/ 439 h 1671"/>
                <a:gd name="T64" fmla="*/ 121 w 1279"/>
                <a:gd name="T65" fmla="*/ 481 h 1671"/>
                <a:gd name="T66" fmla="*/ 100 w 1279"/>
                <a:gd name="T67" fmla="*/ 486 h 1671"/>
                <a:gd name="T68" fmla="*/ 75 w 1279"/>
                <a:gd name="T69" fmla="*/ 498 h 1671"/>
                <a:gd name="T70" fmla="*/ 121 w 1279"/>
                <a:gd name="T71" fmla="*/ 507 h 1671"/>
                <a:gd name="T72" fmla="*/ 85 w 1279"/>
                <a:gd name="T73" fmla="*/ 520 h 1671"/>
                <a:gd name="T74" fmla="*/ 27 w 1279"/>
                <a:gd name="T75" fmla="*/ 1333 h 1671"/>
                <a:gd name="T76" fmla="*/ 126 w 1279"/>
                <a:gd name="T77" fmla="*/ 498 h 1671"/>
                <a:gd name="T78" fmla="*/ 121 w 1279"/>
                <a:gd name="T79" fmla="*/ 498 h 1671"/>
                <a:gd name="T80" fmla="*/ 121 w 1279"/>
                <a:gd name="T81" fmla="*/ 568 h 1671"/>
                <a:gd name="T82" fmla="*/ 119 w 1279"/>
                <a:gd name="T83" fmla="*/ 656 h 1671"/>
                <a:gd name="T84" fmla="*/ 138 w 1279"/>
                <a:gd name="T85" fmla="*/ 799 h 1671"/>
                <a:gd name="T86" fmla="*/ 124 w 1279"/>
                <a:gd name="T87" fmla="*/ 814 h 1671"/>
                <a:gd name="T88" fmla="*/ 119 w 1279"/>
                <a:gd name="T89" fmla="*/ 937 h 1671"/>
                <a:gd name="T90" fmla="*/ 141 w 1279"/>
                <a:gd name="T91" fmla="*/ 1071 h 1671"/>
                <a:gd name="T92" fmla="*/ 121 w 1279"/>
                <a:gd name="T93" fmla="*/ 1188 h 1671"/>
                <a:gd name="T94" fmla="*/ 129 w 1279"/>
                <a:gd name="T95" fmla="*/ 1185 h 1671"/>
                <a:gd name="T96" fmla="*/ 182 w 1279"/>
                <a:gd name="T97" fmla="*/ 656 h 1671"/>
                <a:gd name="T98" fmla="*/ 189 w 1279"/>
                <a:gd name="T99" fmla="*/ 799 h 1671"/>
                <a:gd name="T100" fmla="*/ 199 w 1279"/>
                <a:gd name="T101" fmla="*/ 937 h 1671"/>
                <a:gd name="T102" fmla="*/ 199 w 1279"/>
                <a:gd name="T103" fmla="*/ 957 h 1671"/>
                <a:gd name="T104" fmla="*/ 184 w 1279"/>
                <a:gd name="T105" fmla="*/ 1185 h 1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79" h="1671">
                  <a:moveTo>
                    <a:pt x="1279" y="1154"/>
                  </a:moveTo>
                  <a:lnTo>
                    <a:pt x="1182" y="1178"/>
                  </a:lnTo>
                  <a:lnTo>
                    <a:pt x="1100" y="1212"/>
                  </a:lnTo>
                  <a:lnTo>
                    <a:pt x="1063" y="1212"/>
                  </a:lnTo>
                  <a:lnTo>
                    <a:pt x="1063" y="988"/>
                  </a:lnTo>
                  <a:lnTo>
                    <a:pt x="933" y="988"/>
                  </a:lnTo>
                  <a:lnTo>
                    <a:pt x="933" y="933"/>
                  </a:lnTo>
                  <a:lnTo>
                    <a:pt x="894" y="933"/>
                  </a:lnTo>
                  <a:lnTo>
                    <a:pt x="894" y="877"/>
                  </a:lnTo>
                  <a:lnTo>
                    <a:pt x="783" y="877"/>
                  </a:lnTo>
                  <a:lnTo>
                    <a:pt x="783" y="933"/>
                  </a:lnTo>
                  <a:lnTo>
                    <a:pt x="712" y="933"/>
                  </a:lnTo>
                  <a:lnTo>
                    <a:pt x="712" y="988"/>
                  </a:lnTo>
                  <a:lnTo>
                    <a:pt x="671" y="988"/>
                  </a:lnTo>
                  <a:lnTo>
                    <a:pt x="671" y="1183"/>
                  </a:lnTo>
                  <a:lnTo>
                    <a:pt x="659" y="1180"/>
                  </a:lnTo>
                  <a:lnTo>
                    <a:pt x="618" y="1188"/>
                  </a:lnTo>
                  <a:lnTo>
                    <a:pt x="577" y="1207"/>
                  </a:lnTo>
                  <a:lnTo>
                    <a:pt x="543" y="1236"/>
                  </a:lnTo>
                  <a:lnTo>
                    <a:pt x="519" y="1275"/>
                  </a:lnTo>
                  <a:lnTo>
                    <a:pt x="506" y="1309"/>
                  </a:lnTo>
                  <a:lnTo>
                    <a:pt x="315" y="1309"/>
                  </a:lnTo>
                  <a:lnTo>
                    <a:pt x="303" y="1314"/>
                  </a:lnTo>
                  <a:lnTo>
                    <a:pt x="303" y="1336"/>
                  </a:lnTo>
                  <a:lnTo>
                    <a:pt x="247" y="1333"/>
                  </a:lnTo>
                  <a:lnTo>
                    <a:pt x="243" y="520"/>
                  </a:lnTo>
                  <a:lnTo>
                    <a:pt x="243" y="520"/>
                  </a:lnTo>
                  <a:lnTo>
                    <a:pt x="240" y="520"/>
                  </a:lnTo>
                  <a:lnTo>
                    <a:pt x="235" y="517"/>
                  </a:lnTo>
                  <a:lnTo>
                    <a:pt x="230" y="517"/>
                  </a:lnTo>
                  <a:lnTo>
                    <a:pt x="230" y="517"/>
                  </a:lnTo>
                  <a:lnTo>
                    <a:pt x="230" y="510"/>
                  </a:lnTo>
                  <a:lnTo>
                    <a:pt x="228" y="507"/>
                  </a:lnTo>
                  <a:lnTo>
                    <a:pt x="221" y="507"/>
                  </a:lnTo>
                  <a:lnTo>
                    <a:pt x="209" y="507"/>
                  </a:lnTo>
                  <a:lnTo>
                    <a:pt x="194" y="505"/>
                  </a:lnTo>
                  <a:lnTo>
                    <a:pt x="184" y="505"/>
                  </a:lnTo>
                  <a:lnTo>
                    <a:pt x="184" y="500"/>
                  </a:lnTo>
                  <a:lnTo>
                    <a:pt x="192" y="500"/>
                  </a:lnTo>
                  <a:lnTo>
                    <a:pt x="211" y="500"/>
                  </a:lnTo>
                  <a:lnTo>
                    <a:pt x="228" y="498"/>
                  </a:lnTo>
                  <a:lnTo>
                    <a:pt x="240" y="498"/>
                  </a:lnTo>
                  <a:lnTo>
                    <a:pt x="247" y="495"/>
                  </a:lnTo>
                  <a:lnTo>
                    <a:pt x="247" y="493"/>
                  </a:lnTo>
                  <a:lnTo>
                    <a:pt x="247" y="490"/>
                  </a:lnTo>
                  <a:lnTo>
                    <a:pt x="240" y="488"/>
                  </a:lnTo>
                  <a:lnTo>
                    <a:pt x="228" y="486"/>
                  </a:lnTo>
                  <a:lnTo>
                    <a:pt x="211" y="486"/>
                  </a:lnTo>
                  <a:lnTo>
                    <a:pt x="189" y="486"/>
                  </a:lnTo>
                  <a:lnTo>
                    <a:pt x="184" y="486"/>
                  </a:lnTo>
                  <a:lnTo>
                    <a:pt x="184" y="483"/>
                  </a:lnTo>
                  <a:lnTo>
                    <a:pt x="187" y="483"/>
                  </a:lnTo>
                  <a:lnTo>
                    <a:pt x="192" y="481"/>
                  </a:lnTo>
                  <a:lnTo>
                    <a:pt x="194" y="481"/>
                  </a:lnTo>
                  <a:lnTo>
                    <a:pt x="194" y="478"/>
                  </a:lnTo>
                  <a:lnTo>
                    <a:pt x="194" y="469"/>
                  </a:lnTo>
                  <a:lnTo>
                    <a:pt x="192" y="459"/>
                  </a:lnTo>
                  <a:lnTo>
                    <a:pt x="192" y="449"/>
                  </a:lnTo>
                  <a:lnTo>
                    <a:pt x="192" y="439"/>
                  </a:lnTo>
                  <a:lnTo>
                    <a:pt x="192" y="432"/>
                  </a:lnTo>
                  <a:lnTo>
                    <a:pt x="192" y="430"/>
                  </a:lnTo>
                  <a:lnTo>
                    <a:pt x="192" y="430"/>
                  </a:lnTo>
                  <a:lnTo>
                    <a:pt x="189" y="427"/>
                  </a:lnTo>
                  <a:lnTo>
                    <a:pt x="184" y="427"/>
                  </a:lnTo>
                  <a:lnTo>
                    <a:pt x="182" y="427"/>
                  </a:lnTo>
                  <a:lnTo>
                    <a:pt x="182" y="427"/>
                  </a:lnTo>
                  <a:lnTo>
                    <a:pt x="184" y="427"/>
                  </a:lnTo>
                  <a:lnTo>
                    <a:pt x="189" y="427"/>
                  </a:lnTo>
                  <a:lnTo>
                    <a:pt x="189" y="427"/>
                  </a:lnTo>
                  <a:lnTo>
                    <a:pt x="199" y="427"/>
                  </a:lnTo>
                  <a:lnTo>
                    <a:pt x="204" y="425"/>
                  </a:lnTo>
                  <a:lnTo>
                    <a:pt x="204" y="425"/>
                  </a:lnTo>
                  <a:lnTo>
                    <a:pt x="204" y="425"/>
                  </a:lnTo>
                  <a:lnTo>
                    <a:pt x="209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8" y="425"/>
                  </a:lnTo>
                  <a:lnTo>
                    <a:pt x="221" y="422"/>
                  </a:lnTo>
                  <a:lnTo>
                    <a:pt x="221" y="422"/>
                  </a:lnTo>
                  <a:lnTo>
                    <a:pt x="221" y="422"/>
                  </a:lnTo>
                  <a:lnTo>
                    <a:pt x="221" y="422"/>
                  </a:lnTo>
                  <a:lnTo>
                    <a:pt x="230" y="418"/>
                  </a:lnTo>
                  <a:lnTo>
                    <a:pt x="233" y="418"/>
                  </a:lnTo>
                  <a:lnTo>
                    <a:pt x="233" y="418"/>
                  </a:lnTo>
                  <a:lnTo>
                    <a:pt x="235" y="415"/>
                  </a:lnTo>
                  <a:lnTo>
                    <a:pt x="235" y="413"/>
                  </a:lnTo>
                  <a:lnTo>
                    <a:pt x="235" y="413"/>
                  </a:lnTo>
                  <a:lnTo>
                    <a:pt x="235" y="410"/>
                  </a:lnTo>
                  <a:lnTo>
                    <a:pt x="235" y="410"/>
                  </a:lnTo>
                  <a:lnTo>
                    <a:pt x="221" y="403"/>
                  </a:lnTo>
                  <a:lnTo>
                    <a:pt x="218" y="403"/>
                  </a:lnTo>
                  <a:lnTo>
                    <a:pt x="209" y="401"/>
                  </a:lnTo>
                  <a:lnTo>
                    <a:pt x="197" y="401"/>
                  </a:lnTo>
                  <a:lnTo>
                    <a:pt x="194" y="401"/>
                  </a:lnTo>
                  <a:lnTo>
                    <a:pt x="189" y="398"/>
                  </a:lnTo>
                  <a:lnTo>
                    <a:pt x="187" y="396"/>
                  </a:lnTo>
                  <a:lnTo>
                    <a:pt x="182" y="393"/>
                  </a:lnTo>
                  <a:lnTo>
                    <a:pt x="180" y="391"/>
                  </a:lnTo>
                  <a:lnTo>
                    <a:pt x="177" y="386"/>
                  </a:lnTo>
                  <a:lnTo>
                    <a:pt x="175" y="381"/>
                  </a:lnTo>
                  <a:lnTo>
                    <a:pt x="172" y="379"/>
                  </a:lnTo>
                  <a:lnTo>
                    <a:pt x="170" y="374"/>
                  </a:lnTo>
                  <a:lnTo>
                    <a:pt x="170" y="374"/>
                  </a:lnTo>
                  <a:lnTo>
                    <a:pt x="168" y="374"/>
                  </a:lnTo>
                  <a:lnTo>
                    <a:pt x="168" y="374"/>
                  </a:lnTo>
                  <a:lnTo>
                    <a:pt x="168" y="245"/>
                  </a:lnTo>
                  <a:lnTo>
                    <a:pt x="168" y="245"/>
                  </a:lnTo>
                  <a:lnTo>
                    <a:pt x="165" y="243"/>
                  </a:lnTo>
                  <a:lnTo>
                    <a:pt x="165" y="243"/>
                  </a:lnTo>
                  <a:lnTo>
                    <a:pt x="163" y="243"/>
                  </a:lnTo>
                  <a:lnTo>
                    <a:pt x="163" y="146"/>
                  </a:lnTo>
                  <a:lnTo>
                    <a:pt x="163" y="146"/>
                  </a:lnTo>
                  <a:lnTo>
                    <a:pt x="163" y="146"/>
                  </a:lnTo>
                  <a:lnTo>
                    <a:pt x="160" y="146"/>
                  </a:lnTo>
                  <a:lnTo>
                    <a:pt x="160" y="146"/>
                  </a:lnTo>
                  <a:lnTo>
                    <a:pt x="160" y="65"/>
                  </a:lnTo>
                  <a:lnTo>
                    <a:pt x="160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3" y="0"/>
                  </a:lnTo>
                  <a:lnTo>
                    <a:pt x="153" y="0"/>
                  </a:lnTo>
                  <a:lnTo>
                    <a:pt x="153" y="0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3" y="63"/>
                  </a:lnTo>
                  <a:lnTo>
                    <a:pt x="153" y="63"/>
                  </a:lnTo>
                  <a:lnTo>
                    <a:pt x="153" y="63"/>
                  </a:lnTo>
                  <a:lnTo>
                    <a:pt x="151" y="65"/>
                  </a:lnTo>
                  <a:lnTo>
                    <a:pt x="151" y="65"/>
                  </a:lnTo>
                  <a:lnTo>
                    <a:pt x="151" y="65"/>
                  </a:lnTo>
                  <a:lnTo>
                    <a:pt x="151" y="146"/>
                  </a:lnTo>
                  <a:lnTo>
                    <a:pt x="151" y="146"/>
                  </a:lnTo>
                  <a:lnTo>
                    <a:pt x="151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243"/>
                  </a:lnTo>
                  <a:lnTo>
                    <a:pt x="148" y="243"/>
                  </a:lnTo>
                  <a:lnTo>
                    <a:pt x="146" y="245"/>
                  </a:lnTo>
                  <a:lnTo>
                    <a:pt x="146" y="245"/>
                  </a:lnTo>
                  <a:lnTo>
                    <a:pt x="146" y="374"/>
                  </a:lnTo>
                  <a:lnTo>
                    <a:pt x="146" y="374"/>
                  </a:lnTo>
                  <a:lnTo>
                    <a:pt x="143" y="374"/>
                  </a:lnTo>
                  <a:lnTo>
                    <a:pt x="143" y="374"/>
                  </a:lnTo>
                  <a:lnTo>
                    <a:pt x="141" y="379"/>
                  </a:lnTo>
                  <a:lnTo>
                    <a:pt x="141" y="384"/>
                  </a:lnTo>
                  <a:lnTo>
                    <a:pt x="138" y="386"/>
                  </a:lnTo>
                  <a:lnTo>
                    <a:pt x="136" y="391"/>
                  </a:lnTo>
                  <a:lnTo>
                    <a:pt x="131" y="393"/>
                  </a:lnTo>
                  <a:lnTo>
                    <a:pt x="129" y="396"/>
                  </a:lnTo>
                  <a:lnTo>
                    <a:pt x="124" y="398"/>
                  </a:lnTo>
                  <a:lnTo>
                    <a:pt x="121" y="401"/>
                  </a:lnTo>
                  <a:lnTo>
                    <a:pt x="117" y="401"/>
                  </a:lnTo>
                  <a:lnTo>
                    <a:pt x="105" y="403"/>
                  </a:lnTo>
                  <a:lnTo>
                    <a:pt x="97" y="403"/>
                  </a:lnTo>
                  <a:lnTo>
                    <a:pt x="92" y="405"/>
                  </a:lnTo>
                  <a:lnTo>
                    <a:pt x="80" y="413"/>
                  </a:lnTo>
                  <a:lnTo>
                    <a:pt x="80" y="413"/>
                  </a:lnTo>
                  <a:lnTo>
                    <a:pt x="80" y="418"/>
                  </a:lnTo>
                  <a:lnTo>
                    <a:pt x="80" y="418"/>
                  </a:lnTo>
                  <a:lnTo>
                    <a:pt x="80" y="420"/>
                  </a:lnTo>
                  <a:lnTo>
                    <a:pt x="85" y="420"/>
                  </a:lnTo>
                  <a:lnTo>
                    <a:pt x="95" y="425"/>
                  </a:lnTo>
                  <a:lnTo>
                    <a:pt x="95" y="425"/>
                  </a:lnTo>
                  <a:lnTo>
                    <a:pt x="95" y="425"/>
                  </a:lnTo>
                  <a:lnTo>
                    <a:pt x="100" y="425"/>
                  </a:lnTo>
                  <a:lnTo>
                    <a:pt x="100" y="425"/>
                  </a:lnTo>
                  <a:lnTo>
                    <a:pt x="102" y="425"/>
                  </a:lnTo>
                  <a:lnTo>
                    <a:pt x="102" y="425"/>
                  </a:lnTo>
                  <a:lnTo>
                    <a:pt x="107" y="427"/>
                  </a:lnTo>
                  <a:lnTo>
                    <a:pt x="112" y="427"/>
                  </a:lnTo>
                  <a:lnTo>
                    <a:pt x="112" y="427"/>
                  </a:lnTo>
                  <a:lnTo>
                    <a:pt x="119" y="427"/>
                  </a:lnTo>
                  <a:lnTo>
                    <a:pt x="124" y="427"/>
                  </a:lnTo>
                  <a:lnTo>
                    <a:pt x="124" y="427"/>
                  </a:lnTo>
                  <a:lnTo>
                    <a:pt x="124" y="427"/>
                  </a:lnTo>
                  <a:lnTo>
                    <a:pt x="129" y="427"/>
                  </a:lnTo>
                  <a:lnTo>
                    <a:pt x="129" y="427"/>
                  </a:lnTo>
                  <a:lnTo>
                    <a:pt x="126" y="430"/>
                  </a:lnTo>
                  <a:lnTo>
                    <a:pt x="121" y="430"/>
                  </a:lnTo>
                  <a:lnTo>
                    <a:pt x="119" y="430"/>
                  </a:lnTo>
                  <a:lnTo>
                    <a:pt x="119" y="432"/>
                  </a:lnTo>
                  <a:lnTo>
                    <a:pt x="119" y="439"/>
                  </a:lnTo>
                  <a:lnTo>
                    <a:pt x="119" y="449"/>
                  </a:lnTo>
                  <a:lnTo>
                    <a:pt x="119" y="459"/>
                  </a:lnTo>
                  <a:lnTo>
                    <a:pt x="119" y="469"/>
                  </a:lnTo>
                  <a:lnTo>
                    <a:pt x="119" y="478"/>
                  </a:lnTo>
                  <a:lnTo>
                    <a:pt x="119" y="481"/>
                  </a:lnTo>
                  <a:lnTo>
                    <a:pt x="121" y="481"/>
                  </a:lnTo>
                  <a:lnTo>
                    <a:pt x="124" y="483"/>
                  </a:lnTo>
                  <a:lnTo>
                    <a:pt x="129" y="483"/>
                  </a:lnTo>
                  <a:lnTo>
                    <a:pt x="131" y="483"/>
                  </a:lnTo>
                  <a:lnTo>
                    <a:pt x="131" y="486"/>
                  </a:lnTo>
                  <a:lnTo>
                    <a:pt x="119" y="486"/>
                  </a:lnTo>
                  <a:lnTo>
                    <a:pt x="100" y="486"/>
                  </a:lnTo>
                  <a:lnTo>
                    <a:pt x="83" y="488"/>
                  </a:lnTo>
                  <a:lnTo>
                    <a:pt x="73" y="490"/>
                  </a:lnTo>
                  <a:lnTo>
                    <a:pt x="66" y="490"/>
                  </a:lnTo>
                  <a:lnTo>
                    <a:pt x="66" y="495"/>
                  </a:lnTo>
                  <a:lnTo>
                    <a:pt x="68" y="498"/>
                  </a:lnTo>
                  <a:lnTo>
                    <a:pt x="75" y="498"/>
                  </a:lnTo>
                  <a:lnTo>
                    <a:pt x="88" y="500"/>
                  </a:lnTo>
                  <a:lnTo>
                    <a:pt x="105" y="500"/>
                  </a:lnTo>
                  <a:lnTo>
                    <a:pt x="124" y="500"/>
                  </a:lnTo>
                  <a:lnTo>
                    <a:pt x="131" y="500"/>
                  </a:lnTo>
                  <a:lnTo>
                    <a:pt x="131" y="505"/>
                  </a:lnTo>
                  <a:lnTo>
                    <a:pt x="121" y="507"/>
                  </a:lnTo>
                  <a:lnTo>
                    <a:pt x="107" y="507"/>
                  </a:lnTo>
                  <a:lnTo>
                    <a:pt x="95" y="507"/>
                  </a:lnTo>
                  <a:lnTo>
                    <a:pt x="88" y="510"/>
                  </a:lnTo>
                  <a:lnTo>
                    <a:pt x="88" y="510"/>
                  </a:lnTo>
                  <a:lnTo>
                    <a:pt x="88" y="520"/>
                  </a:lnTo>
                  <a:lnTo>
                    <a:pt x="85" y="520"/>
                  </a:lnTo>
                  <a:lnTo>
                    <a:pt x="80" y="520"/>
                  </a:lnTo>
                  <a:lnTo>
                    <a:pt x="75" y="520"/>
                  </a:lnTo>
                  <a:lnTo>
                    <a:pt x="73" y="520"/>
                  </a:lnTo>
                  <a:lnTo>
                    <a:pt x="73" y="520"/>
                  </a:lnTo>
                  <a:lnTo>
                    <a:pt x="78" y="1331"/>
                  </a:lnTo>
                  <a:lnTo>
                    <a:pt x="27" y="1333"/>
                  </a:lnTo>
                  <a:lnTo>
                    <a:pt x="27" y="1350"/>
                  </a:lnTo>
                  <a:lnTo>
                    <a:pt x="0" y="1353"/>
                  </a:lnTo>
                  <a:lnTo>
                    <a:pt x="0" y="1671"/>
                  </a:lnTo>
                  <a:lnTo>
                    <a:pt x="1279" y="1671"/>
                  </a:lnTo>
                  <a:lnTo>
                    <a:pt x="1279" y="1154"/>
                  </a:lnTo>
                  <a:close/>
                  <a:moveTo>
                    <a:pt x="126" y="498"/>
                  </a:moveTo>
                  <a:lnTo>
                    <a:pt x="124" y="498"/>
                  </a:lnTo>
                  <a:lnTo>
                    <a:pt x="121" y="498"/>
                  </a:lnTo>
                  <a:lnTo>
                    <a:pt x="119" y="498"/>
                  </a:lnTo>
                  <a:lnTo>
                    <a:pt x="117" y="498"/>
                  </a:lnTo>
                  <a:lnTo>
                    <a:pt x="119" y="498"/>
                  </a:lnTo>
                  <a:lnTo>
                    <a:pt x="121" y="498"/>
                  </a:lnTo>
                  <a:lnTo>
                    <a:pt x="124" y="498"/>
                  </a:lnTo>
                  <a:lnTo>
                    <a:pt x="126" y="498"/>
                  </a:lnTo>
                  <a:lnTo>
                    <a:pt x="131" y="498"/>
                  </a:lnTo>
                  <a:lnTo>
                    <a:pt x="126" y="498"/>
                  </a:lnTo>
                  <a:close/>
                  <a:moveTo>
                    <a:pt x="117" y="568"/>
                  </a:moveTo>
                  <a:lnTo>
                    <a:pt x="121" y="568"/>
                  </a:lnTo>
                  <a:lnTo>
                    <a:pt x="131" y="568"/>
                  </a:lnTo>
                  <a:lnTo>
                    <a:pt x="138" y="568"/>
                  </a:lnTo>
                  <a:lnTo>
                    <a:pt x="138" y="656"/>
                  </a:lnTo>
                  <a:lnTo>
                    <a:pt x="134" y="656"/>
                  </a:lnTo>
                  <a:lnTo>
                    <a:pt x="124" y="656"/>
                  </a:lnTo>
                  <a:lnTo>
                    <a:pt x="119" y="656"/>
                  </a:lnTo>
                  <a:lnTo>
                    <a:pt x="117" y="568"/>
                  </a:lnTo>
                  <a:close/>
                  <a:moveTo>
                    <a:pt x="119" y="673"/>
                  </a:moveTo>
                  <a:lnTo>
                    <a:pt x="126" y="673"/>
                  </a:lnTo>
                  <a:lnTo>
                    <a:pt x="136" y="673"/>
                  </a:lnTo>
                  <a:lnTo>
                    <a:pt x="138" y="673"/>
                  </a:lnTo>
                  <a:lnTo>
                    <a:pt x="138" y="799"/>
                  </a:lnTo>
                  <a:lnTo>
                    <a:pt x="136" y="799"/>
                  </a:lnTo>
                  <a:lnTo>
                    <a:pt x="126" y="799"/>
                  </a:lnTo>
                  <a:lnTo>
                    <a:pt x="119" y="799"/>
                  </a:lnTo>
                  <a:lnTo>
                    <a:pt x="119" y="673"/>
                  </a:lnTo>
                  <a:close/>
                  <a:moveTo>
                    <a:pt x="119" y="814"/>
                  </a:moveTo>
                  <a:lnTo>
                    <a:pt x="124" y="814"/>
                  </a:lnTo>
                  <a:lnTo>
                    <a:pt x="136" y="814"/>
                  </a:lnTo>
                  <a:lnTo>
                    <a:pt x="141" y="814"/>
                  </a:lnTo>
                  <a:lnTo>
                    <a:pt x="141" y="937"/>
                  </a:lnTo>
                  <a:lnTo>
                    <a:pt x="136" y="937"/>
                  </a:lnTo>
                  <a:lnTo>
                    <a:pt x="129" y="937"/>
                  </a:lnTo>
                  <a:lnTo>
                    <a:pt x="119" y="937"/>
                  </a:lnTo>
                  <a:lnTo>
                    <a:pt x="119" y="814"/>
                  </a:lnTo>
                  <a:close/>
                  <a:moveTo>
                    <a:pt x="119" y="957"/>
                  </a:moveTo>
                  <a:lnTo>
                    <a:pt x="126" y="957"/>
                  </a:lnTo>
                  <a:lnTo>
                    <a:pt x="136" y="957"/>
                  </a:lnTo>
                  <a:lnTo>
                    <a:pt x="141" y="957"/>
                  </a:lnTo>
                  <a:lnTo>
                    <a:pt x="141" y="1071"/>
                  </a:lnTo>
                  <a:lnTo>
                    <a:pt x="138" y="1071"/>
                  </a:lnTo>
                  <a:lnTo>
                    <a:pt x="129" y="1071"/>
                  </a:lnTo>
                  <a:lnTo>
                    <a:pt x="121" y="1073"/>
                  </a:lnTo>
                  <a:lnTo>
                    <a:pt x="119" y="957"/>
                  </a:lnTo>
                  <a:close/>
                  <a:moveTo>
                    <a:pt x="129" y="1185"/>
                  </a:moveTo>
                  <a:lnTo>
                    <a:pt x="121" y="1188"/>
                  </a:lnTo>
                  <a:lnTo>
                    <a:pt x="121" y="1095"/>
                  </a:lnTo>
                  <a:lnTo>
                    <a:pt x="126" y="1095"/>
                  </a:lnTo>
                  <a:lnTo>
                    <a:pt x="136" y="1095"/>
                  </a:lnTo>
                  <a:lnTo>
                    <a:pt x="141" y="1095"/>
                  </a:lnTo>
                  <a:lnTo>
                    <a:pt x="141" y="1185"/>
                  </a:lnTo>
                  <a:lnTo>
                    <a:pt x="129" y="1185"/>
                  </a:lnTo>
                  <a:close/>
                  <a:moveTo>
                    <a:pt x="182" y="568"/>
                  </a:moveTo>
                  <a:lnTo>
                    <a:pt x="189" y="568"/>
                  </a:lnTo>
                  <a:lnTo>
                    <a:pt x="197" y="568"/>
                  </a:lnTo>
                  <a:lnTo>
                    <a:pt x="197" y="656"/>
                  </a:lnTo>
                  <a:lnTo>
                    <a:pt x="194" y="656"/>
                  </a:lnTo>
                  <a:lnTo>
                    <a:pt x="182" y="656"/>
                  </a:lnTo>
                  <a:lnTo>
                    <a:pt x="182" y="568"/>
                  </a:lnTo>
                  <a:close/>
                  <a:moveTo>
                    <a:pt x="182" y="673"/>
                  </a:moveTo>
                  <a:lnTo>
                    <a:pt x="189" y="673"/>
                  </a:lnTo>
                  <a:lnTo>
                    <a:pt x="197" y="673"/>
                  </a:lnTo>
                  <a:lnTo>
                    <a:pt x="199" y="799"/>
                  </a:lnTo>
                  <a:lnTo>
                    <a:pt x="189" y="799"/>
                  </a:lnTo>
                  <a:lnTo>
                    <a:pt x="182" y="799"/>
                  </a:lnTo>
                  <a:lnTo>
                    <a:pt x="182" y="673"/>
                  </a:lnTo>
                  <a:close/>
                  <a:moveTo>
                    <a:pt x="182" y="814"/>
                  </a:moveTo>
                  <a:lnTo>
                    <a:pt x="194" y="814"/>
                  </a:lnTo>
                  <a:lnTo>
                    <a:pt x="199" y="814"/>
                  </a:lnTo>
                  <a:lnTo>
                    <a:pt x="199" y="937"/>
                  </a:lnTo>
                  <a:lnTo>
                    <a:pt x="192" y="937"/>
                  </a:lnTo>
                  <a:lnTo>
                    <a:pt x="184" y="937"/>
                  </a:lnTo>
                  <a:lnTo>
                    <a:pt x="182" y="814"/>
                  </a:lnTo>
                  <a:close/>
                  <a:moveTo>
                    <a:pt x="184" y="957"/>
                  </a:moveTo>
                  <a:lnTo>
                    <a:pt x="194" y="957"/>
                  </a:lnTo>
                  <a:lnTo>
                    <a:pt x="199" y="957"/>
                  </a:lnTo>
                  <a:lnTo>
                    <a:pt x="199" y="1071"/>
                  </a:lnTo>
                  <a:lnTo>
                    <a:pt x="192" y="1071"/>
                  </a:lnTo>
                  <a:lnTo>
                    <a:pt x="184" y="1071"/>
                  </a:lnTo>
                  <a:lnTo>
                    <a:pt x="184" y="957"/>
                  </a:lnTo>
                  <a:close/>
                  <a:moveTo>
                    <a:pt x="199" y="1188"/>
                  </a:moveTo>
                  <a:lnTo>
                    <a:pt x="184" y="1185"/>
                  </a:lnTo>
                  <a:lnTo>
                    <a:pt x="184" y="1098"/>
                  </a:lnTo>
                  <a:lnTo>
                    <a:pt x="197" y="1098"/>
                  </a:lnTo>
                  <a:lnTo>
                    <a:pt x="199" y="1098"/>
                  </a:lnTo>
                  <a:lnTo>
                    <a:pt x="201" y="1188"/>
                  </a:lnTo>
                  <a:lnTo>
                    <a:pt x="199" y="11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</p:grpSp>
      <p:grpSp>
        <p:nvGrpSpPr>
          <p:cNvPr id="2" name="组合 1"/>
          <p:cNvGrpSpPr/>
          <p:nvPr userDrawn="1"/>
        </p:nvGrpSpPr>
        <p:grpSpPr>
          <a:xfrm flipH="1">
            <a:off x="7438304" y="2196990"/>
            <a:ext cx="4753696" cy="4661010"/>
            <a:chOff x="-1" y="2196990"/>
            <a:chExt cx="4753696" cy="4661010"/>
          </a:xfrm>
        </p:grpSpPr>
        <p:sp>
          <p:nvSpPr>
            <p:cNvPr id="12" name="任意多边形: 形状 11"/>
            <p:cNvSpPr/>
            <p:nvPr userDrawn="1"/>
          </p:nvSpPr>
          <p:spPr bwMode="auto">
            <a:xfrm rot="10800000">
              <a:off x="-1" y="2196990"/>
              <a:ext cx="4403159" cy="4661010"/>
            </a:xfrm>
            <a:custGeom>
              <a:avLst/>
              <a:gdLst>
                <a:gd name="connsiteX0" fmla="*/ 6468068 w 6478609"/>
                <a:gd name="connsiteY0" fmla="*/ 3674209 h 6858000"/>
                <a:gd name="connsiteX1" fmla="*/ 6478609 w 6478609"/>
                <a:gd name="connsiteY1" fmla="*/ 6858000 h 6858000"/>
                <a:gd name="connsiteX2" fmla="*/ 6418877 w 6478609"/>
                <a:gd name="connsiteY2" fmla="*/ 6847469 h 6858000"/>
                <a:gd name="connsiteX3" fmla="*/ 6316981 w 6478609"/>
                <a:gd name="connsiteY3" fmla="*/ 6780775 h 6858000"/>
                <a:gd name="connsiteX4" fmla="*/ 5009905 w 6478609"/>
                <a:gd name="connsiteY4" fmla="*/ 5474964 h 6858000"/>
                <a:gd name="connsiteX5" fmla="*/ 5009905 w 6478609"/>
                <a:gd name="connsiteY5" fmla="*/ 5050225 h 6858000"/>
                <a:gd name="connsiteX6" fmla="*/ 6309954 w 6478609"/>
                <a:gd name="connsiteY6" fmla="*/ 3751434 h 6858000"/>
                <a:gd name="connsiteX7" fmla="*/ 6408336 w 6478609"/>
                <a:gd name="connsiteY7" fmla="*/ 3684740 h 6858000"/>
                <a:gd name="connsiteX8" fmla="*/ 2028882 w 6478609"/>
                <a:gd name="connsiteY8" fmla="*/ 0 h 6858000"/>
                <a:gd name="connsiteX9" fmla="*/ 5254187 w 6478609"/>
                <a:gd name="connsiteY9" fmla="*/ 2486 h 6858000"/>
                <a:gd name="connsiteX10" fmla="*/ 5254188 w 6478609"/>
                <a:gd name="connsiteY10" fmla="*/ 2487 h 6858000"/>
                <a:gd name="connsiteX11" fmla="*/ 5253400 w 6478609"/>
                <a:gd name="connsiteY11" fmla="*/ 2486 h 6858000"/>
                <a:gd name="connsiteX12" fmla="*/ 2028883 w 6478609"/>
                <a:gd name="connsiteY12" fmla="*/ 1 h 6858000"/>
                <a:gd name="connsiteX13" fmla="*/ 199717 w 6478609"/>
                <a:gd name="connsiteY13" fmla="*/ 1827184 h 6858000"/>
                <a:gd name="connsiteX14" fmla="*/ 49931 w 6478609"/>
                <a:gd name="connsiteY14" fmla="*/ 2566214 h 6858000"/>
                <a:gd name="connsiteX15" fmla="*/ 112342 w 6478609"/>
                <a:gd name="connsiteY15" fmla="*/ 2684832 h 6858000"/>
                <a:gd name="connsiteX16" fmla="*/ 112341 w 6478609"/>
                <a:gd name="connsiteY16" fmla="*/ 2684831 h 6858000"/>
                <a:gd name="connsiteX17" fmla="*/ 199716 w 6478609"/>
                <a:gd name="connsiteY17" fmla="*/ 182718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478609" h="6858000">
                  <a:moveTo>
                    <a:pt x="6468068" y="3674209"/>
                  </a:moveTo>
                  <a:cubicBezTo>
                    <a:pt x="6478609" y="6858000"/>
                    <a:pt x="6478609" y="6858000"/>
                    <a:pt x="6478609" y="6858000"/>
                  </a:cubicBezTo>
                  <a:cubicBezTo>
                    <a:pt x="6418877" y="6847469"/>
                    <a:pt x="6418877" y="6847469"/>
                    <a:pt x="6418877" y="6847469"/>
                  </a:cubicBezTo>
                  <a:cubicBezTo>
                    <a:pt x="6380227" y="6833428"/>
                    <a:pt x="6348604" y="6812367"/>
                    <a:pt x="6316981" y="6780775"/>
                  </a:cubicBezTo>
                  <a:cubicBezTo>
                    <a:pt x="5009905" y="5474964"/>
                    <a:pt x="5009905" y="5474964"/>
                    <a:pt x="5009905" y="5474964"/>
                  </a:cubicBezTo>
                  <a:cubicBezTo>
                    <a:pt x="4893955" y="5355616"/>
                    <a:pt x="4890441" y="5166063"/>
                    <a:pt x="5009905" y="5050225"/>
                  </a:cubicBezTo>
                  <a:cubicBezTo>
                    <a:pt x="6309954" y="3751434"/>
                    <a:pt x="6309954" y="3751434"/>
                    <a:pt x="6309954" y="3751434"/>
                  </a:cubicBezTo>
                  <a:cubicBezTo>
                    <a:pt x="6338063" y="3719842"/>
                    <a:pt x="6373200" y="3698781"/>
                    <a:pt x="6408336" y="3684740"/>
                  </a:cubicBezTo>
                  <a:close/>
                  <a:moveTo>
                    <a:pt x="2028882" y="0"/>
                  </a:moveTo>
                  <a:cubicBezTo>
                    <a:pt x="5254187" y="2486"/>
                    <a:pt x="5254187" y="2486"/>
                    <a:pt x="5254187" y="2486"/>
                  </a:cubicBezTo>
                  <a:lnTo>
                    <a:pt x="5254188" y="2487"/>
                  </a:lnTo>
                  <a:lnTo>
                    <a:pt x="5253400" y="2486"/>
                  </a:lnTo>
                  <a:cubicBezTo>
                    <a:pt x="5241589" y="2477"/>
                    <a:pt x="5052606" y="2332"/>
                    <a:pt x="2028883" y="1"/>
                  </a:cubicBezTo>
                  <a:lnTo>
                    <a:pt x="199717" y="1827184"/>
                  </a:lnTo>
                  <a:cubicBezTo>
                    <a:pt x="2" y="2026683"/>
                    <a:pt x="-49927" y="2319871"/>
                    <a:pt x="49931" y="2566214"/>
                  </a:cubicBezTo>
                  <a:lnTo>
                    <a:pt x="112342" y="2684832"/>
                  </a:lnTo>
                  <a:lnTo>
                    <a:pt x="112341" y="2684831"/>
                  </a:lnTo>
                  <a:cubicBezTo>
                    <a:pt x="-62410" y="2420202"/>
                    <a:pt x="-33285" y="2059932"/>
                    <a:pt x="199716" y="1827183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100000">
                  <a:srgbClr val="1D25AA"/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 sz="1800"/>
            </a:p>
          </p:txBody>
        </p:sp>
        <p:sp>
          <p:nvSpPr>
            <p:cNvPr id="13" name="Freeform 6"/>
            <p:cNvSpPr/>
            <p:nvPr userDrawn="1"/>
          </p:nvSpPr>
          <p:spPr bwMode="auto">
            <a:xfrm rot="10800000" flipV="1">
              <a:off x="1094215" y="4315416"/>
              <a:ext cx="3659480" cy="2540214"/>
            </a:xfrm>
            <a:custGeom>
              <a:avLst/>
              <a:gdLst>
                <a:gd name="T0" fmla="*/ 790 w 1580"/>
                <a:gd name="T1" fmla="*/ 0 h 1098"/>
                <a:gd name="T2" fmla="*/ 893 w 1580"/>
                <a:gd name="T3" fmla="*/ 43 h 1098"/>
                <a:gd name="T4" fmla="*/ 1524 w 1580"/>
                <a:gd name="T5" fmla="*/ 673 h 1098"/>
                <a:gd name="T6" fmla="*/ 1524 w 1580"/>
                <a:gd name="T7" fmla="*/ 879 h 1098"/>
                <a:gd name="T8" fmla="*/ 1305 w 1580"/>
                <a:gd name="T9" fmla="*/ 1098 h 1098"/>
                <a:gd name="T10" fmla="*/ 276 w 1580"/>
                <a:gd name="T11" fmla="*/ 1097 h 1098"/>
                <a:gd name="T12" fmla="*/ 57 w 1580"/>
                <a:gd name="T13" fmla="*/ 878 h 1098"/>
                <a:gd name="T14" fmla="*/ 57 w 1580"/>
                <a:gd name="T15" fmla="*/ 673 h 1098"/>
                <a:gd name="T16" fmla="*/ 687 w 1580"/>
                <a:gd name="T17" fmla="*/ 43 h 1098"/>
                <a:gd name="T18" fmla="*/ 790 w 1580"/>
                <a:gd name="T19" fmla="*/ 0 h 1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0" h="1098">
                  <a:moveTo>
                    <a:pt x="790" y="0"/>
                  </a:moveTo>
                  <a:cubicBezTo>
                    <a:pt x="827" y="0"/>
                    <a:pt x="864" y="14"/>
                    <a:pt x="893" y="43"/>
                  </a:cubicBezTo>
                  <a:cubicBezTo>
                    <a:pt x="1524" y="673"/>
                    <a:pt x="1524" y="673"/>
                    <a:pt x="1524" y="673"/>
                  </a:cubicBezTo>
                  <a:cubicBezTo>
                    <a:pt x="1580" y="730"/>
                    <a:pt x="1580" y="822"/>
                    <a:pt x="1524" y="879"/>
                  </a:cubicBezTo>
                  <a:cubicBezTo>
                    <a:pt x="1305" y="1098"/>
                    <a:pt x="1305" y="1098"/>
                    <a:pt x="1305" y="1098"/>
                  </a:cubicBezTo>
                  <a:cubicBezTo>
                    <a:pt x="276" y="1097"/>
                    <a:pt x="276" y="1097"/>
                    <a:pt x="276" y="1097"/>
                  </a:cubicBezTo>
                  <a:cubicBezTo>
                    <a:pt x="57" y="878"/>
                    <a:pt x="57" y="878"/>
                    <a:pt x="57" y="878"/>
                  </a:cubicBezTo>
                  <a:cubicBezTo>
                    <a:pt x="0" y="821"/>
                    <a:pt x="0" y="729"/>
                    <a:pt x="57" y="673"/>
                  </a:cubicBezTo>
                  <a:cubicBezTo>
                    <a:pt x="687" y="43"/>
                    <a:pt x="687" y="43"/>
                    <a:pt x="687" y="43"/>
                  </a:cubicBezTo>
                  <a:cubicBezTo>
                    <a:pt x="716" y="14"/>
                    <a:pt x="753" y="0"/>
                    <a:pt x="790" y="0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100000">
                  <a:srgbClr val="1D25AA"/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/>
            </a:p>
          </p:txBody>
        </p:sp>
        <p:sp>
          <p:nvSpPr>
            <p:cNvPr id="14" name="任意多边形: 形状 13"/>
            <p:cNvSpPr/>
            <p:nvPr userDrawn="1"/>
          </p:nvSpPr>
          <p:spPr>
            <a:xfrm>
              <a:off x="1" y="2814427"/>
              <a:ext cx="4403157" cy="4043573"/>
            </a:xfrm>
            <a:custGeom>
              <a:avLst/>
              <a:gdLst>
                <a:gd name="connsiteX0" fmla="*/ 2834585 w 6478607"/>
                <a:gd name="connsiteY0" fmla="*/ 0 h 5949531"/>
                <a:gd name="connsiteX1" fmla="*/ 3317385 w 6478607"/>
                <a:gd name="connsiteY1" fmla="*/ 199498 h 5949531"/>
                <a:gd name="connsiteX2" fmla="*/ 6278892 w 6478607"/>
                <a:gd name="connsiteY2" fmla="*/ 3157794 h 5949531"/>
                <a:gd name="connsiteX3" fmla="*/ 6278892 w 6478607"/>
                <a:gd name="connsiteY3" fmla="*/ 4122348 h 5949531"/>
                <a:gd name="connsiteX4" fmla="*/ 4449726 w 6478607"/>
                <a:gd name="connsiteY4" fmla="*/ 5949531 h 5949531"/>
                <a:gd name="connsiteX5" fmla="*/ 1224421 w 6478607"/>
                <a:gd name="connsiteY5" fmla="*/ 5947045 h 5949531"/>
                <a:gd name="connsiteX6" fmla="*/ 0 w 6478607"/>
                <a:gd name="connsiteY6" fmla="*/ 4723951 h 5949531"/>
                <a:gd name="connsiteX7" fmla="*/ 0 w 6478607"/>
                <a:gd name="connsiteY7" fmla="*/ 2548733 h 5949531"/>
                <a:gd name="connsiteX8" fmla="*/ 2351785 w 6478607"/>
                <a:gd name="connsiteY8" fmla="*/ 199498 h 5949531"/>
                <a:gd name="connsiteX9" fmla="*/ 2834585 w 6478607"/>
                <a:gd name="connsiteY9" fmla="*/ 0 h 5949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478607" h="5949531">
                  <a:moveTo>
                    <a:pt x="2834585" y="0"/>
                  </a:moveTo>
                  <a:cubicBezTo>
                    <a:pt x="3009414" y="0"/>
                    <a:pt x="3184242" y="66499"/>
                    <a:pt x="3317385" y="199498"/>
                  </a:cubicBezTo>
                  <a:cubicBezTo>
                    <a:pt x="6278892" y="3157794"/>
                    <a:pt x="6278892" y="3157794"/>
                    <a:pt x="6278892" y="3157794"/>
                  </a:cubicBezTo>
                  <a:cubicBezTo>
                    <a:pt x="6545179" y="3423793"/>
                    <a:pt x="6545179" y="3856350"/>
                    <a:pt x="6278892" y="4122348"/>
                  </a:cubicBezTo>
                  <a:lnTo>
                    <a:pt x="4449726" y="5949531"/>
                  </a:lnTo>
                  <a:cubicBezTo>
                    <a:pt x="1224421" y="5947045"/>
                    <a:pt x="1224421" y="5947045"/>
                    <a:pt x="1224421" y="5947045"/>
                  </a:cubicBezTo>
                  <a:cubicBezTo>
                    <a:pt x="0" y="4723951"/>
                    <a:pt x="0" y="4723951"/>
                    <a:pt x="0" y="4723951"/>
                  </a:cubicBezTo>
                  <a:cubicBezTo>
                    <a:pt x="0" y="2548733"/>
                    <a:pt x="0" y="2548733"/>
                    <a:pt x="0" y="2548733"/>
                  </a:cubicBezTo>
                  <a:cubicBezTo>
                    <a:pt x="2351785" y="199498"/>
                    <a:pt x="2351785" y="199498"/>
                    <a:pt x="2351785" y="199498"/>
                  </a:cubicBezTo>
                  <a:cubicBezTo>
                    <a:pt x="2484928" y="66499"/>
                    <a:pt x="2659757" y="0"/>
                    <a:pt x="2834585" y="0"/>
                  </a:cubicBezTo>
                  <a:close/>
                </a:path>
              </a:pathLst>
            </a:custGeom>
            <a:blipFill>
              <a:blip r:embed="rId3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</a:blip>
              <a:stretch>
                <a:fillRect l="-18912" r="-18838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538e97c3-e9f5-4fc3-acd8-667a9a01b65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>
          <a:xfrm>
            <a:off x="0" y="3327402"/>
            <a:ext cx="12148987" cy="3528893"/>
            <a:chOff x="3175" y="4413770"/>
            <a:chExt cx="12188825" cy="2744114"/>
          </a:xfrm>
          <a:solidFill>
            <a:schemeClr val="bg2"/>
          </a:solidFill>
        </p:grpSpPr>
        <p:sp>
          <p:nvSpPr>
            <p:cNvPr id="7" name="iSlíḓè"/>
            <p:cNvSpPr/>
            <p:nvPr/>
          </p:nvSpPr>
          <p:spPr bwMode="auto">
            <a:xfrm>
              <a:off x="10164502" y="5675395"/>
              <a:ext cx="2027498" cy="1482489"/>
            </a:xfrm>
            <a:custGeom>
              <a:avLst/>
              <a:gdLst>
                <a:gd name="T0" fmla="*/ 1230 w 1276"/>
                <a:gd name="T1" fmla="*/ 748 h 933"/>
                <a:gd name="T2" fmla="*/ 1221 w 1276"/>
                <a:gd name="T3" fmla="*/ 748 h 933"/>
                <a:gd name="T4" fmla="*/ 1206 w 1276"/>
                <a:gd name="T5" fmla="*/ 748 h 933"/>
                <a:gd name="T6" fmla="*/ 1211 w 1276"/>
                <a:gd name="T7" fmla="*/ 216 h 933"/>
                <a:gd name="T8" fmla="*/ 1218 w 1276"/>
                <a:gd name="T9" fmla="*/ 216 h 933"/>
                <a:gd name="T10" fmla="*/ 1221 w 1276"/>
                <a:gd name="T11" fmla="*/ 214 h 933"/>
                <a:gd name="T12" fmla="*/ 1218 w 1276"/>
                <a:gd name="T13" fmla="*/ 185 h 933"/>
                <a:gd name="T14" fmla="*/ 1206 w 1276"/>
                <a:gd name="T15" fmla="*/ 182 h 933"/>
                <a:gd name="T16" fmla="*/ 1192 w 1276"/>
                <a:gd name="T17" fmla="*/ 180 h 933"/>
                <a:gd name="T18" fmla="*/ 1182 w 1276"/>
                <a:gd name="T19" fmla="*/ 0 h 933"/>
                <a:gd name="T20" fmla="*/ 1172 w 1276"/>
                <a:gd name="T21" fmla="*/ 180 h 933"/>
                <a:gd name="T22" fmla="*/ 1158 w 1276"/>
                <a:gd name="T23" fmla="*/ 180 h 933"/>
                <a:gd name="T24" fmla="*/ 1143 w 1276"/>
                <a:gd name="T25" fmla="*/ 182 h 933"/>
                <a:gd name="T26" fmla="*/ 1141 w 1276"/>
                <a:gd name="T27" fmla="*/ 212 h 933"/>
                <a:gd name="T28" fmla="*/ 1143 w 1276"/>
                <a:gd name="T29" fmla="*/ 214 h 933"/>
                <a:gd name="T30" fmla="*/ 1151 w 1276"/>
                <a:gd name="T31" fmla="*/ 214 h 933"/>
                <a:gd name="T32" fmla="*/ 1071 w 1276"/>
                <a:gd name="T33" fmla="*/ 659 h 933"/>
                <a:gd name="T34" fmla="*/ 659 w 1276"/>
                <a:gd name="T35" fmla="*/ 496 h 933"/>
                <a:gd name="T36" fmla="*/ 666 w 1276"/>
                <a:gd name="T37" fmla="*/ 491 h 933"/>
                <a:gd name="T38" fmla="*/ 611 w 1276"/>
                <a:gd name="T39" fmla="*/ 430 h 933"/>
                <a:gd name="T40" fmla="*/ 620 w 1276"/>
                <a:gd name="T41" fmla="*/ 425 h 933"/>
                <a:gd name="T42" fmla="*/ 606 w 1276"/>
                <a:gd name="T43" fmla="*/ 420 h 933"/>
                <a:gd name="T44" fmla="*/ 608 w 1276"/>
                <a:gd name="T45" fmla="*/ 406 h 933"/>
                <a:gd name="T46" fmla="*/ 606 w 1276"/>
                <a:gd name="T47" fmla="*/ 389 h 933"/>
                <a:gd name="T48" fmla="*/ 594 w 1276"/>
                <a:gd name="T49" fmla="*/ 379 h 933"/>
                <a:gd name="T50" fmla="*/ 586 w 1276"/>
                <a:gd name="T51" fmla="*/ 377 h 933"/>
                <a:gd name="T52" fmla="*/ 569 w 1276"/>
                <a:gd name="T53" fmla="*/ 377 h 933"/>
                <a:gd name="T54" fmla="*/ 562 w 1276"/>
                <a:gd name="T55" fmla="*/ 379 h 933"/>
                <a:gd name="T56" fmla="*/ 552 w 1276"/>
                <a:gd name="T57" fmla="*/ 391 h 933"/>
                <a:gd name="T58" fmla="*/ 548 w 1276"/>
                <a:gd name="T59" fmla="*/ 399 h 933"/>
                <a:gd name="T60" fmla="*/ 548 w 1276"/>
                <a:gd name="T61" fmla="*/ 413 h 933"/>
                <a:gd name="T62" fmla="*/ 552 w 1276"/>
                <a:gd name="T63" fmla="*/ 423 h 933"/>
                <a:gd name="T64" fmla="*/ 538 w 1276"/>
                <a:gd name="T65" fmla="*/ 425 h 933"/>
                <a:gd name="T66" fmla="*/ 548 w 1276"/>
                <a:gd name="T67" fmla="*/ 430 h 933"/>
                <a:gd name="T68" fmla="*/ 519 w 1276"/>
                <a:gd name="T69" fmla="*/ 491 h 933"/>
                <a:gd name="T70" fmla="*/ 412 w 1276"/>
                <a:gd name="T71" fmla="*/ 491 h 933"/>
                <a:gd name="T72" fmla="*/ 402 w 1276"/>
                <a:gd name="T73" fmla="*/ 491 h 933"/>
                <a:gd name="T74" fmla="*/ 359 w 1276"/>
                <a:gd name="T75" fmla="*/ 464 h 933"/>
                <a:gd name="T76" fmla="*/ 366 w 1276"/>
                <a:gd name="T77" fmla="*/ 459 h 933"/>
                <a:gd name="T78" fmla="*/ 204 w 1276"/>
                <a:gd name="T79" fmla="*/ 447 h 933"/>
                <a:gd name="T80" fmla="*/ 194 w 1276"/>
                <a:gd name="T81" fmla="*/ 416 h 933"/>
                <a:gd name="T82" fmla="*/ 177 w 1276"/>
                <a:gd name="T83" fmla="*/ 391 h 933"/>
                <a:gd name="T84" fmla="*/ 155 w 1276"/>
                <a:gd name="T85" fmla="*/ 369 h 933"/>
                <a:gd name="T86" fmla="*/ 141 w 1276"/>
                <a:gd name="T87" fmla="*/ 360 h 933"/>
                <a:gd name="T88" fmla="*/ 114 w 1276"/>
                <a:gd name="T89" fmla="*/ 350 h 933"/>
                <a:gd name="T90" fmla="*/ 112 w 1276"/>
                <a:gd name="T91" fmla="*/ 348 h 933"/>
                <a:gd name="T92" fmla="*/ 97 w 1276"/>
                <a:gd name="T93" fmla="*/ 345 h 933"/>
                <a:gd name="T94" fmla="*/ 92 w 1276"/>
                <a:gd name="T95" fmla="*/ 345 h 933"/>
                <a:gd name="T96" fmla="*/ 88 w 1276"/>
                <a:gd name="T97" fmla="*/ 345 h 933"/>
                <a:gd name="T98" fmla="*/ 78 w 1276"/>
                <a:gd name="T99" fmla="*/ 263 h 933"/>
                <a:gd name="T100" fmla="*/ 73 w 1276"/>
                <a:gd name="T101" fmla="*/ 345 h 933"/>
                <a:gd name="T102" fmla="*/ 68 w 1276"/>
                <a:gd name="T103" fmla="*/ 345 h 933"/>
                <a:gd name="T104" fmla="*/ 51 w 1276"/>
                <a:gd name="T105" fmla="*/ 348 h 933"/>
                <a:gd name="T106" fmla="*/ 51 w 1276"/>
                <a:gd name="T107" fmla="*/ 348 h 933"/>
                <a:gd name="T108" fmla="*/ 37 w 1276"/>
                <a:gd name="T109" fmla="*/ 355 h 933"/>
                <a:gd name="T110" fmla="*/ 22 w 1276"/>
                <a:gd name="T111" fmla="*/ 360 h 933"/>
                <a:gd name="T112" fmla="*/ 0 w 1276"/>
                <a:gd name="T113" fmla="*/ 374 h 933"/>
                <a:gd name="T114" fmla="*/ 1276 w 1276"/>
                <a:gd name="T115" fmla="*/ 933 h 933"/>
                <a:gd name="T116" fmla="*/ 1233 w 1276"/>
                <a:gd name="T117" fmla="*/ 739 h 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76" h="933">
                  <a:moveTo>
                    <a:pt x="1233" y="746"/>
                  </a:moveTo>
                  <a:lnTo>
                    <a:pt x="1230" y="748"/>
                  </a:lnTo>
                  <a:lnTo>
                    <a:pt x="1228" y="748"/>
                  </a:lnTo>
                  <a:lnTo>
                    <a:pt x="1221" y="748"/>
                  </a:lnTo>
                  <a:lnTo>
                    <a:pt x="1216" y="748"/>
                  </a:lnTo>
                  <a:lnTo>
                    <a:pt x="1206" y="748"/>
                  </a:lnTo>
                  <a:lnTo>
                    <a:pt x="1206" y="741"/>
                  </a:lnTo>
                  <a:lnTo>
                    <a:pt x="1211" y="216"/>
                  </a:lnTo>
                  <a:lnTo>
                    <a:pt x="1213" y="216"/>
                  </a:lnTo>
                  <a:lnTo>
                    <a:pt x="1218" y="216"/>
                  </a:lnTo>
                  <a:lnTo>
                    <a:pt x="1221" y="214"/>
                  </a:lnTo>
                  <a:lnTo>
                    <a:pt x="1221" y="214"/>
                  </a:lnTo>
                  <a:lnTo>
                    <a:pt x="1221" y="185"/>
                  </a:lnTo>
                  <a:lnTo>
                    <a:pt x="1218" y="185"/>
                  </a:lnTo>
                  <a:lnTo>
                    <a:pt x="1213" y="182"/>
                  </a:lnTo>
                  <a:lnTo>
                    <a:pt x="1206" y="182"/>
                  </a:lnTo>
                  <a:lnTo>
                    <a:pt x="1197" y="180"/>
                  </a:lnTo>
                  <a:lnTo>
                    <a:pt x="1192" y="180"/>
                  </a:lnTo>
                  <a:lnTo>
                    <a:pt x="1192" y="93"/>
                  </a:lnTo>
                  <a:lnTo>
                    <a:pt x="1182" y="0"/>
                  </a:lnTo>
                  <a:lnTo>
                    <a:pt x="1175" y="90"/>
                  </a:lnTo>
                  <a:lnTo>
                    <a:pt x="1172" y="180"/>
                  </a:lnTo>
                  <a:lnTo>
                    <a:pt x="1165" y="180"/>
                  </a:lnTo>
                  <a:lnTo>
                    <a:pt x="1158" y="180"/>
                  </a:lnTo>
                  <a:lnTo>
                    <a:pt x="1151" y="180"/>
                  </a:lnTo>
                  <a:lnTo>
                    <a:pt x="1143" y="182"/>
                  </a:lnTo>
                  <a:lnTo>
                    <a:pt x="1141" y="182"/>
                  </a:lnTo>
                  <a:lnTo>
                    <a:pt x="1141" y="212"/>
                  </a:lnTo>
                  <a:lnTo>
                    <a:pt x="1141" y="212"/>
                  </a:lnTo>
                  <a:lnTo>
                    <a:pt x="1143" y="214"/>
                  </a:lnTo>
                  <a:lnTo>
                    <a:pt x="1148" y="214"/>
                  </a:lnTo>
                  <a:lnTo>
                    <a:pt x="1151" y="214"/>
                  </a:lnTo>
                  <a:lnTo>
                    <a:pt x="1146" y="714"/>
                  </a:lnTo>
                  <a:lnTo>
                    <a:pt x="1071" y="659"/>
                  </a:lnTo>
                  <a:lnTo>
                    <a:pt x="661" y="651"/>
                  </a:lnTo>
                  <a:lnTo>
                    <a:pt x="659" y="496"/>
                  </a:lnTo>
                  <a:lnTo>
                    <a:pt x="666" y="496"/>
                  </a:lnTo>
                  <a:lnTo>
                    <a:pt x="666" y="491"/>
                  </a:lnTo>
                  <a:lnTo>
                    <a:pt x="611" y="491"/>
                  </a:lnTo>
                  <a:lnTo>
                    <a:pt x="611" y="430"/>
                  </a:lnTo>
                  <a:lnTo>
                    <a:pt x="620" y="428"/>
                  </a:lnTo>
                  <a:lnTo>
                    <a:pt x="620" y="425"/>
                  </a:lnTo>
                  <a:lnTo>
                    <a:pt x="603" y="423"/>
                  </a:lnTo>
                  <a:lnTo>
                    <a:pt x="606" y="420"/>
                  </a:lnTo>
                  <a:lnTo>
                    <a:pt x="608" y="413"/>
                  </a:lnTo>
                  <a:lnTo>
                    <a:pt x="608" y="406"/>
                  </a:lnTo>
                  <a:lnTo>
                    <a:pt x="608" y="399"/>
                  </a:lnTo>
                  <a:lnTo>
                    <a:pt x="606" y="389"/>
                  </a:lnTo>
                  <a:lnTo>
                    <a:pt x="601" y="384"/>
                  </a:lnTo>
                  <a:lnTo>
                    <a:pt x="594" y="379"/>
                  </a:lnTo>
                  <a:lnTo>
                    <a:pt x="586" y="377"/>
                  </a:lnTo>
                  <a:lnTo>
                    <a:pt x="586" y="377"/>
                  </a:lnTo>
                  <a:lnTo>
                    <a:pt x="577" y="374"/>
                  </a:lnTo>
                  <a:lnTo>
                    <a:pt x="569" y="377"/>
                  </a:lnTo>
                  <a:lnTo>
                    <a:pt x="569" y="377"/>
                  </a:lnTo>
                  <a:lnTo>
                    <a:pt x="562" y="379"/>
                  </a:lnTo>
                  <a:lnTo>
                    <a:pt x="557" y="384"/>
                  </a:lnTo>
                  <a:lnTo>
                    <a:pt x="552" y="391"/>
                  </a:lnTo>
                  <a:lnTo>
                    <a:pt x="548" y="399"/>
                  </a:lnTo>
                  <a:lnTo>
                    <a:pt x="548" y="399"/>
                  </a:lnTo>
                  <a:lnTo>
                    <a:pt x="548" y="406"/>
                  </a:lnTo>
                  <a:lnTo>
                    <a:pt x="548" y="413"/>
                  </a:lnTo>
                  <a:lnTo>
                    <a:pt x="552" y="420"/>
                  </a:lnTo>
                  <a:lnTo>
                    <a:pt x="552" y="423"/>
                  </a:lnTo>
                  <a:lnTo>
                    <a:pt x="552" y="423"/>
                  </a:lnTo>
                  <a:lnTo>
                    <a:pt x="538" y="425"/>
                  </a:lnTo>
                  <a:lnTo>
                    <a:pt x="538" y="430"/>
                  </a:lnTo>
                  <a:lnTo>
                    <a:pt x="548" y="430"/>
                  </a:lnTo>
                  <a:lnTo>
                    <a:pt x="550" y="491"/>
                  </a:lnTo>
                  <a:lnTo>
                    <a:pt x="519" y="491"/>
                  </a:lnTo>
                  <a:lnTo>
                    <a:pt x="509" y="491"/>
                  </a:lnTo>
                  <a:lnTo>
                    <a:pt x="412" y="491"/>
                  </a:lnTo>
                  <a:lnTo>
                    <a:pt x="412" y="491"/>
                  </a:lnTo>
                  <a:lnTo>
                    <a:pt x="402" y="491"/>
                  </a:lnTo>
                  <a:lnTo>
                    <a:pt x="359" y="491"/>
                  </a:lnTo>
                  <a:lnTo>
                    <a:pt x="359" y="464"/>
                  </a:lnTo>
                  <a:lnTo>
                    <a:pt x="366" y="464"/>
                  </a:lnTo>
                  <a:lnTo>
                    <a:pt x="366" y="459"/>
                  </a:lnTo>
                  <a:lnTo>
                    <a:pt x="206" y="459"/>
                  </a:lnTo>
                  <a:lnTo>
                    <a:pt x="204" y="447"/>
                  </a:lnTo>
                  <a:lnTo>
                    <a:pt x="201" y="430"/>
                  </a:lnTo>
                  <a:lnTo>
                    <a:pt x="194" y="416"/>
                  </a:lnTo>
                  <a:lnTo>
                    <a:pt x="187" y="403"/>
                  </a:lnTo>
                  <a:lnTo>
                    <a:pt x="177" y="391"/>
                  </a:lnTo>
                  <a:lnTo>
                    <a:pt x="167" y="379"/>
                  </a:lnTo>
                  <a:lnTo>
                    <a:pt x="155" y="369"/>
                  </a:lnTo>
                  <a:lnTo>
                    <a:pt x="141" y="362"/>
                  </a:lnTo>
                  <a:lnTo>
                    <a:pt x="141" y="360"/>
                  </a:lnTo>
                  <a:lnTo>
                    <a:pt x="126" y="355"/>
                  </a:lnTo>
                  <a:lnTo>
                    <a:pt x="114" y="350"/>
                  </a:lnTo>
                  <a:lnTo>
                    <a:pt x="114" y="348"/>
                  </a:lnTo>
                  <a:lnTo>
                    <a:pt x="112" y="348"/>
                  </a:lnTo>
                  <a:lnTo>
                    <a:pt x="112" y="348"/>
                  </a:lnTo>
                  <a:lnTo>
                    <a:pt x="97" y="345"/>
                  </a:lnTo>
                  <a:lnTo>
                    <a:pt x="95" y="345"/>
                  </a:lnTo>
                  <a:lnTo>
                    <a:pt x="92" y="345"/>
                  </a:lnTo>
                  <a:lnTo>
                    <a:pt x="90" y="345"/>
                  </a:lnTo>
                  <a:lnTo>
                    <a:pt x="88" y="345"/>
                  </a:lnTo>
                  <a:lnTo>
                    <a:pt x="90" y="263"/>
                  </a:lnTo>
                  <a:lnTo>
                    <a:pt x="78" y="263"/>
                  </a:lnTo>
                  <a:lnTo>
                    <a:pt x="75" y="345"/>
                  </a:lnTo>
                  <a:lnTo>
                    <a:pt x="73" y="345"/>
                  </a:lnTo>
                  <a:lnTo>
                    <a:pt x="71" y="345"/>
                  </a:lnTo>
                  <a:lnTo>
                    <a:pt x="68" y="345"/>
                  </a:lnTo>
                  <a:lnTo>
                    <a:pt x="54" y="348"/>
                  </a:lnTo>
                  <a:lnTo>
                    <a:pt x="51" y="348"/>
                  </a:lnTo>
                  <a:lnTo>
                    <a:pt x="51" y="348"/>
                  </a:lnTo>
                  <a:lnTo>
                    <a:pt x="51" y="348"/>
                  </a:lnTo>
                  <a:lnTo>
                    <a:pt x="51" y="350"/>
                  </a:lnTo>
                  <a:lnTo>
                    <a:pt x="37" y="355"/>
                  </a:lnTo>
                  <a:lnTo>
                    <a:pt x="22" y="360"/>
                  </a:lnTo>
                  <a:lnTo>
                    <a:pt x="22" y="360"/>
                  </a:lnTo>
                  <a:lnTo>
                    <a:pt x="8" y="369"/>
                  </a:lnTo>
                  <a:lnTo>
                    <a:pt x="0" y="374"/>
                  </a:lnTo>
                  <a:lnTo>
                    <a:pt x="0" y="933"/>
                  </a:lnTo>
                  <a:lnTo>
                    <a:pt x="1276" y="933"/>
                  </a:lnTo>
                  <a:lnTo>
                    <a:pt x="1276" y="739"/>
                  </a:lnTo>
                  <a:lnTo>
                    <a:pt x="1233" y="739"/>
                  </a:lnTo>
                  <a:lnTo>
                    <a:pt x="1233" y="7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" name="íṩľîḑê"/>
            <p:cNvSpPr/>
            <p:nvPr/>
          </p:nvSpPr>
          <p:spPr bwMode="auto">
            <a:xfrm>
              <a:off x="8129058" y="4653701"/>
              <a:ext cx="2035444" cy="2504183"/>
            </a:xfrm>
            <a:custGeom>
              <a:avLst/>
              <a:gdLst>
                <a:gd name="T0" fmla="*/ 1247 w 1281"/>
                <a:gd name="T1" fmla="*/ 1059 h 1576"/>
                <a:gd name="T2" fmla="*/ 1063 w 1281"/>
                <a:gd name="T3" fmla="*/ 1107 h 1576"/>
                <a:gd name="T4" fmla="*/ 1010 w 1281"/>
                <a:gd name="T5" fmla="*/ 634 h 1576"/>
                <a:gd name="T6" fmla="*/ 879 w 1281"/>
                <a:gd name="T7" fmla="*/ 801 h 1576"/>
                <a:gd name="T8" fmla="*/ 831 w 1281"/>
                <a:gd name="T9" fmla="*/ 306 h 1576"/>
                <a:gd name="T10" fmla="*/ 882 w 1281"/>
                <a:gd name="T11" fmla="*/ 296 h 1576"/>
                <a:gd name="T12" fmla="*/ 882 w 1281"/>
                <a:gd name="T13" fmla="*/ 264 h 1576"/>
                <a:gd name="T14" fmla="*/ 884 w 1281"/>
                <a:gd name="T15" fmla="*/ 245 h 1576"/>
                <a:gd name="T16" fmla="*/ 879 w 1281"/>
                <a:gd name="T17" fmla="*/ 89 h 1576"/>
                <a:gd name="T18" fmla="*/ 877 w 1281"/>
                <a:gd name="T19" fmla="*/ 143 h 1576"/>
                <a:gd name="T20" fmla="*/ 795 w 1281"/>
                <a:gd name="T21" fmla="*/ 111 h 1576"/>
                <a:gd name="T22" fmla="*/ 790 w 1281"/>
                <a:gd name="T23" fmla="*/ 145 h 1576"/>
                <a:gd name="T24" fmla="*/ 710 w 1281"/>
                <a:gd name="T25" fmla="*/ 114 h 1576"/>
                <a:gd name="T26" fmla="*/ 703 w 1281"/>
                <a:gd name="T27" fmla="*/ 89 h 1576"/>
                <a:gd name="T28" fmla="*/ 623 w 1281"/>
                <a:gd name="T29" fmla="*/ 153 h 1576"/>
                <a:gd name="T30" fmla="*/ 615 w 1281"/>
                <a:gd name="T31" fmla="*/ 153 h 1576"/>
                <a:gd name="T32" fmla="*/ 615 w 1281"/>
                <a:gd name="T33" fmla="*/ 89 h 1576"/>
                <a:gd name="T34" fmla="*/ 536 w 1281"/>
                <a:gd name="T35" fmla="*/ 153 h 1576"/>
                <a:gd name="T36" fmla="*/ 528 w 1281"/>
                <a:gd name="T37" fmla="*/ 153 h 1576"/>
                <a:gd name="T38" fmla="*/ 526 w 1281"/>
                <a:gd name="T39" fmla="*/ 0 h 1576"/>
                <a:gd name="T40" fmla="*/ 521 w 1281"/>
                <a:gd name="T41" fmla="*/ 145 h 1576"/>
                <a:gd name="T42" fmla="*/ 499 w 1281"/>
                <a:gd name="T43" fmla="*/ 189 h 1576"/>
                <a:gd name="T44" fmla="*/ 468 w 1281"/>
                <a:gd name="T45" fmla="*/ 191 h 1576"/>
                <a:gd name="T46" fmla="*/ 448 w 1281"/>
                <a:gd name="T47" fmla="*/ 191 h 1576"/>
                <a:gd name="T48" fmla="*/ 429 w 1281"/>
                <a:gd name="T49" fmla="*/ 194 h 1576"/>
                <a:gd name="T50" fmla="*/ 412 w 1281"/>
                <a:gd name="T51" fmla="*/ 196 h 1576"/>
                <a:gd name="T52" fmla="*/ 395 w 1281"/>
                <a:gd name="T53" fmla="*/ 199 h 1576"/>
                <a:gd name="T54" fmla="*/ 366 w 1281"/>
                <a:gd name="T55" fmla="*/ 206 h 1576"/>
                <a:gd name="T56" fmla="*/ 354 w 1281"/>
                <a:gd name="T57" fmla="*/ 208 h 1576"/>
                <a:gd name="T58" fmla="*/ 347 w 1281"/>
                <a:gd name="T59" fmla="*/ 213 h 1576"/>
                <a:gd name="T60" fmla="*/ 342 w 1281"/>
                <a:gd name="T61" fmla="*/ 216 h 1576"/>
                <a:gd name="T62" fmla="*/ 342 w 1281"/>
                <a:gd name="T63" fmla="*/ 216 h 1576"/>
                <a:gd name="T64" fmla="*/ 337 w 1281"/>
                <a:gd name="T65" fmla="*/ 221 h 1576"/>
                <a:gd name="T66" fmla="*/ 339 w 1281"/>
                <a:gd name="T67" fmla="*/ 228 h 1576"/>
                <a:gd name="T68" fmla="*/ 337 w 1281"/>
                <a:gd name="T69" fmla="*/ 223 h 1576"/>
                <a:gd name="T70" fmla="*/ 337 w 1281"/>
                <a:gd name="T71" fmla="*/ 228 h 1576"/>
                <a:gd name="T72" fmla="*/ 339 w 1281"/>
                <a:gd name="T73" fmla="*/ 230 h 1576"/>
                <a:gd name="T74" fmla="*/ 342 w 1281"/>
                <a:gd name="T75" fmla="*/ 233 h 1576"/>
                <a:gd name="T76" fmla="*/ 344 w 1281"/>
                <a:gd name="T77" fmla="*/ 238 h 1576"/>
                <a:gd name="T78" fmla="*/ 352 w 1281"/>
                <a:gd name="T79" fmla="*/ 240 h 1576"/>
                <a:gd name="T80" fmla="*/ 359 w 1281"/>
                <a:gd name="T81" fmla="*/ 242 h 1576"/>
                <a:gd name="T82" fmla="*/ 368 w 1281"/>
                <a:gd name="T83" fmla="*/ 245 h 1576"/>
                <a:gd name="T84" fmla="*/ 378 w 1281"/>
                <a:gd name="T85" fmla="*/ 247 h 1576"/>
                <a:gd name="T86" fmla="*/ 390 w 1281"/>
                <a:gd name="T87" fmla="*/ 250 h 1576"/>
                <a:gd name="T88" fmla="*/ 400 w 1281"/>
                <a:gd name="T89" fmla="*/ 252 h 1576"/>
                <a:gd name="T90" fmla="*/ 402 w 1281"/>
                <a:gd name="T91" fmla="*/ 310 h 1576"/>
                <a:gd name="T92" fmla="*/ 402 w 1281"/>
                <a:gd name="T93" fmla="*/ 371 h 1576"/>
                <a:gd name="T94" fmla="*/ 402 w 1281"/>
                <a:gd name="T95" fmla="*/ 400 h 1576"/>
                <a:gd name="T96" fmla="*/ 400 w 1281"/>
                <a:gd name="T97" fmla="*/ 1260 h 1576"/>
                <a:gd name="T98" fmla="*/ 90 w 1281"/>
                <a:gd name="T99" fmla="*/ 383 h 1576"/>
                <a:gd name="T100" fmla="*/ 10 w 1281"/>
                <a:gd name="T101" fmla="*/ 1224 h 1576"/>
                <a:gd name="T102" fmla="*/ 1281 w 1281"/>
                <a:gd name="T103" fmla="*/ 1576 h 1576"/>
                <a:gd name="T104" fmla="*/ 352 w 1281"/>
                <a:gd name="T105" fmla="*/ 228 h 1576"/>
                <a:gd name="T106" fmla="*/ 342 w 1281"/>
                <a:gd name="T107" fmla="*/ 225 h 1576"/>
                <a:gd name="T108" fmla="*/ 342 w 1281"/>
                <a:gd name="T109" fmla="*/ 228 h 1576"/>
                <a:gd name="T110" fmla="*/ 410 w 1281"/>
                <a:gd name="T111" fmla="*/ 199 h 1576"/>
                <a:gd name="T112" fmla="*/ 412 w 1281"/>
                <a:gd name="T113" fmla="*/ 206 h 1576"/>
                <a:gd name="T114" fmla="*/ 419 w 1281"/>
                <a:gd name="T115" fmla="*/ 211 h 1576"/>
                <a:gd name="T116" fmla="*/ 427 w 1281"/>
                <a:gd name="T117" fmla="*/ 196 h 1576"/>
                <a:gd name="T118" fmla="*/ 429 w 1281"/>
                <a:gd name="T119" fmla="*/ 204 h 1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81" h="1576">
                  <a:moveTo>
                    <a:pt x="1281" y="1017"/>
                  </a:moveTo>
                  <a:lnTo>
                    <a:pt x="1277" y="1022"/>
                  </a:lnTo>
                  <a:lnTo>
                    <a:pt x="1264" y="1032"/>
                  </a:lnTo>
                  <a:lnTo>
                    <a:pt x="1255" y="1044"/>
                  </a:lnTo>
                  <a:lnTo>
                    <a:pt x="1247" y="1059"/>
                  </a:lnTo>
                  <a:lnTo>
                    <a:pt x="1240" y="1073"/>
                  </a:lnTo>
                  <a:lnTo>
                    <a:pt x="1235" y="1090"/>
                  </a:lnTo>
                  <a:lnTo>
                    <a:pt x="1235" y="1102"/>
                  </a:lnTo>
                  <a:lnTo>
                    <a:pt x="1063" y="1102"/>
                  </a:lnTo>
                  <a:lnTo>
                    <a:pt x="1063" y="1107"/>
                  </a:lnTo>
                  <a:lnTo>
                    <a:pt x="1071" y="1107"/>
                  </a:lnTo>
                  <a:lnTo>
                    <a:pt x="1071" y="1134"/>
                  </a:lnTo>
                  <a:lnTo>
                    <a:pt x="1051" y="1134"/>
                  </a:lnTo>
                  <a:lnTo>
                    <a:pt x="1051" y="634"/>
                  </a:lnTo>
                  <a:lnTo>
                    <a:pt x="1010" y="634"/>
                  </a:lnTo>
                  <a:lnTo>
                    <a:pt x="1010" y="602"/>
                  </a:lnTo>
                  <a:lnTo>
                    <a:pt x="925" y="602"/>
                  </a:lnTo>
                  <a:lnTo>
                    <a:pt x="925" y="634"/>
                  </a:lnTo>
                  <a:lnTo>
                    <a:pt x="879" y="634"/>
                  </a:lnTo>
                  <a:lnTo>
                    <a:pt x="879" y="801"/>
                  </a:lnTo>
                  <a:lnTo>
                    <a:pt x="848" y="801"/>
                  </a:lnTo>
                  <a:lnTo>
                    <a:pt x="848" y="825"/>
                  </a:lnTo>
                  <a:lnTo>
                    <a:pt x="831" y="825"/>
                  </a:lnTo>
                  <a:lnTo>
                    <a:pt x="831" y="495"/>
                  </a:lnTo>
                  <a:lnTo>
                    <a:pt x="831" y="306"/>
                  </a:lnTo>
                  <a:lnTo>
                    <a:pt x="872" y="306"/>
                  </a:lnTo>
                  <a:lnTo>
                    <a:pt x="872" y="306"/>
                  </a:lnTo>
                  <a:lnTo>
                    <a:pt x="872" y="306"/>
                  </a:lnTo>
                  <a:lnTo>
                    <a:pt x="882" y="306"/>
                  </a:lnTo>
                  <a:lnTo>
                    <a:pt x="882" y="296"/>
                  </a:lnTo>
                  <a:lnTo>
                    <a:pt x="884" y="296"/>
                  </a:lnTo>
                  <a:lnTo>
                    <a:pt x="887" y="289"/>
                  </a:lnTo>
                  <a:lnTo>
                    <a:pt x="887" y="281"/>
                  </a:lnTo>
                  <a:lnTo>
                    <a:pt x="882" y="281"/>
                  </a:lnTo>
                  <a:lnTo>
                    <a:pt x="882" y="264"/>
                  </a:lnTo>
                  <a:lnTo>
                    <a:pt x="884" y="264"/>
                  </a:lnTo>
                  <a:lnTo>
                    <a:pt x="884" y="262"/>
                  </a:lnTo>
                  <a:lnTo>
                    <a:pt x="884" y="247"/>
                  </a:lnTo>
                  <a:lnTo>
                    <a:pt x="884" y="247"/>
                  </a:lnTo>
                  <a:lnTo>
                    <a:pt x="884" y="245"/>
                  </a:lnTo>
                  <a:lnTo>
                    <a:pt x="884" y="143"/>
                  </a:lnTo>
                  <a:lnTo>
                    <a:pt x="882" y="143"/>
                  </a:lnTo>
                  <a:lnTo>
                    <a:pt x="882" y="89"/>
                  </a:lnTo>
                  <a:lnTo>
                    <a:pt x="879" y="89"/>
                  </a:lnTo>
                  <a:lnTo>
                    <a:pt x="879" y="89"/>
                  </a:lnTo>
                  <a:lnTo>
                    <a:pt x="879" y="111"/>
                  </a:lnTo>
                  <a:lnTo>
                    <a:pt x="877" y="111"/>
                  </a:lnTo>
                  <a:lnTo>
                    <a:pt x="877" y="111"/>
                  </a:lnTo>
                  <a:lnTo>
                    <a:pt x="877" y="143"/>
                  </a:lnTo>
                  <a:lnTo>
                    <a:pt x="877" y="143"/>
                  </a:lnTo>
                  <a:lnTo>
                    <a:pt x="877" y="145"/>
                  </a:lnTo>
                  <a:lnTo>
                    <a:pt x="877" y="150"/>
                  </a:lnTo>
                  <a:lnTo>
                    <a:pt x="795" y="150"/>
                  </a:lnTo>
                  <a:lnTo>
                    <a:pt x="795" y="114"/>
                  </a:lnTo>
                  <a:lnTo>
                    <a:pt x="795" y="111"/>
                  </a:lnTo>
                  <a:lnTo>
                    <a:pt x="792" y="111"/>
                  </a:lnTo>
                  <a:lnTo>
                    <a:pt x="792" y="89"/>
                  </a:lnTo>
                  <a:lnTo>
                    <a:pt x="792" y="89"/>
                  </a:lnTo>
                  <a:lnTo>
                    <a:pt x="790" y="89"/>
                  </a:lnTo>
                  <a:lnTo>
                    <a:pt x="790" y="145"/>
                  </a:lnTo>
                  <a:lnTo>
                    <a:pt x="787" y="145"/>
                  </a:lnTo>
                  <a:lnTo>
                    <a:pt x="787" y="150"/>
                  </a:lnTo>
                  <a:lnTo>
                    <a:pt x="710" y="150"/>
                  </a:lnTo>
                  <a:lnTo>
                    <a:pt x="710" y="114"/>
                  </a:lnTo>
                  <a:lnTo>
                    <a:pt x="710" y="114"/>
                  </a:lnTo>
                  <a:lnTo>
                    <a:pt x="705" y="114"/>
                  </a:lnTo>
                  <a:lnTo>
                    <a:pt x="705" y="145"/>
                  </a:lnTo>
                  <a:lnTo>
                    <a:pt x="705" y="145"/>
                  </a:lnTo>
                  <a:lnTo>
                    <a:pt x="705" y="89"/>
                  </a:lnTo>
                  <a:lnTo>
                    <a:pt x="703" y="89"/>
                  </a:lnTo>
                  <a:lnTo>
                    <a:pt x="700" y="89"/>
                  </a:lnTo>
                  <a:lnTo>
                    <a:pt x="700" y="145"/>
                  </a:lnTo>
                  <a:lnTo>
                    <a:pt x="698" y="145"/>
                  </a:lnTo>
                  <a:lnTo>
                    <a:pt x="698" y="150"/>
                  </a:lnTo>
                  <a:lnTo>
                    <a:pt x="623" y="153"/>
                  </a:lnTo>
                  <a:lnTo>
                    <a:pt x="623" y="114"/>
                  </a:lnTo>
                  <a:lnTo>
                    <a:pt x="623" y="114"/>
                  </a:lnTo>
                  <a:lnTo>
                    <a:pt x="618" y="114"/>
                  </a:lnTo>
                  <a:lnTo>
                    <a:pt x="618" y="153"/>
                  </a:lnTo>
                  <a:lnTo>
                    <a:pt x="615" y="153"/>
                  </a:lnTo>
                  <a:lnTo>
                    <a:pt x="615" y="148"/>
                  </a:lnTo>
                  <a:lnTo>
                    <a:pt x="615" y="145"/>
                  </a:lnTo>
                  <a:lnTo>
                    <a:pt x="615" y="145"/>
                  </a:lnTo>
                  <a:lnTo>
                    <a:pt x="615" y="92"/>
                  </a:lnTo>
                  <a:lnTo>
                    <a:pt x="615" y="89"/>
                  </a:lnTo>
                  <a:lnTo>
                    <a:pt x="611" y="89"/>
                  </a:lnTo>
                  <a:lnTo>
                    <a:pt x="611" y="145"/>
                  </a:lnTo>
                  <a:lnTo>
                    <a:pt x="608" y="145"/>
                  </a:lnTo>
                  <a:lnTo>
                    <a:pt x="608" y="153"/>
                  </a:lnTo>
                  <a:lnTo>
                    <a:pt x="536" y="153"/>
                  </a:lnTo>
                  <a:lnTo>
                    <a:pt x="536" y="114"/>
                  </a:lnTo>
                  <a:lnTo>
                    <a:pt x="536" y="114"/>
                  </a:lnTo>
                  <a:lnTo>
                    <a:pt x="533" y="114"/>
                  </a:lnTo>
                  <a:lnTo>
                    <a:pt x="533" y="153"/>
                  </a:lnTo>
                  <a:lnTo>
                    <a:pt x="528" y="153"/>
                  </a:lnTo>
                  <a:lnTo>
                    <a:pt x="528" y="148"/>
                  </a:lnTo>
                  <a:lnTo>
                    <a:pt x="526" y="145"/>
                  </a:lnTo>
                  <a:lnTo>
                    <a:pt x="526" y="145"/>
                  </a:lnTo>
                  <a:lnTo>
                    <a:pt x="526" y="2"/>
                  </a:lnTo>
                  <a:lnTo>
                    <a:pt x="526" y="0"/>
                  </a:lnTo>
                  <a:lnTo>
                    <a:pt x="521" y="0"/>
                  </a:lnTo>
                  <a:lnTo>
                    <a:pt x="521" y="92"/>
                  </a:lnTo>
                  <a:lnTo>
                    <a:pt x="521" y="92"/>
                  </a:lnTo>
                  <a:lnTo>
                    <a:pt x="521" y="145"/>
                  </a:lnTo>
                  <a:lnTo>
                    <a:pt x="521" y="145"/>
                  </a:lnTo>
                  <a:lnTo>
                    <a:pt x="521" y="187"/>
                  </a:lnTo>
                  <a:lnTo>
                    <a:pt x="511" y="189"/>
                  </a:lnTo>
                  <a:lnTo>
                    <a:pt x="511" y="189"/>
                  </a:lnTo>
                  <a:lnTo>
                    <a:pt x="509" y="189"/>
                  </a:lnTo>
                  <a:lnTo>
                    <a:pt x="499" y="189"/>
                  </a:lnTo>
                  <a:lnTo>
                    <a:pt x="490" y="189"/>
                  </a:lnTo>
                  <a:lnTo>
                    <a:pt x="490" y="189"/>
                  </a:lnTo>
                  <a:lnTo>
                    <a:pt x="487" y="189"/>
                  </a:lnTo>
                  <a:lnTo>
                    <a:pt x="477" y="189"/>
                  </a:lnTo>
                  <a:lnTo>
                    <a:pt x="468" y="191"/>
                  </a:lnTo>
                  <a:lnTo>
                    <a:pt x="468" y="191"/>
                  </a:lnTo>
                  <a:lnTo>
                    <a:pt x="465" y="191"/>
                  </a:lnTo>
                  <a:lnTo>
                    <a:pt x="465" y="191"/>
                  </a:lnTo>
                  <a:lnTo>
                    <a:pt x="456" y="191"/>
                  </a:lnTo>
                  <a:lnTo>
                    <a:pt x="448" y="191"/>
                  </a:lnTo>
                  <a:lnTo>
                    <a:pt x="448" y="191"/>
                  </a:lnTo>
                  <a:lnTo>
                    <a:pt x="446" y="191"/>
                  </a:lnTo>
                  <a:lnTo>
                    <a:pt x="439" y="194"/>
                  </a:lnTo>
                  <a:lnTo>
                    <a:pt x="429" y="194"/>
                  </a:lnTo>
                  <a:lnTo>
                    <a:pt x="429" y="194"/>
                  </a:lnTo>
                  <a:lnTo>
                    <a:pt x="429" y="194"/>
                  </a:lnTo>
                  <a:lnTo>
                    <a:pt x="419" y="196"/>
                  </a:lnTo>
                  <a:lnTo>
                    <a:pt x="412" y="196"/>
                  </a:lnTo>
                  <a:lnTo>
                    <a:pt x="412" y="196"/>
                  </a:lnTo>
                  <a:lnTo>
                    <a:pt x="412" y="196"/>
                  </a:lnTo>
                  <a:lnTo>
                    <a:pt x="412" y="196"/>
                  </a:lnTo>
                  <a:lnTo>
                    <a:pt x="412" y="196"/>
                  </a:lnTo>
                  <a:lnTo>
                    <a:pt x="405" y="199"/>
                  </a:lnTo>
                  <a:lnTo>
                    <a:pt x="398" y="199"/>
                  </a:lnTo>
                  <a:lnTo>
                    <a:pt x="395" y="199"/>
                  </a:lnTo>
                  <a:lnTo>
                    <a:pt x="390" y="201"/>
                  </a:lnTo>
                  <a:lnTo>
                    <a:pt x="383" y="201"/>
                  </a:lnTo>
                  <a:lnTo>
                    <a:pt x="383" y="201"/>
                  </a:lnTo>
                  <a:lnTo>
                    <a:pt x="376" y="204"/>
                  </a:lnTo>
                  <a:lnTo>
                    <a:pt x="366" y="206"/>
                  </a:lnTo>
                  <a:lnTo>
                    <a:pt x="356" y="208"/>
                  </a:lnTo>
                  <a:lnTo>
                    <a:pt x="354" y="208"/>
                  </a:lnTo>
                  <a:lnTo>
                    <a:pt x="354" y="208"/>
                  </a:lnTo>
                  <a:lnTo>
                    <a:pt x="354" y="208"/>
                  </a:lnTo>
                  <a:lnTo>
                    <a:pt x="354" y="208"/>
                  </a:lnTo>
                  <a:lnTo>
                    <a:pt x="354" y="208"/>
                  </a:lnTo>
                  <a:lnTo>
                    <a:pt x="349" y="211"/>
                  </a:lnTo>
                  <a:lnTo>
                    <a:pt x="349" y="211"/>
                  </a:lnTo>
                  <a:lnTo>
                    <a:pt x="347" y="213"/>
                  </a:lnTo>
                  <a:lnTo>
                    <a:pt x="347" y="213"/>
                  </a:lnTo>
                  <a:lnTo>
                    <a:pt x="347" y="213"/>
                  </a:lnTo>
                  <a:lnTo>
                    <a:pt x="344" y="213"/>
                  </a:lnTo>
                  <a:lnTo>
                    <a:pt x="342" y="216"/>
                  </a:lnTo>
                  <a:lnTo>
                    <a:pt x="342" y="216"/>
                  </a:lnTo>
                  <a:lnTo>
                    <a:pt x="342" y="216"/>
                  </a:lnTo>
                  <a:lnTo>
                    <a:pt x="339" y="218"/>
                  </a:lnTo>
                  <a:lnTo>
                    <a:pt x="339" y="218"/>
                  </a:lnTo>
                  <a:lnTo>
                    <a:pt x="339" y="218"/>
                  </a:lnTo>
                  <a:lnTo>
                    <a:pt x="342" y="216"/>
                  </a:lnTo>
                  <a:lnTo>
                    <a:pt x="342" y="216"/>
                  </a:lnTo>
                  <a:lnTo>
                    <a:pt x="342" y="216"/>
                  </a:lnTo>
                  <a:lnTo>
                    <a:pt x="339" y="218"/>
                  </a:lnTo>
                  <a:lnTo>
                    <a:pt x="339" y="218"/>
                  </a:lnTo>
                  <a:lnTo>
                    <a:pt x="337" y="221"/>
                  </a:lnTo>
                  <a:lnTo>
                    <a:pt x="337" y="221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7" y="225"/>
                  </a:lnTo>
                  <a:lnTo>
                    <a:pt x="337" y="225"/>
                  </a:lnTo>
                  <a:lnTo>
                    <a:pt x="339" y="228"/>
                  </a:lnTo>
                  <a:lnTo>
                    <a:pt x="337" y="225"/>
                  </a:lnTo>
                  <a:lnTo>
                    <a:pt x="337" y="225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7" y="225"/>
                  </a:lnTo>
                  <a:lnTo>
                    <a:pt x="337" y="225"/>
                  </a:lnTo>
                  <a:lnTo>
                    <a:pt x="337" y="228"/>
                  </a:lnTo>
                  <a:lnTo>
                    <a:pt x="337" y="228"/>
                  </a:lnTo>
                  <a:lnTo>
                    <a:pt x="337" y="228"/>
                  </a:lnTo>
                  <a:lnTo>
                    <a:pt x="337" y="228"/>
                  </a:lnTo>
                  <a:lnTo>
                    <a:pt x="337" y="230"/>
                  </a:lnTo>
                  <a:lnTo>
                    <a:pt x="339" y="230"/>
                  </a:lnTo>
                  <a:lnTo>
                    <a:pt x="339" y="233"/>
                  </a:lnTo>
                  <a:lnTo>
                    <a:pt x="339" y="233"/>
                  </a:lnTo>
                  <a:lnTo>
                    <a:pt x="339" y="233"/>
                  </a:lnTo>
                  <a:lnTo>
                    <a:pt x="339" y="233"/>
                  </a:lnTo>
                  <a:lnTo>
                    <a:pt x="342" y="233"/>
                  </a:lnTo>
                  <a:lnTo>
                    <a:pt x="342" y="235"/>
                  </a:lnTo>
                  <a:lnTo>
                    <a:pt x="342" y="235"/>
                  </a:lnTo>
                  <a:lnTo>
                    <a:pt x="344" y="238"/>
                  </a:lnTo>
                  <a:lnTo>
                    <a:pt x="344" y="238"/>
                  </a:lnTo>
                  <a:lnTo>
                    <a:pt x="344" y="238"/>
                  </a:lnTo>
                  <a:lnTo>
                    <a:pt x="347" y="238"/>
                  </a:lnTo>
                  <a:lnTo>
                    <a:pt x="347" y="238"/>
                  </a:lnTo>
                  <a:lnTo>
                    <a:pt x="349" y="238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6" y="242"/>
                  </a:lnTo>
                  <a:lnTo>
                    <a:pt x="359" y="242"/>
                  </a:lnTo>
                  <a:lnTo>
                    <a:pt x="359" y="242"/>
                  </a:lnTo>
                  <a:lnTo>
                    <a:pt x="359" y="242"/>
                  </a:lnTo>
                  <a:lnTo>
                    <a:pt x="359" y="242"/>
                  </a:lnTo>
                  <a:lnTo>
                    <a:pt x="364" y="245"/>
                  </a:lnTo>
                  <a:lnTo>
                    <a:pt x="368" y="245"/>
                  </a:lnTo>
                  <a:lnTo>
                    <a:pt x="368" y="245"/>
                  </a:lnTo>
                  <a:lnTo>
                    <a:pt x="368" y="245"/>
                  </a:lnTo>
                  <a:lnTo>
                    <a:pt x="368" y="245"/>
                  </a:lnTo>
                  <a:lnTo>
                    <a:pt x="373" y="247"/>
                  </a:lnTo>
                  <a:lnTo>
                    <a:pt x="378" y="247"/>
                  </a:lnTo>
                  <a:lnTo>
                    <a:pt x="378" y="247"/>
                  </a:lnTo>
                  <a:lnTo>
                    <a:pt x="381" y="247"/>
                  </a:lnTo>
                  <a:lnTo>
                    <a:pt x="381" y="247"/>
                  </a:lnTo>
                  <a:lnTo>
                    <a:pt x="385" y="250"/>
                  </a:lnTo>
                  <a:lnTo>
                    <a:pt x="390" y="250"/>
                  </a:lnTo>
                  <a:lnTo>
                    <a:pt x="390" y="250"/>
                  </a:lnTo>
                  <a:lnTo>
                    <a:pt x="393" y="250"/>
                  </a:lnTo>
                  <a:lnTo>
                    <a:pt x="393" y="250"/>
                  </a:lnTo>
                  <a:lnTo>
                    <a:pt x="398" y="252"/>
                  </a:lnTo>
                  <a:lnTo>
                    <a:pt x="400" y="252"/>
                  </a:lnTo>
                  <a:lnTo>
                    <a:pt x="460" y="262"/>
                  </a:lnTo>
                  <a:lnTo>
                    <a:pt x="460" y="301"/>
                  </a:lnTo>
                  <a:lnTo>
                    <a:pt x="436" y="303"/>
                  </a:lnTo>
                  <a:lnTo>
                    <a:pt x="417" y="308"/>
                  </a:lnTo>
                  <a:lnTo>
                    <a:pt x="402" y="310"/>
                  </a:lnTo>
                  <a:lnTo>
                    <a:pt x="398" y="315"/>
                  </a:lnTo>
                  <a:lnTo>
                    <a:pt x="398" y="337"/>
                  </a:lnTo>
                  <a:lnTo>
                    <a:pt x="402" y="342"/>
                  </a:lnTo>
                  <a:lnTo>
                    <a:pt x="402" y="342"/>
                  </a:lnTo>
                  <a:lnTo>
                    <a:pt x="402" y="371"/>
                  </a:lnTo>
                  <a:lnTo>
                    <a:pt x="398" y="374"/>
                  </a:lnTo>
                  <a:lnTo>
                    <a:pt x="398" y="376"/>
                  </a:lnTo>
                  <a:lnTo>
                    <a:pt x="402" y="381"/>
                  </a:lnTo>
                  <a:lnTo>
                    <a:pt x="402" y="381"/>
                  </a:lnTo>
                  <a:lnTo>
                    <a:pt x="402" y="400"/>
                  </a:lnTo>
                  <a:lnTo>
                    <a:pt x="398" y="403"/>
                  </a:lnTo>
                  <a:lnTo>
                    <a:pt x="398" y="412"/>
                  </a:lnTo>
                  <a:lnTo>
                    <a:pt x="402" y="417"/>
                  </a:lnTo>
                  <a:lnTo>
                    <a:pt x="402" y="417"/>
                  </a:lnTo>
                  <a:lnTo>
                    <a:pt x="400" y="1260"/>
                  </a:lnTo>
                  <a:lnTo>
                    <a:pt x="378" y="1260"/>
                  </a:lnTo>
                  <a:lnTo>
                    <a:pt x="376" y="415"/>
                  </a:lnTo>
                  <a:lnTo>
                    <a:pt x="315" y="415"/>
                  </a:lnTo>
                  <a:lnTo>
                    <a:pt x="315" y="383"/>
                  </a:lnTo>
                  <a:lnTo>
                    <a:pt x="90" y="383"/>
                  </a:lnTo>
                  <a:lnTo>
                    <a:pt x="75" y="415"/>
                  </a:lnTo>
                  <a:lnTo>
                    <a:pt x="42" y="415"/>
                  </a:lnTo>
                  <a:lnTo>
                    <a:pt x="17" y="473"/>
                  </a:lnTo>
                  <a:lnTo>
                    <a:pt x="17" y="1224"/>
                  </a:lnTo>
                  <a:lnTo>
                    <a:pt x="10" y="1224"/>
                  </a:lnTo>
                  <a:lnTo>
                    <a:pt x="10" y="1221"/>
                  </a:lnTo>
                  <a:lnTo>
                    <a:pt x="5" y="1219"/>
                  </a:lnTo>
                  <a:lnTo>
                    <a:pt x="0" y="1219"/>
                  </a:lnTo>
                  <a:lnTo>
                    <a:pt x="0" y="1576"/>
                  </a:lnTo>
                  <a:lnTo>
                    <a:pt x="1281" y="1576"/>
                  </a:lnTo>
                  <a:lnTo>
                    <a:pt x="1281" y="1017"/>
                  </a:lnTo>
                  <a:close/>
                  <a:moveTo>
                    <a:pt x="342" y="225"/>
                  </a:moveTo>
                  <a:lnTo>
                    <a:pt x="344" y="225"/>
                  </a:lnTo>
                  <a:lnTo>
                    <a:pt x="344" y="225"/>
                  </a:lnTo>
                  <a:lnTo>
                    <a:pt x="352" y="228"/>
                  </a:lnTo>
                  <a:lnTo>
                    <a:pt x="344" y="225"/>
                  </a:lnTo>
                  <a:lnTo>
                    <a:pt x="344" y="225"/>
                  </a:lnTo>
                  <a:lnTo>
                    <a:pt x="342" y="225"/>
                  </a:lnTo>
                  <a:lnTo>
                    <a:pt x="342" y="223"/>
                  </a:lnTo>
                  <a:lnTo>
                    <a:pt x="342" y="225"/>
                  </a:lnTo>
                  <a:close/>
                  <a:moveTo>
                    <a:pt x="342" y="228"/>
                  </a:moveTo>
                  <a:lnTo>
                    <a:pt x="342" y="228"/>
                  </a:lnTo>
                  <a:lnTo>
                    <a:pt x="339" y="228"/>
                  </a:lnTo>
                  <a:lnTo>
                    <a:pt x="342" y="228"/>
                  </a:lnTo>
                  <a:lnTo>
                    <a:pt x="342" y="228"/>
                  </a:lnTo>
                  <a:lnTo>
                    <a:pt x="361" y="233"/>
                  </a:lnTo>
                  <a:lnTo>
                    <a:pt x="342" y="228"/>
                  </a:lnTo>
                  <a:close/>
                  <a:moveTo>
                    <a:pt x="410" y="199"/>
                  </a:moveTo>
                  <a:lnTo>
                    <a:pt x="410" y="201"/>
                  </a:lnTo>
                  <a:lnTo>
                    <a:pt x="410" y="199"/>
                  </a:lnTo>
                  <a:lnTo>
                    <a:pt x="410" y="199"/>
                  </a:lnTo>
                  <a:lnTo>
                    <a:pt x="410" y="199"/>
                  </a:lnTo>
                  <a:close/>
                  <a:moveTo>
                    <a:pt x="414" y="208"/>
                  </a:moveTo>
                  <a:lnTo>
                    <a:pt x="412" y="206"/>
                  </a:lnTo>
                  <a:lnTo>
                    <a:pt x="412" y="206"/>
                  </a:lnTo>
                  <a:lnTo>
                    <a:pt x="412" y="206"/>
                  </a:lnTo>
                  <a:lnTo>
                    <a:pt x="412" y="206"/>
                  </a:lnTo>
                  <a:lnTo>
                    <a:pt x="412" y="206"/>
                  </a:lnTo>
                  <a:lnTo>
                    <a:pt x="414" y="208"/>
                  </a:lnTo>
                  <a:lnTo>
                    <a:pt x="419" y="211"/>
                  </a:lnTo>
                  <a:lnTo>
                    <a:pt x="414" y="208"/>
                  </a:lnTo>
                  <a:close/>
                  <a:moveTo>
                    <a:pt x="427" y="199"/>
                  </a:moveTo>
                  <a:lnTo>
                    <a:pt x="427" y="196"/>
                  </a:lnTo>
                  <a:lnTo>
                    <a:pt x="429" y="196"/>
                  </a:lnTo>
                  <a:lnTo>
                    <a:pt x="427" y="196"/>
                  </a:lnTo>
                  <a:lnTo>
                    <a:pt x="427" y="199"/>
                  </a:lnTo>
                  <a:close/>
                  <a:moveTo>
                    <a:pt x="429" y="206"/>
                  </a:moveTo>
                  <a:lnTo>
                    <a:pt x="429" y="204"/>
                  </a:lnTo>
                  <a:lnTo>
                    <a:pt x="429" y="204"/>
                  </a:lnTo>
                  <a:lnTo>
                    <a:pt x="429" y="204"/>
                  </a:lnTo>
                  <a:lnTo>
                    <a:pt x="429" y="206"/>
                  </a:lnTo>
                  <a:lnTo>
                    <a:pt x="431" y="206"/>
                  </a:lnTo>
                  <a:lnTo>
                    <a:pt x="429" y="2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" name="íṡ1îḋé"/>
            <p:cNvSpPr/>
            <p:nvPr/>
          </p:nvSpPr>
          <p:spPr bwMode="auto">
            <a:xfrm>
              <a:off x="6098382" y="5262269"/>
              <a:ext cx="2030676" cy="1895615"/>
            </a:xfrm>
            <a:custGeom>
              <a:avLst/>
              <a:gdLst>
                <a:gd name="T0" fmla="*/ 1278 w 1278"/>
                <a:gd name="T1" fmla="*/ 836 h 1193"/>
                <a:gd name="T2" fmla="*/ 1271 w 1278"/>
                <a:gd name="T3" fmla="*/ 819 h 1193"/>
                <a:gd name="T4" fmla="*/ 1252 w 1278"/>
                <a:gd name="T5" fmla="*/ 821 h 1193"/>
                <a:gd name="T6" fmla="*/ 1242 w 1278"/>
                <a:gd name="T7" fmla="*/ 807 h 1193"/>
                <a:gd name="T8" fmla="*/ 1206 w 1278"/>
                <a:gd name="T9" fmla="*/ 700 h 1193"/>
                <a:gd name="T10" fmla="*/ 1167 w 1278"/>
                <a:gd name="T11" fmla="*/ 693 h 1193"/>
                <a:gd name="T12" fmla="*/ 1126 w 1278"/>
                <a:gd name="T13" fmla="*/ 651 h 1193"/>
                <a:gd name="T14" fmla="*/ 1075 w 1278"/>
                <a:gd name="T15" fmla="*/ 598 h 1193"/>
                <a:gd name="T16" fmla="*/ 1068 w 1278"/>
                <a:gd name="T17" fmla="*/ 586 h 1193"/>
                <a:gd name="T18" fmla="*/ 1053 w 1278"/>
                <a:gd name="T19" fmla="*/ 566 h 1193"/>
                <a:gd name="T20" fmla="*/ 1048 w 1278"/>
                <a:gd name="T21" fmla="*/ 581 h 1193"/>
                <a:gd name="T22" fmla="*/ 1034 w 1278"/>
                <a:gd name="T23" fmla="*/ 593 h 1193"/>
                <a:gd name="T24" fmla="*/ 1034 w 1278"/>
                <a:gd name="T25" fmla="*/ 625 h 1193"/>
                <a:gd name="T26" fmla="*/ 956 w 1278"/>
                <a:gd name="T27" fmla="*/ 685 h 1193"/>
                <a:gd name="T28" fmla="*/ 925 w 1278"/>
                <a:gd name="T29" fmla="*/ 695 h 1193"/>
                <a:gd name="T30" fmla="*/ 884 w 1278"/>
                <a:gd name="T31" fmla="*/ 824 h 1193"/>
                <a:gd name="T32" fmla="*/ 864 w 1278"/>
                <a:gd name="T33" fmla="*/ 807 h 1193"/>
                <a:gd name="T34" fmla="*/ 850 w 1278"/>
                <a:gd name="T35" fmla="*/ 838 h 1193"/>
                <a:gd name="T36" fmla="*/ 833 w 1278"/>
                <a:gd name="T37" fmla="*/ 819 h 1193"/>
                <a:gd name="T38" fmla="*/ 814 w 1278"/>
                <a:gd name="T39" fmla="*/ 841 h 1193"/>
                <a:gd name="T40" fmla="*/ 751 w 1278"/>
                <a:gd name="T41" fmla="*/ 32 h 1193"/>
                <a:gd name="T42" fmla="*/ 445 w 1278"/>
                <a:gd name="T43" fmla="*/ 855 h 1193"/>
                <a:gd name="T44" fmla="*/ 431 w 1278"/>
                <a:gd name="T45" fmla="*/ 739 h 1193"/>
                <a:gd name="T46" fmla="*/ 404 w 1278"/>
                <a:gd name="T47" fmla="*/ 756 h 1193"/>
                <a:gd name="T48" fmla="*/ 378 w 1278"/>
                <a:gd name="T49" fmla="*/ 561 h 1193"/>
                <a:gd name="T50" fmla="*/ 375 w 1278"/>
                <a:gd name="T51" fmla="*/ 547 h 1193"/>
                <a:gd name="T52" fmla="*/ 368 w 1278"/>
                <a:gd name="T53" fmla="*/ 569 h 1193"/>
                <a:gd name="T54" fmla="*/ 351 w 1278"/>
                <a:gd name="T55" fmla="*/ 479 h 1193"/>
                <a:gd name="T56" fmla="*/ 341 w 1278"/>
                <a:gd name="T57" fmla="*/ 348 h 1193"/>
                <a:gd name="T58" fmla="*/ 324 w 1278"/>
                <a:gd name="T59" fmla="*/ 372 h 1193"/>
                <a:gd name="T60" fmla="*/ 312 w 1278"/>
                <a:gd name="T61" fmla="*/ 479 h 1193"/>
                <a:gd name="T62" fmla="*/ 295 w 1278"/>
                <a:gd name="T63" fmla="*/ 561 h 1193"/>
                <a:gd name="T64" fmla="*/ 290 w 1278"/>
                <a:gd name="T65" fmla="*/ 547 h 1193"/>
                <a:gd name="T66" fmla="*/ 288 w 1278"/>
                <a:gd name="T67" fmla="*/ 569 h 1193"/>
                <a:gd name="T68" fmla="*/ 269 w 1278"/>
                <a:gd name="T69" fmla="*/ 693 h 1193"/>
                <a:gd name="T70" fmla="*/ 269 w 1278"/>
                <a:gd name="T71" fmla="*/ 695 h 1193"/>
                <a:gd name="T72" fmla="*/ 261 w 1278"/>
                <a:gd name="T73" fmla="*/ 758 h 1193"/>
                <a:gd name="T74" fmla="*/ 244 w 1278"/>
                <a:gd name="T75" fmla="*/ 712 h 1193"/>
                <a:gd name="T76" fmla="*/ 232 w 1278"/>
                <a:gd name="T77" fmla="*/ 574 h 1193"/>
                <a:gd name="T78" fmla="*/ 208 w 1278"/>
                <a:gd name="T79" fmla="*/ 710 h 1193"/>
                <a:gd name="T80" fmla="*/ 194 w 1278"/>
                <a:gd name="T81" fmla="*/ 748 h 1193"/>
                <a:gd name="T82" fmla="*/ 174 w 1278"/>
                <a:gd name="T83" fmla="*/ 688 h 1193"/>
                <a:gd name="T84" fmla="*/ 172 w 1278"/>
                <a:gd name="T85" fmla="*/ 685 h 1193"/>
                <a:gd name="T86" fmla="*/ 169 w 1278"/>
                <a:gd name="T87" fmla="*/ 615 h 1193"/>
                <a:gd name="T88" fmla="*/ 167 w 1278"/>
                <a:gd name="T89" fmla="*/ 610 h 1193"/>
                <a:gd name="T90" fmla="*/ 157 w 1278"/>
                <a:gd name="T91" fmla="*/ 557 h 1193"/>
                <a:gd name="T92" fmla="*/ 148 w 1278"/>
                <a:gd name="T93" fmla="*/ 547 h 1193"/>
                <a:gd name="T94" fmla="*/ 123 w 1278"/>
                <a:gd name="T95" fmla="*/ 479 h 1193"/>
                <a:gd name="T96" fmla="*/ 123 w 1278"/>
                <a:gd name="T97" fmla="*/ 464 h 1193"/>
                <a:gd name="T98" fmla="*/ 121 w 1278"/>
                <a:gd name="T99" fmla="*/ 304 h 1193"/>
                <a:gd name="T100" fmla="*/ 97 w 1278"/>
                <a:gd name="T101" fmla="*/ 464 h 1193"/>
                <a:gd name="T102" fmla="*/ 94 w 1278"/>
                <a:gd name="T103" fmla="*/ 476 h 1193"/>
                <a:gd name="T104" fmla="*/ 70 w 1278"/>
                <a:gd name="T105" fmla="*/ 554 h 1193"/>
                <a:gd name="T106" fmla="*/ 60 w 1278"/>
                <a:gd name="T107" fmla="*/ 549 h 1193"/>
                <a:gd name="T108" fmla="*/ 48 w 1278"/>
                <a:gd name="T109" fmla="*/ 610 h 1193"/>
                <a:gd name="T110" fmla="*/ 41 w 1278"/>
                <a:gd name="T111" fmla="*/ 746 h 1193"/>
                <a:gd name="T112" fmla="*/ 17 w 1278"/>
                <a:gd name="T113" fmla="*/ 739 h 1193"/>
                <a:gd name="T114" fmla="*/ 7 w 1278"/>
                <a:gd name="T115" fmla="*/ 848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78" h="1193">
                  <a:moveTo>
                    <a:pt x="12" y="306"/>
                  </a:moveTo>
                  <a:lnTo>
                    <a:pt x="0" y="304"/>
                  </a:lnTo>
                  <a:lnTo>
                    <a:pt x="0" y="1193"/>
                  </a:lnTo>
                  <a:lnTo>
                    <a:pt x="1278" y="1193"/>
                  </a:lnTo>
                  <a:lnTo>
                    <a:pt x="1278" y="836"/>
                  </a:lnTo>
                  <a:lnTo>
                    <a:pt x="1274" y="836"/>
                  </a:lnTo>
                  <a:lnTo>
                    <a:pt x="1274" y="819"/>
                  </a:lnTo>
                  <a:lnTo>
                    <a:pt x="1271" y="819"/>
                  </a:lnTo>
                  <a:lnTo>
                    <a:pt x="1271" y="819"/>
                  </a:lnTo>
                  <a:lnTo>
                    <a:pt x="1271" y="819"/>
                  </a:lnTo>
                  <a:lnTo>
                    <a:pt x="1269" y="819"/>
                  </a:lnTo>
                  <a:lnTo>
                    <a:pt x="1269" y="836"/>
                  </a:lnTo>
                  <a:lnTo>
                    <a:pt x="1257" y="836"/>
                  </a:lnTo>
                  <a:lnTo>
                    <a:pt x="1257" y="824"/>
                  </a:lnTo>
                  <a:lnTo>
                    <a:pt x="1252" y="821"/>
                  </a:lnTo>
                  <a:lnTo>
                    <a:pt x="1245" y="821"/>
                  </a:lnTo>
                  <a:lnTo>
                    <a:pt x="1245" y="807"/>
                  </a:lnTo>
                  <a:lnTo>
                    <a:pt x="1242" y="807"/>
                  </a:lnTo>
                  <a:lnTo>
                    <a:pt x="1242" y="807"/>
                  </a:lnTo>
                  <a:lnTo>
                    <a:pt x="1242" y="807"/>
                  </a:lnTo>
                  <a:lnTo>
                    <a:pt x="1240" y="807"/>
                  </a:lnTo>
                  <a:lnTo>
                    <a:pt x="1240" y="821"/>
                  </a:lnTo>
                  <a:lnTo>
                    <a:pt x="1220" y="821"/>
                  </a:lnTo>
                  <a:lnTo>
                    <a:pt x="1223" y="702"/>
                  </a:lnTo>
                  <a:lnTo>
                    <a:pt x="1206" y="700"/>
                  </a:lnTo>
                  <a:lnTo>
                    <a:pt x="1182" y="700"/>
                  </a:lnTo>
                  <a:lnTo>
                    <a:pt x="1174" y="695"/>
                  </a:lnTo>
                  <a:lnTo>
                    <a:pt x="1174" y="695"/>
                  </a:lnTo>
                  <a:lnTo>
                    <a:pt x="1172" y="695"/>
                  </a:lnTo>
                  <a:lnTo>
                    <a:pt x="1167" y="693"/>
                  </a:lnTo>
                  <a:lnTo>
                    <a:pt x="1167" y="688"/>
                  </a:lnTo>
                  <a:lnTo>
                    <a:pt x="1155" y="685"/>
                  </a:lnTo>
                  <a:lnTo>
                    <a:pt x="1150" y="685"/>
                  </a:lnTo>
                  <a:lnTo>
                    <a:pt x="1140" y="668"/>
                  </a:lnTo>
                  <a:lnTo>
                    <a:pt x="1126" y="651"/>
                  </a:lnTo>
                  <a:lnTo>
                    <a:pt x="1111" y="639"/>
                  </a:lnTo>
                  <a:lnTo>
                    <a:pt x="1092" y="629"/>
                  </a:lnTo>
                  <a:lnTo>
                    <a:pt x="1073" y="625"/>
                  </a:lnTo>
                  <a:lnTo>
                    <a:pt x="1073" y="598"/>
                  </a:lnTo>
                  <a:lnTo>
                    <a:pt x="1075" y="598"/>
                  </a:lnTo>
                  <a:lnTo>
                    <a:pt x="1075" y="595"/>
                  </a:lnTo>
                  <a:lnTo>
                    <a:pt x="1075" y="593"/>
                  </a:lnTo>
                  <a:lnTo>
                    <a:pt x="1073" y="593"/>
                  </a:lnTo>
                  <a:lnTo>
                    <a:pt x="1070" y="588"/>
                  </a:lnTo>
                  <a:lnTo>
                    <a:pt x="1068" y="586"/>
                  </a:lnTo>
                  <a:lnTo>
                    <a:pt x="1063" y="583"/>
                  </a:lnTo>
                  <a:lnTo>
                    <a:pt x="1061" y="581"/>
                  </a:lnTo>
                  <a:lnTo>
                    <a:pt x="1056" y="581"/>
                  </a:lnTo>
                  <a:lnTo>
                    <a:pt x="1056" y="566"/>
                  </a:lnTo>
                  <a:lnTo>
                    <a:pt x="1053" y="566"/>
                  </a:lnTo>
                  <a:lnTo>
                    <a:pt x="1053" y="564"/>
                  </a:lnTo>
                  <a:lnTo>
                    <a:pt x="1053" y="566"/>
                  </a:lnTo>
                  <a:lnTo>
                    <a:pt x="1048" y="566"/>
                  </a:lnTo>
                  <a:lnTo>
                    <a:pt x="1048" y="581"/>
                  </a:lnTo>
                  <a:lnTo>
                    <a:pt x="1048" y="581"/>
                  </a:lnTo>
                  <a:lnTo>
                    <a:pt x="1046" y="581"/>
                  </a:lnTo>
                  <a:lnTo>
                    <a:pt x="1041" y="583"/>
                  </a:lnTo>
                  <a:lnTo>
                    <a:pt x="1039" y="586"/>
                  </a:lnTo>
                  <a:lnTo>
                    <a:pt x="1036" y="588"/>
                  </a:lnTo>
                  <a:lnTo>
                    <a:pt x="1034" y="593"/>
                  </a:lnTo>
                  <a:lnTo>
                    <a:pt x="1031" y="593"/>
                  </a:lnTo>
                  <a:lnTo>
                    <a:pt x="1031" y="595"/>
                  </a:lnTo>
                  <a:lnTo>
                    <a:pt x="1031" y="598"/>
                  </a:lnTo>
                  <a:lnTo>
                    <a:pt x="1034" y="598"/>
                  </a:lnTo>
                  <a:lnTo>
                    <a:pt x="1034" y="625"/>
                  </a:lnTo>
                  <a:lnTo>
                    <a:pt x="1014" y="629"/>
                  </a:lnTo>
                  <a:lnTo>
                    <a:pt x="995" y="639"/>
                  </a:lnTo>
                  <a:lnTo>
                    <a:pt x="978" y="651"/>
                  </a:lnTo>
                  <a:lnTo>
                    <a:pt x="964" y="668"/>
                  </a:lnTo>
                  <a:lnTo>
                    <a:pt x="956" y="685"/>
                  </a:lnTo>
                  <a:lnTo>
                    <a:pt x="949" y="685"/>
                  </a:lnTo>
                  <a:lnTo>
                    <a:pt x="937" y="688"/>
                  </a:lnTo>
                  <a:lnTo>
                    <a:pt x="937" y="693"/>
                  </a:lnTo>
                  <a:lnTo>
                    <a:pt x="935" y="695"/>
                  </a:lnTo>
                  <a:lnTo>
                    <a:pt x="925" y="695"/>
                  </a:lnTo>
                  <a:lnTo>
                    <a:pt x="925" y="697"/>
                  </a:lnTo>
                  <a:lnTo>
                    <a:pt x="922" y="700"/>
                  </a:lnTo>
                  <a:lnTo>
                    <a:pt x="896" y="700"/>
                  </a:lnTo>
                  <a:lnTo>
                    <a:pt x="881" y="702"/>
                  </a:lnTo>
                  <a:lnTo>
                    <a:pt x="884" y="824"/>
                  </a:lnTo>
                  <a:lnTo>
                    <a:pt x="867" y="824"/>
                  </a:lnTo>
                  <a:lnTo>
                    <a:pt x="867" y="807"/>
                  </a:lnTo>
                  <a:lnTo>
                    <a:pt x="864" y="807"/>
                  </a:lnTo>
                  <a:lnTo>
                    <a:pt x="864" y="807"/>
                  </a:lnTo>
                  <a:lnTo>
                    <a:pt x="864" y="807"/>
                  </a:lnTo>
                  <a:lnTo>
                    <a:pt x="862" y="807"/>
                  </a:lnTo>
                  <a:lnTo>
                    <a:pt x="862" y="824"/>
                  </a:lnTo>
                  <a:lnTo>
                    <a:pt x="855" y="824"/>
                  </a:lnTo>
                  <a:lnTo>
                    <a:pt x="850" y="826"/>
                  </a:lnTo>
                  <a:lnTo>
                    <a:pt x="850" y="838"/>
                  </a:lnTo>
                  <a:lnTo>
                    <a:pt x="850" y="838"/>
                  </a:lnTo>
                  <a:lnTo>
                    <a:pt x="835" y="838"/>
                  </a:lnTo>
                  <a:lnTo>
                    <a:pt x="833" y="819"/>
                  </a:lnTo>
                  <a:lnTo>
                    <a:pt x="833" y="819"/>
                  </a:lnTo>
                  <a:lnTo>
                    <a:pt x="833" y="819"/>
                  </a:lnTo>
                  <a:lnTo>
                    <a:pt x="830" y="819"/>
                  </a:lnTo>
                  <a:lnTo>
                    <a:pt x="828" y="819"/>
                  </a:lnTo>
                  <a:lnTo>
                    <a:pt x="828" y="838"/>
                  </a:lnTo>
                  <a:lnTo>
                    <a:pt x="818" y="838"/>
                  </a:lnTo>
                  <a:lnTo>
                    <a:pt x="814" y="841"/>
                  </a:lnTo>
                  <a:lnTo>
                    <a:pt x="814" y="841"/>
                  </a:lnTo>
                  <a:lnTo>
                    <a:pt x="809" y="841"/>
                  </a:lnTo>
                  <a:lnTo>
                    <a:pt x="811" y="90"/>
                  </a:lnTo>
                  <a:lnTo>
                    <a:pt x="782" y="32"/>
                  </a:lnTo>
                  <a:lnTo>
                    <a:pt x="751" y="32"/>
                  </a:lnTo>
                  <a:lnTo>
                    <a:pt x="734" y="0"/>
                  </a:lnTo>
                  <a:lnTo>
                    <a:pt x="508" y="0"/>
                  </a:lnTo>
                  <a:lnTo>
                    <a:pt x="508" y="32"/>
                  </a:lnTo>
                  <a:lnTo>
                    <a:pt x="448" y="32"/>
                  </a:lnTo>
                  <a:lnTo>
                    <a:pt x="445" y="855"/>
                  </a:lnTo>
                  <a:lnTo>
                    <a:pt x="438" y="848"/>
                  </a:lnTo>
                  <a:lnTo>
                    <a:pt x="438" y="836"/>
                  </a:lnTo>
                  <a:lnTo>
                    <a:pt x="436" y="746"/>
                  </a:lnTo>
                  <a:lnTo>
                    <a:pt x="436" y="739"/>
                  </a:lnTo>
                  <a:lnTo>
                    <a:pt x="431" y="739"/>
                  </a:lnTo>
                  <a:lnTo>
                    <a:pt x="429" y="739"/>
                  </a:lnTo>
                  <a:lnTo>
                    <a:pt x="429" y="746"/>
                  </a:lnTo>
                  <a:lnTo>
                    <a:pt x="429" y="758"/>
                  </a:lnTo>
                  <a:lnTo>
                    <a:pt x="404" y="758"/>
                  </a:lnTo>
                  <a:lnTo>
                    <a:pt x="404" y="756"/>
                  </a:lnTo>
                  <a:lnTo>
                    <a:pt x="399" y="746"/>
                  </a:lnTo>
                  <a:lnTo>
                    <a:pt x="399" y="693"/>
                  </a:lnTo>
                  <a:lnTo>
                    <a:pt x="392" y="676"/>
                  </a:lnTo>
                  <a:lnTo>
                    <a:pt x="392" y="622"/>
                  </a:lnTo>
                  <a:lnTo>
                    <a:pt x="378" y="561"/>
                  </a:lnTo>
                  <a:lnTo>
                    <a:pt x="380" y="561"/>
                  </a:lnTo>
                  <a:lnTo>
                    <a:pt x="380" y="547"/>
                  </a:lnTo>
                  <a:lnTo>
                    <a:pt x="375" y="547"/>
                  </a:lnTo>
                  <a:lnTo>
                    <a:pt x="375" y="547"/>
                  </a:lnTo>
                  <a:lnTo>
                    <a:pt x="375" y="547"/>
                  </a:lnTo>
                  <a:lnTo>
                    <a:pt x="368" y="547"/>
                  </a:lnTo>
                  <a:lnTo>
                    <a:pt x="368" y="554"/>
                  </a:lnTo>
                  <a:lnTo>
                    <a:pt x="366" y="554"/>
                  </a:lnTo>
                  <a:lnTo>
                    <a:pt x="366" y="569"/>
                  </a:lnTo>
                  <a:lnTo>
                    <a:pt x="368" y="569"/>
                  </a:lnTo>
                  <a:lnTo>
                    <a:pt x="358" y="610"/>
                  </a:lnTo>
                  <a:lnTo>
                    <a:pt x="346" y="481"/>
                  </a:lnTo>
                  <a:lnTo>
                    <a:pt x="351" y="481"/>
                  </a:lnTo>
                  <a:lnTo>
                    <a:pt x="351" y="479"/>
                  </a:lnTo>
                  <a:lnTo>
                    <a:pt x="351" y="479"/>
                  </a:lnTo>
                  <a:lnTo>
                    <a:pt x="351" y="469"/>
                  </a:lnTo>
                  <a:lnTo>
                    <a:pt x="344" y="469"/>
                  </a:lnTo>
                  <a:lnTo>
                    <a:pt x="337" y="372"/>
                  </a:lnTo>
                  <a:lnTo>
                    <a:pt x="341" y="372"/>
                  </a:lnTo>
                  <a:lnTo>
                    <a:pt x="341" y="348"/>
                  </a:lnTo>
                  <a:lnTo>
                    <a:pt x="341" y="309"/>
                  </a:lnTo>
                  <a:lnTo>
                    <a:pt x="320" y="309"/>
                  </a:lnTo>
                  <a:lnTo>
                    <a:pt x="320" y="348"/>
                  </a:lnTo>
                  <a:lnTo>
                    <a:pt x="320" y="372"/>
                  </a:lnTo>
                  <a:lnTo>
                    <a:pt x="324" y="372"/>
                  </a:lnTo>
                  <a:lnTo>
                    <a:pt x="324" y="374"/>
                  </a:lnTo>
                  <a:lnTo>
                    <a:pt x="317" y="469"/>
                  </a:lnTo>
                  <a:lnTo>
                    <a:pt x="312" y="469"/>
                  </a:lnTo>
                  <a:lnTo>
                    <a:pt x="312" y="472"/>
                  </a:lnTo>
                  <a:lnTo>
                    <a:pt x="312" y="479"/>
                  </a:lnTo>
                  <a:lnTo>
                    <a:pt x="312" y="481"/>
                  </a:lnTo>
                  <a:lnTo>
                    <a:pt x="317" y="481"/>
                  </a:lnTo>
                  <a:lnTo>
                    <a:pt x="305" y="610"/>
                  </a:lnTo>
                  <a:lnTo>
                    <a:pt x="295" y="566"/>
                  </a:lnTo>
                  <a:lnTo>
                    <a:pt x="295" y="561"/>
                  </a:lnTo>
                  <a:lnTo>
                    <a:pt x="298" y="561"/>
                  </a:lnTo>
                  <a:lnTo>
                    <a:pt x="298" y="547"/>
                  </a:lnTo>
                  <a:lnTo>
                    <a:pt x="290" y="547"/>
                  </a:lnTo>
                  <a:lnTo>
                    <a:pt x="290" y="547"/>
                  </a:lnTo>
                  <a:lnTo>
                    <a:pt x="290" y="547"/>
                  </a:lnTo>
                  <a:lnTo>
                    <a:pt x="286" y="547"/>
                  </a:lnTo>
                  <a:lnTo>
                    <a:pt x="286" y="554"/>
                  </a:lnTo>
                  <a:lnTo>
                    <a:pt x="286" y="554"/>
                  </a:lnTo>
                  <a:lnTo>
                    <a:pt x="286" y="569"/>
                  </a:lnTo>
                  <a:lnTo>
                    <a:pt x="288" y="569"/>
                  </a:lnTo>
                  <a:lnTo>
                    <a:pt x="276" y="622"/>
                  </a:lnTo>
                  <a:lnTo>
                    <a:pt x="276" y="622"/>
                  </a:lnTo>
                  <a:lnTo>
                    <a:pt x="274" y="627"/>
                  </a:lnTo>
                  <a:lnTo>
                    <a:pt x="274" y="676"/>
                  </a:lnTo>
                  <a:lnTo>
                    <a:pt x="269" y="693"/>
                  </a:lnTo>
                  <a:lnTo>
                    <a:pt x="269" y="693"/>
                  </a:lnTo>
                  <a:lnTo>
                    <a:pt x="269" y="693"/>
                  </a:lnTo>
                  <a:lnTo>
                    <a:pt x="269" y="695"/>
                  </a:lnTo>
                  <a:lnTo>
                    <a:pt x="269" y="695"/>
                  </a:lnTo>
                  <a:lnTo>
                    <a:pt x="269" y="695"/>
                  </a:lnTo>
                  <a:lnTo>
                    <a:pt x="269" y="695"/>
                  </a:lnTo>
                  <a:lnTo>
                    <a:pt x="269" y="746"/>
                  </a:lnTo>
                  <a:lnTo>
                    <a:pt x="261" y="756"/>
                  </a:lnTo>
                  <a:lnTo>
                    <a:pt x="261" y="756"/>
                  </a:lnTo>
                  <a:lnTo>
                    <a:pt x="261" y="758"/>
                  </a:lnTo>
                  <a:lnTo>
                    <a:pt x="261" y="758"/>
                  </a:lnTo>
                  <a:lnTo>
                    <a:pt x="252" y="758"/>
                  </a:lnTo>
                  <a:lnTo>
                    <a:pt x="252" y="748"/>
                  </a:lnTo>
                  <a:lnTo>
                    <a:pt x="244" y="748"/>
                  </a:lnTo>
                  <a:lnTo>
                    <a:pt x="244" y="712"/>
                  </a:lnTo>
                  <a:lnTo>
                    <a:pt x="244" y="710"/>
                  </a:lnTo>
                  <a:lnTo>
                    <a:pt x="240" y="710"/>
                  </a:lnTo>
                  <a:lnTo>
                    <a:pt x="225" y="574"/>
                  </a:lnTo>
                  <a:lnTo>
                    <a:pt x="225" y="574"/>
                  </a:lnTo>
                  <a:lnTo>
                    <a:pt x="232" y="574"/>
                  </a:lnTo>
                  <a:lnTo>
                    <a:pt x="232" y="537"/>
                  </a:lnTo>
                  <a:lnTo>
                    <a:pt x="215" y="537"/>
                  </a:lnTo>
                  <a:lnTo>
                    <a:pt x="215" y="574"/>
                  </a:lnTo>
                  <a:lnTo>
                    <a:pt x="220" y="574"/>
                  </a:lnTo>
                  <a:lnTo>
                    <a:pt x="208" y="710"/>
                  </a:lnTo>
                  <a:lnTo>
                    <a:pt x="208" y="710"/>
                  </a:lnTo>
                  <a:lnTo>
                    <a:pt x="208" y="710"/>
                  </a:lnTo>
                  <a:lnTo>
                    <a:pt x="201" y="710"/>
                  </a:lnTo>
                  <a:lnTo>
                    <a:pt x="201" y="748"/>
                  </a:lnTo>
                  <a:lnTo>
                    <a:pt x="194" y="748"/>
                  </a:lnTo>
                  <a:lnTo>
                    <a:pt x="194" y="758"/>
                  </a:lnTo>
                  <a:lnTo>
                    <a:pt x="179" y="758"/>
                  </a:lnTo>
                  <a:lnTo>
                    <a:pt x="179" y="758"/>
                  </a:lnTo>
                  <a:lnTo>
                    <a:pt x="174" y="746"/>
                  </a:lnTo>
                  <a:lnTo>
                    <a:pt x="174" y="688"/>
                  </a:lnTo>
                  <a:lnTo>
                    <a:pt x="174" y="688"/>
                  </a:lnTo>
                  <a:lnTo>
                    <a:pt x="174" y="688"/>
                  </a:lnTo>
                  <a:lnTo>
                    <a:pt x="172" y="688"/>
                  </a:lnTo>
                  <a:lnTo>
                    <a:pt x="172" y="685"/>
                  </a:lnTo>
                  <a:lnTo>
                    <a:pt x="172" y="685"/>
                  </a:lnTo>
                  <a:lnTo>
                    <a:pt x="172" y="685"/>
                  </a:lnTo>
                  <a:lnTo>
                    <a:pt x="169" y="683"/>
                  </a:lnTo>
                  <a:lnTo>
                    <a:pt x="169" y="617"/>
                  </a:lnTo>
                  <a:lnTo>
                    <a:pt x="169" y="617"/>
                  </a:lnTo>
                  <a:lnTo>
                    <a:pt x="169" y="615"/>
                  </a:lnTo>
                  <a:lnTo>
                    <a:pt x="167" y="615"/>
                  </a:lnTo>
                  <a:lnTo>
                    <a:pt x="167" y="615"/>
                  </a:lnTo>
                  <a:lnTo>
                    <a:pt x="167" y="610"/>
                  </a:lnTo>
                  <a:lnTo>
                    <a:pt x="167" y="610"/>
                  </a:lnTo>
                  <a:lnTo>
                    <a:pt x="167" y="610"/>
                  </a:lnTo>
                  <a:lnTo>
                    <a:pt x="165" y="610"/>
                  </a:lnTo>
                  <a:lnTo>
                    <a:pt x="165" y="610"/>
                  </a:lnTo>
                  <a:lnTo>
                    <a:pt x="155" y="569"/>
                  </a:lnTo>
                  <a:lnTo>
                    <a:pt x="157" y="569"/>
                  </a:lnTo>
                  <a:lnTo>
                    <a:pt x="157" y="557"/>
                  </a:lnTo>
                  <a:lnTo>
                    <a:pt x="155" y="557"/>
                  </a:lnTo>
                  <a:lnTo>
                    <a:pt x="155" y="547"/>
                  </a:lnTo>
                  <a:lnTo>
                    <a:pt x="148" y="547"/>
                  </a:lnTo>
                  <a:lnTo>
                    <a:pt x="148" y="547"/>
                  </a:lnTo>
                  <a:lnTo>
                    <a:pt x="148" y="547"/>
                  </a:lnTo>
                  <a:lnTo>
                    <a:pt x="143" y="547"/>
                  </a:lnTo>
                  <a:lnTo>
                    <a:pt x="143" y="561"/>
                  </a:lnTo>
                  <a:lnTo>
                    <a:pt x="145" y="561"/>
                  </a:lnTo>
                  <a:lnTo>
                    <a:pt x="136" y="603"/>
                  </a:lnTo>
                  <a:lnTo>
                    <a:pt x="123" y="479"/>
                  </a:lnTo>
                  <a:lnTo>
                    <a:pt x="131" y="476"/>
                  </a:lnTo>
                  <a:lnTo>
                    <a:pt x="131" y="476"/>
                  </a:lnTo>
                  <a:lnTo>
                    <a:pt x="131" y="467"/>
                  </a:lnTo>
                  <a:lnTo>
                    <a:pt x="128" y="464"/>
                  </a:lnTo>
                  <a:lnTo>
                    <a:pt x="123" y="464"/>
                  </a:lnTo>
                  <a:lnTo>
                    <a:pt x="116" y="370"/>
                  </a:lnTo>
                  <a:lnTo>
                    <a:pt x="116" y="370"/>
                  </a:lnTo>
                  <a:lnTo>
                    <a:pt x="121" y="370"/>
                  </a:lnTo>
                  <a:lnTo>
                    <a:pt x="121" y="343"/>
                  </a:lnTo>
                  <a:lnTo>
                    <a:pt x="121" y="304"/>
                  </a:lnTo>
                  <a:lnTo>
                    <a:pt x="99" y="304"/>
                  </a:lnTo>
                  <a:lnTo>
                    <a:pt x="99" y="343"/>
                  </a:lnTo>
                  <a:lnTo>
                    <a:pt x="99" y="370"/>
                  </a:lnTo>
                  <a:lnTo>
                    <a:pt x="104" y="370"/>
                  </a:lnTo>
                  <a:lnTo>
                    <a:pt x="97" y="464"/>
                  </a:lnTo>
                  <a:lnTo>
                    <a:pt x="90" y="464"/>
                  </a:lnTo>
                  <a:lnTo>
                    <a:pt x="90" y="474"/>
                  </a:lnTo>
                  <a:lnTo>
                    <a:pt x="90" y="474"/>
                  </a:lnTo>
                  <a:lnTo>
                    <a:pt x="90" y="476"/>
                  </a:lnTo>
                  <a:lnTo>
                    <a:pt x="94" y="476"/>
                  </a:lnTo>
                  <a:lnTo>
                    <a:pt x="82" y="603"/>
                  </a:lnTo>
                  <a:lnTo>
                    <a:pt x="75" y="569"/>
                  </a:lnTo>
                  <a:lnTo>
                    <a:pt x="75" y="569"/>
                  </a:lnTo>
                  <a:lnTo>
                    <a:pt x="75" y="554"/>
                  </a:lnTo>
                  <a:lnTo>
                    <a:pt x="70" y="554"/>
                  </a:lnTo>
                  <a:lnTo>
                    <a:pt x="70" y="549"/>
                  </a:lnTo>
                  <a:lnTo>
                    <a:pt x="65" y="549"/>
                  </a:lnTo>
                  <a:lnTo>
                    <a:pt x="65" y="547"/>
                  </a:lnTo>
                  <a:lnTo>
                    <a:pt x="65" y="549"/>
                  </a:lnTo>
                  <a:lnTo>
                    <a:pt x="60" y="549"/>
                  </a:lnTo>
                  <a:lnTo>
                    <a:pt x="60" y="561"/>
                  </a:lnTo>
                  <a:lnTo>
                    <a:pt x="63" y="561"/>
                  </a:lnTo>
                  <a:lnTo>
                    <a:pt x="51" y="610"/>
                  </a:lnTo>
                  <a:lnTo>
                    <a:pt x="51" y="610"/>
                  </a:lnTo>
                  <a:lnTo>
                    <a:pt x="48" y="610"/>
                  </a:lnTo>
                  <a:lnTo>
                    <a:pt x="46" y="610"/>
                  </a:lnTo>
                  <a:lnTo>
                    <a:pt x="46" y="683"/>
                  </a:lnTo>
                  <a:lnTo>
                    <a:pt x="41" y="685"/>
                  </a:lnTo>
                  <a:lnTo>
                    <a:pt x="41" y="700"/>
                  </a:lnTo>
                  <a:lnTo>
                    <a:pt x="41" y="746"/>
                  </a:lnTo>
                  <a:lnTo>
                    <a:pt x="34" y="756"/>
                  </a:lnTo>
                  <a:lnTo>
                    <a:pt x="34" y="758"/>
                  </a:lnTo>
                  <a:lnTo>
                    <a:pt x="19" y="758"/>
                  </a:lnTo>
                  <a:lnTo>
                    <a:pt x="17" y="746"/>
                  </a:lnTo>
                  <a:lnTo>
                    <a:pt x="17" y="739"/>
                  </a:lnTo>
                  <a:lnTo>
                    <a:pt x="17" y="739"/>
                  </a:lnTo>
                  <a:lnTo>
                    <a:pt x="12" y="739"/>
                  </a:lnTo>
                  <a:lnTo>
                    <a:pt x="12" y="746"/>
                  </a:lnTo>
                  <a:lnTo>
                    <a:pt x="7" y="836"/>
                  </a:lnTo>
                  <a:lnTo>
                    <a:pt x="7" y="848"/>
                  </a:lnTo>
                  <a:lnTo>
                    <a:pt x="5" y="851"/>
                  </a:lnTo>
                  <a:lnTo>
                    <a:pt x="10" y="365"/>
                  </a:lnTo>
                  <a:lnTo>
                    <a:pt x="12" y="3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10" name="íŝḻïdè"/>
            <p:cNvSpPr/>
            <p:nvPr/>
          </p:nvSpPr>
          <p:spPr bwMode="auto">
            <a:xfrm>
              <a:off x="4070883" y="4896810"/>
              <a:ext cx="2027498" cy="2261074"/>
            </a:xfrm>
            <a:custGeom>
              <a:avLst/>
              <a:gdLst>
                <a:gd name="T0" fmla="*/ 1242 w 1276"/>
                <a:gd name="T1" fmla="*/ 529 h 1423"/>
                <a:gd name="T2" fmla="*/ 1225 w 1276"/>
                <a:gd name="T3" fmla="*/ 527 h 1423"/>
                <a:gd name="T4" fmla="*/ 1196 w 1276"/>
                <a:gd name="T5" fmla="*/ 505 h 1423"/>
                <a:gd name="T6" fmla="*/ 1172 w 1276"/>
                <a:gd name="T7" fmla="*/ 483 h 1423"/>
                <a:gd name="T8" fmla="*/ 1148 w 1276"/>
                <a:gd name="T9" fmla="*/ 461 h 1423"/>
                <a:gd name="T10" fmla="*/ 1126 w 1276"/>
                <a:gd name="T11" fmla="*/ 439 h 1423"/>
                <a:gd name="T12" fmla="*/ 1043 w 1276"/>
                <a:gd name="T13" fmla="*/ 434 h 1423"/>
                <a:gd name="T14" fmla="*/ 1005 w 1276"/>
                <a:gd name="T15" fmla="*/ 447 h 1423"/>
                <a:gd name="T16" fmla="*/ 985 w 1276"/>
                <a:gd name="T17" fmla="*/ 461 h 1423"/>
                <a:gd name="T18" fmla="*/ 981 w 1276"/>
                <a:gd name="T19" fmla="*/ 481 h 1423"/>
                <a:gd name="T20" fmla="*/ 959 w 1276"/>
                <a:gd name="T21" fmla="*/ 495 h 1423"/>
                <a:gd name="T22" fmla="*/ 939 w 1276"/>
                <a:gd name="T23" fmla="*/ 505 h 1423"/>
                <a:gd name="T24" fmla="*/ 937 w 1276"/>
                <a:gd name="T25" fmla="*/ 524 h 1423"/>
                <a:gd name="T26" fmla="*/ 913 w 1276"/>
                <a:gd name="T27" fmla="*/ 529 h 1423"/>
                <a:gd name="T28" fmla="*/ 840 w 1276"/>
                <a:gd name="T29" fmla="*/ 534 h 1423"/>
                <a:gd name="T30" fmla="*/ 840 w 1276"/>
                <a:gd name="T31" fmla="*/ 595 h 1423"/>
                <a:gd name="T32" fmla="*/ 765 w 1276"/>
                <a:gd name="T33" fmla="*/ 876 h 1423"/>
                <a:gd name="T34" fmla="*/ 763 w 1276"/>
                <a:gd name="T35" fmla="*/ 544 h 1423"/>
                <a:gd name="T36" fmla="*/ 690 w 1276"/>
                <a:gd name="T37" fmla="*/ 539 h 1423"/>
                <a:gd name="T38" fmla="*/ 668 w 1276"/>
                <a:gd name="T39" fmla="*/ 534 h 1423"/>
                <a:gd name="T40" fmla="*/ 661 w 1276"/>
                <a:gd name="T41" fmla="*/ 515 h 1423"/>
                <a:gd name="T42" fmla="*/ 646 w 1276"/>
                <a:gd name="T43" fmla="*/ 502 h 1423"/>
                <a:gd name="T44" fmla="*/ 625 w 1276"/>
                <a:gd name="T45" fmla="*/ 490 h 1423"/>
                <a:gd name="T46" fmla="*/ 617 w 1276"/>
                <a:gd name="T47" fmla="*/ 471 h 1423"/>
                <a:gd name="T48" fmla="*/ 600 w 1276"/>
                <a:gd name="T49" fmla="*/ 456 h 1423"/>
                <a:gd name="T50" fmla="*/ 559 w 1276"/>
                <a:gd name="T51" fmla="*/ 444 h 1423"/>
                <a:gd name="T52" fmla="*/ 482 w 1276"/>
                <a:gd name="T53" fmla="*/ 449 h 1423"/>
                <a:gd name="T54" fmla="*/ 460 w 1276"/>
                <a:gd name="T55" fmla="*/ 471 h 1423"/>
                <a:gd name="T56" fmla="*/ 436 w 1276"/>
                <a:gd name="T57" fmla="*/ 493 h 1423"/>
                <a:gd name="T58" fmla="*/ 411 w 1276"/>
                <a:gd name="T59" fmla="*/ 512 h 1423"/>
                <a:gd name="T60" fmla="*/ 385 w 1276"/>
                <a:gd name="T61" fmla="*/ 534 h 1423"/>
                <a:gd name="T62" fmla="*/ 382 w 1276"/>
                <a:gd name="T63" fmla="*/ 536 h 1423"/>
                <a:gd name="T64" fmla="*/ 322 w 1276"/>
                <a:gd name="T65" fmla="*/ 328 h 1423"/>
                <a:gd name="T66" fmla="*/ 264 w 1276"/>
                <a:gd name="T67" fmla="*/ 274 h 1423"/>
                <a:gd name="T68" fmla="*/ 201 w 1276"/>
                <a:gd name="T69" fmla="*/ 233 h 1423"/>
                <a:gd name="T70" fmla="*/ 179 w 1276"/>
                <a:gd name="T71" fmla="*/ 328 h 1423"/>
                <a:gd name="T72" fmla="*/ 181 w 1276"/>
                <a:gd name="T73" fmla="*/ 255 h 1423"/>
                <a:gd name="T74" fmla="*/ 179 w 1276"/>
                <a:gd name="T75" fmla="*/ 252 h 1423"/>
                <a:gd name="T76" fmla="*/ 181 w 1276"/>
                <a:gd name="T77" fmla="*/ 213 h 1423"/>
                <a:gd name="T78" fmla="*/ 179 w 1276"/>
                <a:gd name="T79" fmla="*/ 213 h 1423"/>
                <a:gd name="T80" fmla="*/ 181 w 1276"/>
                <a:gd name="T81" fmla="*/ 174 h 1423"/>
                <a:gd name="T82" fmla="*/ 179 w 1276"/>
                <a:gd name="T83" fmla="*/ 172 h 1423"/>
                <a:gd name="T84" fmla="*/ 116 w 1276"/>
                <a:gd name="T85" fmla="*/ 109 h 1423"/>
                <a:gd name="T86" fmla="*/ 29 w 1276"/>
                <a:gd name="T87" fmla="*/ 104 h 1423"/>
                <a:gd name="T88" fmla="*/ 29 w 1276"/>
                <a:gd name="T89" fmla="*/ 31 h 1423"/>
                <a:gd name="T90" fmla="*/ 29 w 1276"/>
                <a:gd name="T91" fmla="*/ 9 h 1423"/>
                <a:gd name="T92" fmla="*/ 29 w 1276"/>
                <a:gd name="T93" fmla="*/ 0 h 1423"/>
                <a:gd name="T94" fmla="*/ 0 w 1276"/>
                <a:gd name="T95" fmla="*/ 1423 h 1423"/>
                <a:gd name="T96" fmla="*/ 1276 w 1276"/>
                <a:gd name="T97" fmla="*/ 534 h 1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76" h="1423">
                  <a:moveTo>
                    <a:pt x="1276" y="534"/>
                  </a:moveTo>
                  <a:lnTo>
                    <a:pt x="1242" y="529"/>
                  </a:lnTo>
                  <a:lnTo>
                    <a:pt x="1223" y="532"/>
                  </a:lnTo>
                  <a:lnTo>
                    <a:pt x="1225" y="527"/>
                  </a:lnTo>
                  <a:lnTo>
                    <a:pt x="1196" y="524"/>
                  </a:lnTo>
                  <a:lnTo>
                    <a:pt x="1196" y="505"/>
                  </a:lnTo>
                  <a:lnTo>
                    <a:pt x="1172" y="502"/>
                  </a:lnTo>
                  <a:lnTo>
                    <a:pt x="1172" y="483"/>
                  </a:lnTo>
                  <a:lnTo>
                    <a:pt x="1148" y="481"/>
                  </a:lnTo>
                  <a:lnTo>
                    <a:pt x="1148" y="461"/>
                  </a:lnTo>
                  <a:lnTo>
                    <a:pt x="1123" y="459"/>
                  </a:lnTo>
                  <a:lnTo>
                    <a:pt x="1126" y="439"/>
                  </a:lnTo>
                  <a:lnTo>
                    <a:pt x="1094" y="434"/>
                  </a:lnTo>
                  <a:lnTo>
                    <a:pt x="1043" y="434"/>
                  </a:lnTo>
                  <a:lnTo>
                    <a:pt x="1007" y="439"/>
                  </a:lnTo>
                  <a:lnTo>
                    <a:pt x="1005" y="447"/>
                  </a:lnTo>
                  <a:lnTo>
                    <a:pt x="1005" y="459"/>
                  </a:lnTo>
                  <a:lnTo>
                    <a:pt x="985" y="461"/>
                  </a:lnTo>
                  <a:lnTo>
                    <a:pt x="983" y="471"/>
                  </a:lnTo>
                  <a:lnTo>
                    <a:pt x="981" y="481"/>
                  </a:lnTo>
                  <a:lnTo>
                    <a:pt x="964" y="483"/>
                  </a:lnTo>
                  <a:lnTo>
                    <a:pt x="959" y="495"/>
                  </a:lnTo>
                  <a:lnTo>
                    <a:pt x="959" y="502"/>
                  </a:lnTo>
                  <a:lnTo>
                    <a:pt x="939" y="505"/>
                  </a:lnTo>
                  <a:lnTo>
                    <a:pt x="937" y="517"/>
                  </a:lnTo>
                  <a:lnTo>
                    <a:pt x="937" y="524"/>
                  </a:lnTo>
                  <a:lnTo>
                    <a:pt x="915" y="527"/>
                  </a:lnTo>
                  <a:lnTo>
                    <a:pt x="913" y="529"/>
                  </a:lnTo>
                  <a:lnTo>
                    <a:pt x="893" y="527"/>
                  </a:lnTo>
                  <a:lnTo>
                    <a:pt x="840" y="534"/>
                  </a:lnTo>
                  <a:lnTo>
                    <a:pt x="840" y="595"/>
                  </a:lnTo>
                  <a:lnTo>
                    <a:pt x="840" y="595"/>
                  </a:lnTo>
                  <a:lnTo>
                    <a:pt x="840" y="876"/>
                  </a:lnTo>
                  <a:lnTo>
                    <a:pt x="765" y="876"/>
                  </a:lnTo>
                  <a:lnTo>
                    <a:pt x="763" y="600"/>
                  </a:lnTo>
                  <a:lnTo>
                    <a:pt x="763" y="544"/>
                  </a:lnTo>
                  <a:lnTo>
                    <a:pt x="707" y="536"/>
                  </a:lnTo>
                  <a:lnTo>
                    <a:pt x="690" y="539"/>
                  </a:lnTo>
                  <a:lnTo>
                    <a:pt x="688" y="536"/>
                  </a:lnTo>
                  <a:lnTo>
                    <a:pt x="668" y="534"/>
                  </a:lnTo>
                  <a:lnTo>
                    <a:pt x="668" y="527"/>
                  </a:lnTo>
                  <a:lnTo>
                    <a:pt x="661" y="515"/>
                  </a:lnTo>
                  <a:lnTo>
                    <a:pt x="646" y="512"/>
                  </a:lnTo>
                  <a:lnTo>
                    <a:pt x="646" y="502"/>
                  </a:lnTo>
                  <a:lnTo>
                    <a:pt x="639" y="493"/>
                  </a:lnTo>
                  <a:lnTo>
                    <a:pt x="625" y="490"/>
                  </a:lnTo>
                  <a:lnTo>
                    <a:pt x="625" y="481"/>
                  </a:lnTo>
                  <a:lnTo>
                    <a:pt x="617" y="471"/>
                  </a:lnTo>
                  <a:lnTo>
                    <a:pt x="603" y="468"/>
                  </a:lnTo>
                  <a:lnTo>
                    <a:pt x="600" y="456"/>
                  </a:lnTo>
                  <a:lnTo>
                    <a:pt x="598" y="449"/>
                  </a:lnTo>
                  <a:lnTo>
                    <a:pt x="559" y="444"/>
                  </a:lnTo>
                  <a:lnTo>
                    <a:pt x="511" y="444"/>
                  </a:lnTo>
                  <a:lnTo>
                    <a:pt x="482" y="449"/>
                  </a:lnTo>
                  <a:lnTo>
                    <a:pt x="482" y="466"/>
                  </a:lnTo>
                  <a:lnTo>
                    <a:pt x="460" y="471"/>
                  </a:lnTo>
                  <a:lnTo>
                    <a:pt x="460" y="488"/>
                  </a:lnTo>
                  <a:lnTo>
                    <a:pt x="436" y="493"/>
                  </a:lnTo>
                  <a:lnTo>
                    <a:pt x="436" y="510"/>
                  </a:lnTo>
                  <a:lnTo>
                    <a:pt x="411" y="512"/>
                  </a:lnTo>
                  <a:lnTo>
                    <a:pt x="411" y="532"/>
                  </a:lnTo>
                  <a:lnTo>
                    <a:pt x="385" y="534"/>
                  </a:lnTo>
                  <a:lnTo>
                    <a:pt x="385" y="536"/>
                  </a:lnTo>
                  <a:lnTo>
                    <a:pt x="382" y="536"/>
                  </a:lnTo>
                  <a:lnTo>
                    <a:pt x="382" y="328"/>
                  </a:lnTo>
                  <a:lnTo>
                    <a:pt x="322" y="328"/>
                  </a:lnTo>
                  <a:lnTo>
                    <a:pt x="322" y="274"/>
                  </a:lnTo>
                  <a:lnTo>
                    <a:pt x="264" y="274"/>
                  </a:lnTo>
                  <a:lnTo>
                    <a:pt x="264" y="233"/>
                  </a:lnTo>
                  <a:lnTo>
                    <a:pt x="201" y="233"/>
                  </a:lnTo>
                  <a:lnTo>
                    <a:pt x="201" y="328"/>
                  </a:lnTo>
                  <a:lnTo>
                    <a:pt x="179" y="328"/>
                  </a:lnTo>
                  <a:lnTo>
                    <a:pt x="179" y="257"/>
                  </a:lnTo>
                  <a:lnTo>
                    <a:pt x="181" y="255"/>
                  </a:lnTo>
                  <a:lnTo>
                    <a:pt x="181" y="252"/>
                  </a:lnTo>
                  <a:lnTo>
                    <a:pt x="179" y="252"/>
                  </a:lnTo>
                  <a:lnTo>
                    <a:pt x="179" y="218"/>
                  </a:lnTo>
                  <a:lnTo>
                    <a:pt x="181" y="213"/>
                  </a:lnTo>
                  <a:lnTo>
                    <a:pt x="181" y="213"/>
                  </a:lnTo>
                  <a:lnTo>
                    <a:pt x="179" y="213"/>
                  </a:lnTo>
                  <a:lnTo>
                    <a:pt x="179" y="177"/>
                  </a:lnTo>
                  <a:lnTo>
                    <a:pt x="181" y="174"/>
                  </a:lnTo>
                  <a:lnTo>
                    <a:pt x="181" y="172"/>
                  </a:lnTo>
                  <a:lnTo>
                    <a:pt x="179" y="172"/>
                  </a:lnTo>
                  <a:lnTo>
                    <a:pt x="179" y="114"/>
                  </a:lnTo>
                  <a:lnTo>
                    <a:pt x="116" y="109"/>
                  </a:lnTo>
                  <a:lnTo>
                    <a:pt x="43" y="104"/>
                  </a:lnTo>
                  <a:lnTo>
                    <a:pt x="29" y="104"/>
                  </a:lnTo>
                  <a:lnTo>
                    <a:pt x="29" y="51"/>
                  </a:lnTo>
                  <a:lnTo>
                    <a:pt x="29" y="31"/>
                  </a:lnTo>
                  <a:lnTo>
                    <a:pt x="29" y="26"/>
                  </a:lnTo>
                  <a:lnTo>
                    <a:pt x="29" y="9"/>
                  </a:lnTo>
                  <a:lnTo>
                    <a:pt x="29" y="4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1423"/>
                  </a:lnTo>
                  <a:lnTo>
                    <a:pt x="1276" y="1423"/>
                  </a:lnTo>
                  <a:lnTo>
                    <a:pt x="1276" y="5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11" name="ïşḻïḋê"/>
            <p:cNvSpPr/>
            <p:nvPr/>
          </p:nvSpPr>
          <p:spPr bwMode="auto">
            <a:xfrm>
              <a:off x="2035441" y="4413770"/>
              <a:ext cx="2035444" cy="2744114"/>
            </a:xfrm>
            <a:custGeom>
              <a:avLst/>
              <a:gdLst>
                <a:gd name="T0" fmla="*/ 1281 w 1281"/>
                <a:gd name="T1" fmla="*/ 1727 h 1727"/>
                <a:gd name="T2" fmla="*/ 1194 w 1281"/>
                <a:gd name="T3" fmla="*/ 304 h 1727"/>
                <a:gd name="T4" fmla="*/ 1194 w 1281"/>
                <a:gd name="T5" fmla="*/ 284 h 1727"/>
                <a:gd name="T6" fmla="*/ 1194 w 1281"/>
                <a:gd name="T7" fmla="*/ 265 h 1727"/>
                <a:gd name="T8" fmla="*/ 1080 w 1281"/>
                <a:gd name="T9" fmla="*/ 126 h 1727"/>
                <a:gd name="T10" fmla="*/ 1073 w 1281"/>
                <a:gd name="T11" fmla="*/ 80 h 1727"/>
                <a:gd name="T12" fmla="*/ 1063 w 1281"/>
                <a:gd name="T13" fmla="*/ 92 h 1727"/>
                <a:gd name="T14" fmla="*/ 1063 w 1281"/>
                <a:gd name="T15" fmla="*/ 12 h 1727"/>
                <a:gd name="T16" fmla="*/ 1061 w 1281"/>
                <a:gd name="T17" fmla="*/ 0 h 1727"/>
                <a:gd name="T18" fmla="*/ 1053 w 1281"/>
                <a:gd name="T19" fmla="*/ 92 h 1727"/>
                <a:gd name="T20" fmla="*/ 1053 w 1281"/>
                <a:gd name="T21" fmla="*/ 12 h 1727"/>
                <a:gd name="T22" fmla="*/ 1048 w 1281"/>
                <a:gd name="T23" fmla="*/ 0 h 1727"/>
                <a:gd name="T24" fmla="*/ 1041 w 1281"/>
                <a:gd name="T25" fmla="*/ 92 h 1727"/>
                <a:gd name="T26" fmla="*/ 1041 w 1281"/>
                <a:gd name="T27" fmla="*/ 12 h 1727"/>
                <a:gd name="T28" fmla="*/ 1039 w 1281"/>
                <a:gd name="T29" fmla="*/ 0 h 1727"/>
                <a:gd name="T30" fmla="*/ 1031 w 1281"/>
                <a:gd name="T31" fmla="*/ 92 h 1727"/>
                <a:gd name="T32" fmla="*/ 1031 w 1281"/>
                <a:gd name="T33" fmla="*/ 12 h 1727"/>
                <a:gd name="T34" fmla="*/ 1027 w 1281"/>
                <a:gd name="T35" fmla="*/ 0 h 1727"/>
                <a:gd name="T36" fmla="*/ 1019 w 1281"/>
                <a:gd name="T37" fmla="*/ 92 h 1727"/>
                <a:gd name="T38" fmla="*/ 1019 w 1281"/>
                <a:gd name="T39" fmla="*/ 12 h 1727"/>
                <a:gd name="T40" fmla="*/ 1017 w 1281"/>
                <a:gd name="T41" fmla="*/ 0 h 1727"/>
                <a:gd name="T42" fmla="*/ 1010 w 1281"/>
                <a:gd name="T43" fmla="*/ 92 h 1727"/>
                <a:gd name="T44" fmla="*/ 1000 w 1281"/>
                <a:gd name="T45" fmla="*/ 80 h 1727"/>
                <a:gd name="T46" fmla="*/ 1000 w 1281"/>
                <a:gd name="T47" fmla="*/ 257 h 1727"/>
                <a:gd name="T48" fmla="*/ 1000 w 1281"/>
                <a:gd name="T49" fmla="*/ 282 h 1727"/>
                <a:gd name="T50" fmla="*/ 971 w 1281"/>
                <a:gd name="T51" fmla="*/ 304 h 1727"/>
                <a:gd name="T52" fmla="*/ 971 w 1281"/>
                <a:gd name="T53" fmla="*/ 313 h 1727"/>
                <a:gd name="T54" fmla="*/ 971 w 1281"/>
                <a:gd name="T55" fmla="*/ 335 h 1727"/>
                <a:gd name="T56" fmla="*/ 971 w 1281"/>
                <a:gd name="T57" fmla="*/ 403 h 1727"/>
                <a:gd name="T58" fmla="*/ 968 w 1281"/>
                <a:gd name="T59" fmla="*/ 413 h 1727"/>
                <a:gd name="T60" fmla="*/ 932 w 1281"/>
                <a:gd name="T61" fmla="*/ 738 h 1727"/>
                <a:gd name="T62" fmla="*/ 814 w 1281"/>
                <a:gd name="T63" fmla="*/ 515 h 1727"/>
                <a:gd name="T64" fmla="*/ 746 w 1281"/>
                <a:gd name="T65" fmla="*/ 386 h 1727"/>
                <a:gd name="T66" fmla="*/ 719 w 1281"/>
                <a:gd name="T67" fmla="*/ 515 h 1727"/>
                <a:gd name="T68" fmla="*/ 608 w 1281"/>
                <a:gd name="T69" fmla="*/ 386 h 1727"/>
                <a:gd name="T70" fmla="*/ 557 w 1281"/>
                <a:gd name="T71" fmla="*/ 515 h 1727"/>
                <a:gd name="T72" fmla="*/ 513 w 1281"/>
                <a:gd name="T73" fmla="*/ 1195 h 1727"/>
                <a:gd name="T74" fmla="*/ 458 w 1281"/>
                <a:gd name="T75" fmla="*/ 1200 h 1727"/>
                <a:gd name="T76" fmla="*/ 431 w 1281"/>
                <a:gd name="T77" fmla="*/ 1202 h 1727"/>
                <a:gd name="T78" fmla="*/ 412 w 1281"/>
                <a:gd name="T79" fmla="*/ 1180 h 1727"/>
                <a:gd name="T80" fmla="*/ 370 w 1281"/>
                <a:gd name="T81" fmla="*/ 1207 h 1727"/>
                <a:gd name="T82" fmla="*/ 370 w 1281"/>
                <a:gd name="T83" fmla="*/ 1210 h 1727"/>
                <a:gd name="T84" fmla="*/ 370 w 1281"/>
                <a:gd name="T85" fmla="*/ 1200 h 1727"/>
                <a:gd name="T86" fmla="*/ 322 w 1281"/>
                <a:gd name="T87" fmla="*/ 1188 h 1727"/>
                <a:gd name="T88" fmla="*/ 312 w 1281"/>
                <a:gd name="T89" fmla="*/ 1202 h 1727"/>
                <a:gd name="T90" fmla="*/ 269 w 1281"/>
                <a:gd name="T91" fmla="*/ 1197 h 1727"/>
                <a:gd name="T92" fmla="*/ 140 w 1281"/>
                <a:gd name="T93" fmla="*/ 1193 h 1727"/>
                <a:gd name="T94" fmla="*/ 0 w 1281"/>
                <a:gd name="T95" fmla="*/ 1210 h 1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81" h="1727">
                  <a:moveTo>
                    <a:pt x="0" y="1727"/>
                  </a:moveTo>
                  <a:lnTo>
                    <a:pt x="1281" y="1727"/>
                  </a:lnTo>
                  <a:lnTo>
                    <a:pt x="1281" y="304"/>
                  </a:lnTo>
                  <a:lnTo>
                    <a:pt x="1194" y="304"/>
                  </a:lnTo>
                  <a:lnTo>
                    <a:pt x="1194" y="291"/>
                  </a:lnTo>
                  <a:lnTo>
                    <a:pt x="1194" y="284"/>
                  </a:lnTo>
                  <a:lnTo>
                    <a:pt x="1194" y="267"/>
                  </a:lnTo>
                  <a:lnTo>
                    <a:pt x="1194" y="265"/>
                  </a:lnTo>
                  <a:lnTo>
                    <a:pt x="1080" y="265"/>
                  </a:lnTo>
                  <a:lnTo>
                    <a:pt x="1080" y="126"/>
                  </a:lnTo>
                  <a:lnTo>
                    <a:pt x="1080" y="80"/>
                  </a:lnTo>
                  <a:lnTo>
                    <a:pt x="1073" y="80"/>
                  </a:lnTo>
                  <a:lnTo>
                    <a:pt x="1073" y="92"/>
                  </a:lnTo>
                  <a:lnTo>
                    <a:pt x="1063" y="92"/>
                  </a:lnTo>
                  <a:lnTo>
                    <a:pt x="1063" y="12"/>
                  </a:lnTo>
                  <a:lnTo>
                    <a:pt x="1063" y="12"/>
                  </a:lnTo>
                  <a:lnTo>
                    <a:pt x="1063" y="0"/>
                  </a:lnTo>
                  <a:lnTo>
                    <a:pt x="1061" y="0"/>
                  </a:lnTo>
                  <a:lnTo>
                    <a:pt x="1061" y="92"/>
                  </a:lnTo>
                  <a:lnTo>
                    <a:pt x="1053" y="92"/>
                  </a:lnTo>
                  <a:lnTo>
                    <a:pt x="1053" y="12"/>
                  </a:lnTo>
                  <a:lnTo>
                    <a:pt x="1053" y="12"/>
                  </a:lnTo>
                  <a:lnTo>
                    <a:pt x="1053" y="0"/>
                  </a:lnTo>
                  <a:lnTo>
                    <a:pt x="1048" y="0"/>
                  </a:lnTo>
                  <a:lnTo>
                    <a:pt x="1048" y="92"/>
                  </a:lnTo>
                  <a:lnTo>
                    <a:pt x="1041" y="92"/>
                  </a:lnTo>
                  <a:lnTo>
                    <a:pt x="1041" y="12"/>
                  </a:lnTo>
                  <a:lnTo>
                    <a:pt x="1041" y="12"/>
                  </a:lnTo>
                  <a:lnTo>
                    <a:pt x="1041" y="0"/>
                  </a:lnTo>
                  <a:lnTo>
                    <a:pt x="1039" y="0"/>
                  </a:lnTo>
                  <a:lnTo>
                    <a:pt x="1039" y="92"/>
                  </a:lnTo>
                  <a:lnTo>
                    <a:pt x="1031" y="92"/>
                  </a:lnTo>
                  <a:lnTo>
                    <a:pt x="1031" y="12"/>
                  </a:lnTo>
                  <a:lnTo>
                    <a:pt x="1031" y="12"/>
                  </a:lnTo>
                  <a:lnTo>
                    <a:pt x="1029" y="0"/>
                  </a:lnTo>
                  <a:lnTo>
                    <a:pt x="1027" y="0"/>
                  </a:lnTo>
                  <a:lnTo>
                    <a:pt x="1027" y="92"/>
                  </a:lnTo>
                  <a:lnTo>
                    <a:pt x="1019" y="92"/>
                  </a:lnTo>
                  <a:lnTo>
                    <a:pt x="1019" y="12"/>
                  </a:lnTo>
                  <a:lnTo>
                    <a:pt x="1019" y="12"/>
                  </a:lnTo>
                  <a:lnTo>
                    <a:pt x="1019" y="0"/>
                  </a:lnTo>
                  <a:lnTo>
                    <a:pt x="1017" y="0"/>
                  </a:lnTo>
                  <a:lnTo>
                    <a:pt x="1017" y="92"/>
                  </a:lnTo>
                  <a:lnTo>
                    <a:pt x="1010" y="92"/>
                  </a:lnTo>
                  <a:lnTo>
                    <a:pt x="1007" y="80"/>
                  </a:lnTo>
                  <a:lnTo>
                    <a:pt x="1000" y="80"/>
                  </a:lnTo>
                  <a:lnTo>
                    <a:pt x="1000" y="253"/>
                  </a:lnTo>
                  <a:lnTo>
                    <a:pt x="1000" y="257"/>
                  </a:lnTo>
                  <a:lnTo>
                    <a:pt x="1000" y="274"/>
                  </a:lnTo>
                  <a:lnTo>
                    <a:pt x="1000" y="282"/>
                  </a:lnTo>
                  <a:lnTo>
                    <a:pt x="1000" y="304"/>
                  </a:lnTo>
                  <a:lnTo>
                    <a:pt x="971" y="304"/>
                  </a:lnTo>
                  <a:lnTo>
                    <a:pt x="971" y="308"/>
                  </a:lnTo>
                  <a:lnTo>
                    <a:pt x="971" y="313"/>
                  </a:lnTo>
                  <a:lnTo>
                    <a:pt x="971" y="333"/>
                  </a:lnTo>
                  <a:lnTo>
                    <a:pt x="971" y="335"/>
                  </a:lnTo>
                  <a:lnTo>
                    <a:pt x="971" y="355"/>
                  </a:lnTo>
                  <a:lnTo>
                    <a:pt x="971" y="403"/>
                  </a:lnTo>
                  <a:lnTo>
                    <a:pt x="968" y="403"/>
                  </a:lnTo>
                  <a:lnTo>
                    <a:pt x="968" y="413"/>
                  </a:lnTo>
                  <a:lnTo>
                    <a:pt x="932" y="413"/>
                  </a:lnTo>
                  <a:lnTo>
                    <a:pt x="932" y="738"/>
                  </a:lnTo>
                  <a:lnTo>
                    <a:pt x="814" y="738"/>
                  </a:lnTo>
                  <a:lnTo>
                    <a:pt x="814" y="515"/>
                  </a:lnTo>
                  <a:lnTo>
                    <a:pt x="746" y="515"/>
                  </a:lnTo>
                  <a:lnTo>
                    <a:pt x="746" y="386"/>
                  </a:lnTo>
                  <a:lnTo>
                    <a:pt x="719" y="386"/>
                  </a:lnTo>
                  <a:lnTo>
                    <a:pt x="719" y="515"/>
                  </a:lnTo>
                  <a:lnTo>
                    <a:pt x="608" y="515"/>
                  </a:lnTo>
                  <a:lnTo>
                    <a:pt x="608" y="386"/>
                  </a:lnTo>
                  <a:lnTo>
                    <a:pt x="557" y="386"/>
                  </a:lnTo>
                  <a:lnTo>
                    <a:pt x="557" y="515"/>
                  </a:lnTo>
                  <a:lnTo>
                    <a:pt x="513" y="515"/>
                  </a:lnTo>
                  <a:lnTo>
                    <a:pt x="513" y="1195"/>
                  </a:lnTo>
                  <a:lnTo>
                    <a:pt x="475" y="1197"/>
                  </a:lnTo>
                  <a:lnTo>
                    <a:pt x="458" y="1200"/>
                  </a:lnTo>
                  <a:lnTo>
                    <a:pt x="433" y="1202"/>
                  </a:lnTo>
                  <a:lnTo>
                    <a:pt x="431" y="1202"/>
                  </a:lnTo>
                  <a:lnTo>
                    <a:pt x="421" y="1188"/>
                  </a:lnTo>
                  <a:lnTo>
                    <a:pt x="412" y="1180"/>
                  </a:lnTo>
                  <a:lnTo>
                    <a:pt x="373" y="1200"/>
                  </a:lnTo>
                  <a:lnTo>
                    <a:pt x="370" y="1207"/>
                  </a:lnTo>
                  <a:lnTo>
                    <a:pt x="370" y="1210"/>
                  </a:lnTo>
                  <a:lnTo>
                    <a:pt x="370" y="1210"/>
                  </a:lnTo>
                  <a:lnTo>
                    <a:pt x="370" y="1207"/>
                  </a:lnTo>
                  <a:lnTo>
                    <a:pt x="370" y="1200"/>
                  </a:lnTo>
                  <a:lnTo>
                    <a:pt x="332" y="1180"/>
                  </a:lnTo>
                  <a:lnTo>
                    <a:pt x="322" y="1188"/>
                  </a:lnTo>
                  <a:lnTo>
                    <a:pt x="312" y="1202"/>
                  </a:lnTo>
                  <a:lnTo>
                    <a:pt x="312" y="1202"/>
                  </a:lnTo>
                  <a:lnTo>
                    <a:pt x="288" y="1200"/>
                  </a:lnTo>
                  <a:lnTo>
                    <a:pt x="269" y="1197"/>
                  </a:lnTo>
                  <a:lnTo>
                    <a:pt x="160" y="1193"/>
                  </a:lnTo>
                  <a:lnTo>
                    <a:pt x="140" y="1193"/>
                  </a:lnTo>
                  <a:lnTo>
                    <a:pt x="22" y="1205"/>
                  </a:lnTo>
                  <a:lnTo>
                    <a:pt x="0" y="1210"/>
                  </a:lnTo>
                  <a:lnTo>
                    <a:pt x="0" y="17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12" name="işḻïḑê"/>
            <p:cNvSpPr/>
            <p:nvPr/>
          </p:nvSpPr>
          <p:spPr bwMode="auto">
            <a:xfrm>
              <a:off x="3175" y="4502751"/>
              <a:ext cx="2032266" cy="2655133"/>
            </a:xfrm>
            <a:custGeom>
              <a:avLst/>
              <a:gdLst>
                <a:gd name="T0" fmla="*/ 933 w 1279"/>
                <a:gd name="T1" fmla="*/ 988 h 1671"/>
                <a:gd name="T2" fmla="*/ 712 w 1279"/>
                <a:gd name="T3" fmla="*/ 933 h 1671"/>
                <a:gd name="T4" fmla="*/ 577 w 1279"/>
                <a:gd name="T5" fmla="*/ 1207 h 1671"/>
                <a:gd name="T6" fmla="*/ 303 w 1279"/>
                <a:gd name="T7" fmla="*/ 1336 h 1671"/>
                <a:gd name="T8" fmla="*/ 230 w 1279"/>
                <a:gd name="T9" fmla="*/ 517 h 1671"/>
                <a:gd name="T10" fmla="*/ 194 w 1279"/>
                <a:gd name="T11" fmla="*/ 505 h 1671"/>
                <a:gd name="T12" fmla="*/ 240 w 1279"/>
                <a:gd name="T13" fmla="*/ 498 h 1671"/>
                <a:gd name="T14" fmla="*/ 211 w 1279"/>
                <a:gd name="T15" fmla="*/ 486 h 1671"/>
                <a:gd name="T16" fmla="*/ 194 w 1279"/>
                <a:gd name="T17" fmla="*/ 481 h 1671"/>
                <a:gd name="T18" fmla="*/ 192 w 1279"/>
                <a:gd name="T19" fmla="*/ 432 h 1671"/>
                <a:gd name="T20" fmla="*/ 182 w 1279"/>
                <a:gd name="T21" fmla="*/ 427 h 1671"/>
                <a:gd name="T22" fmla="*/ 204 w 1279"/>
                <a:gd name="T23" fmla="*/ 425 h 1671"/>
                <a:gd name="T24" fmla="*/ 218 w 1279"/>
                <a:gd name="T25" fmla="*/ 425 h 1671"/>
                <a:gd name="T26" fmla="*/ 233 w 1279"/>
                <a:gd name="T27" fmla="*/ 418 h 1671"/>
                <a:gd name="T28" fmla="*/ 235 w 1279"/>
                <a:gd name="T29" fmla="*/ 410 h 1671"/>
                <a:gd name="T30" fmla="*/ 189 w 1279"/>
                <a:gd name="T31" fmla="*/ 398 h 1671"/>
                <a:gd name="T32" fmla="*/ 172 w 1279"/>
                <a:gd name="T33" fmla="*/ 379 h 1671"/>
                <a:gd name="T34" fmla="*/ 168 w 1279"/>
                <a:gd name="T35" fmla="*/ 245 h 1671"/>
                <a:gd name="T36" fmla="*/ 163 w 1279"/>
                <a:gd name="T37" fmla="*/ 146 h 1671"/>
                <a:gd name="T38" fmla="*/ 158 w 1279"/>
                <a:gd name="T39" fmla="*/ 63 h 1671"/>
                <a:gd name="T40" fmla="*/ 155 w 1279"/>
                <a:gd name="T41" fmla="*/ 0 h 1671"/>
                <a:gd name="T42" fmla="*/ 153 w 1279"/>
                <a:gd name="T43" fmla="*/ 0 h 1671"/>
                <a:gd name="T44" fmla="*/ 151 w 1279"/>
                <a:gd name="T45" fmla="*/ 65 h 1671"/>
                <a:gd name="T46" fmla="*/ 148 w 1279"/>
                <a:gd name="T47" fmla="*/ 146 h 1671"/>
                <a:gd name="T48" fmla="*/ 146 w 1279"/>
                <a:gd name="T49" fmla="*/ 374 h 1671"/>
                <a:gd name="T50" fmla="*/ 138 w 1279"/>
                <a:gd name="T51" fmla="*/ 386 h 1671"/>
                <a:gd name="T52" fmla="*/ 117 w 1279"/>
                <a:gd name="T53" fmla="*/ 401 h 1671"/>
                <a:gd name="T54" fmla="*/ 80 w 1279"/>
                <a:gd name="T55" fmla="*/ 418 h 1671"/>
                <a:gd name="T56" fmla="*/ 95 w 1279"/>
                <a:gd name="T57" fmla="*/ 425 h 1671"/>
                <a:gd name="T58" fmla="*/ 112 w 1279"/>
                <a:gd name="T59" fmla="*/ 427 h 1671"/>
                <a:gd name="T60" fmla="*/ 129 w 1279"/>
                <a:gd name="T61" fmla="*/ 427 h 1671"/>
                <a:gd name="T62" fmla="*/ 119 w 1279"/>
                <a:gd name="T63" fmla="*/ 439 h 1671"/>
                <a:gd name="T64" fmla="*/ 121 w 1279"/>
                <a:gd name="T65" fmla="*/ 481 h 1671"/>
                <a:gd name="T66" fmla="*/ 100 w 1279"/>
                <a:gd name="T67" fmla="*/ 486 h 1671"/>
                <a:gd name="T68" fmla="*/ 75 w 1279"/>
                <a:gd name="T69" fmla="*/ 498 h 1671"/>
                <a:gd name="T70" fmla="*/ 121 w 1279"/>
                <a:gd name="T71" fmla="*/ 507 h 1671"/>
                <a:gd name="T72" fmla="*/ 85 w 1279"/>
                <a:gd name="T73" fmla="*/ 520 h 1671"/>
                <a:gd name="T74" fmla="*/ 27 w 1279"/>
                <a:gd name="T75" fmla="*/ 1333 h 1671"/>
                <a:gd name="T76" fmla="*/ 126 w 1279"/>
                <a:gd name="T77" fmla="*/ 498 h 1671"/>
                <a:gd name="T78" fmla="*/ 121 w 1279"/>
                <a:gd name="T79" fmla="*/ 498 h 1671"/>
                <a:gd name="T80" fmla="*/ 121 w 1279"/>
                <a:gd name="T81" fmla="*/ 568 h 1671"/>
                <a:gd name="T82" fmla="*/ 119 w 1279"/>
                <a:gd name="T83" fmla="*/ 656 h 1671"/>
                <a:gd name="T84" fmla="*/ 138 w 1279"/>
                <a:gd name="T85" fmla="*/ 799 h 1671"/>
                <a:gd name="T86" fmla="*/ 124 w 1279"/>
                <a:gd name="T87" fmla="*/ 814 h 1671"/>
                <a:gd name="T88" fmla="*/ 119 w 1279"/>
                <a:gd name="T89" fmla="*/ 937 h 1671"/>
                <a:gd name="T90" fmla="*/ 141 w 1279"/>
                <a:gd name="T91" fmla="*/ 1071 h 1671"/>
                <a:gd name="T92" fmla="*/ 121 w 1279"/>
                <a:gd name="T93" fmla="*/ 1188 h 1671"/>
                <a:gd name="T94" fmla="*/ 129 w 1279"/>
                <a:gd name="T95" fmla="*/ 1185 h 1671"/>
                <a:gd name="T96" fmla="*/ 182 w 1279"/>
                <a:gd name="T97" fmla="*/ 656 h 1671"/>
                <a:gd name="T98" fmla="*/ 189 w 1279"/>
                <a:gd name="T99" fmla="*/ 799 h 1671"/>
                <a:gd name="T100" fmla="*/ 199 w 1279"/>
                <a:gd name="T101" fmla="*/ 937 h 1671"/>
                <a:gd name="T102" fmla="*/ 199 w 1279"/>
                <a:gd name="T103" fmla="*/ 957 h 1671"/>
                <a:gd name="T104" fmla="*/ 184 w 1279"/>
                <a:gd name="T105" fmla="*/ 1185 h 1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79" h="1671">
                  <a:moveTo>
                    <a:pt x="1279" y="1154"/>
                  </a:moveTo>
                  <a:lnTo>
                    <a:pt x="1182" y="1178"/>
                  </a:lnTo>
                  <a:lnTo>
                    <a:pt x="1100" y="1212"/>
                  </a:lnTo>
                  <a:lnTo>
                    <a:pt x="1063" y="1212"/>
                  </a:lnTo>
                  <a:lnTo>
                    <a:pt x="1063" y="988"/>
                  </a:lnTo>
                  <a:lnTo>
                    <a:pt x="933" y="988"/>
                  </a:lnTo>
                  <a:lnTo>
                    <a:pt x="933" y="933"/>
                  </a:lnTo>
                  <a:lnTo>
                    <a:pt x="894" y="933"/>
                  </a:lnTo>
                  <a:lnTo>
                    <a:pt x="894" y="877"/>
                  </a:lnTo>
                  <a:lnTo>
                    <a:pt x="783" y="877"/>
                  </a:lnTo>
                  <a:lnTo>
                    <a:pt x="783" y="933"/>
                  </a:lnTo>
                  <a:lnTo>
                    <a:pt x="712" y="933"/>
                  </a:lnTo>
                  <a:lnTo>
                    <a:pt x="712" y="988"/>
                  </a:lnTo>
                  <a:lnTo>
                    <a:pt x="671" y="988"/>
                  </a:lnTo>
                  <a:lnTo>
                    <a:pt x="671" y="1183"/>
                  </a:lnTo>
                  <a:lnTo>
                    <a:pt x="659" y="1180"/>
                  </a:lnTo>
                  <a:lnTo>
                    <a:pt x="618" y="1188"/>
                  </a:lnTo>
                  <a:lnTo>
                    <a:pt x="577" y="1207"/>
                  </a:lnTo>
                  <a:lnTo>
                    <a:pt x="543" y="1236"/>
                  </a:lnTo>
                  <a:lnTo>
                    <a:pt x="519" y="1275"/>
                  </a:lnTo>
                  <a:lnTo>
                    <a:pt x="506" y="1309"/>
                  </a:lnTo>
                  <a:lnTo>
                    <a:pt x="315" y="1309"/>
                  </a:lnTo>
                  <a:lnTo>
                    <a:pt x="303" y="1314"/>
                  </a:lnTo>
                  <a:lnTo>
                    <a:pt x="303" y="1336"/>
                  </a:lnTo>
                  <a:lnTo>
                    <a:pt x="247" y="1333"/>
                  </a:lnTo>
                  <a:lnTo>
                    <a:pt x="243" y="520"/>
                  </a:lnTo>
                  <a:lnTo>
                    <a:pt x="243" y="520"/>
                  </a:lnTo>
                  <a:lnTo>
                    <a:pt x="240" y="520"/>
                  </a:lnTo>
                  <a:lnTo>
                    <a:pt x="235" y="517"/>
                  </a:lnTo>
                  <a:lnTo>
                    <a:pt x="230" y="517"/>
                  </a:lnTo>
                  <a:lnTo>
                    <a:pt x="230" y="517"/>
                  </a:lnTo>
                  <a:lnTo>
                    <a:pt x="230" y="510"/>
                  </a:lnTo>
                  <a:lnTo>
                    <a:pt x="228" y="507"/>
                  </a:lnTo>
                  <a:lnTo>
                    <a:pt x="221" y="507"/>
                  </a:lnTo>
                  <a:lnTo>
                    <a:pt x="209" y="507"/>
                  </a:lnTo>
                  <a:lnTo>
                    <a:pt x="194" y="505"/>
                  </a:lnTo>
                  <a:lnTo>
                    <a:pt x="184" y="505"/>
                  </a:lnTo>
                  <a:lnTo>
                    <a:pt x="184" y="500"/>
                  </a:lnTo>
                  <a:lnTo>
                    <a:pt x="192" y="500"/>
                  </a:lnTo>
                  <a:lnTo>
                    <a:pt x="211" y="500"/>
                  </a:lnTo>
                  <a:lnTo>
                    <a:pt x="228" y="498"/>
                  </a:lnTo>
                  <a:lnTo>
                    <a:pt x="240" y="498"/>
                  </a:lnTo>
                  <a:lnTo>
                    <a:pt x="247" y="495"/>
                  </a:lnTo>
                  <a:lnTo>
                    <a:pt x="247" y="493"/>
                  </a:lnTo>
                  <a:lnTo>
                    <a:pt x="247" y="490"/>
                  </a:lnTo>
                  <a:lnTo>
                    <a:pt x="240" y="488"/>
                  </a:lnTo>
                  <a:lnTo>
                    <a:pt x="228" y="486"/>
                  </a:lnTo>
                  <a:lnTo>
                    <a:pt x="211" y="486"/>
                  </a:lnTo>
                  <a:lnTo>
                    <a:pt x="189" y="486"/>
                  </a:lnTo>
                  <a:lnTo>
                    <a:pt x="184" y="486"/>
                  </a:lnTo>
                  <a:lnTo>
                    <a:pt x="184" y="483"/>
                  </a:lnTo>
                  <a:lnTo>
                    <a:pt x="187" y="483"/>
                  </a:lnTo>
                  <a:lnTo>
                    <a:pt x="192" y="481"/>
                  </a:lnTo>
                  <a:lnTo>
                    <a:pt x="194" y="481"/>
                  </a:lnTo>
                  <a:lnTo>
                    <a:pt x="194" y="478"/>
                  </a:lnTo>
                  <a:lnTo>
                    <a:pt x="194" y="469"/>
                  </a:lnTo>
                  <a:lnTo>
                    <a:pt x="192" y="459"/>
                  </a:lnTo>
                  <a:lnTo>
                    <a:pt x="192" y="449"/>
                  </a:lnTo>
                  <a:lnTo>
                    <a:pt x="192" y="439"/>
                  </a:lnTo>
                  <a:lnTo>
                    <a:pt x="192" y="432"/>
                  </a:lnTo>
                  <a:lnTo>
                    <a:pt x="192" y="430"/>
                  </a:lnTo>
                  <a:lnTo>
                    <a:pt x="192" y="430"/>
                  </a:lnTo>
                  <a:lnTo>
                    <a:pt x="189" y="427"/>
                  </a:lnTo>
                  <a:lnTo>
                    <a:pt x="184" y="427"/>
                  </a:lnTo>
                  <a:lnTo>
                    <a:pt x="182" y="427"/>
                  </a:lnTo>
                  <a:lnTo>
                    <a:pt x="182" y="427"/>
                  </a:lnTo>
                  <a:lnTo>
                    <a:pt x="184" y="427"/>
                  </a:lnTo>
                  <a:lnTo>
                    <a:pt x="189" y="427"/>
                  </a:lnTo>
                  <a:lnTo>
                    <a:pt x="189" y="427"/>
                  </a:lnTo>
                  <a:lnTo>
                    <a:pt x="199" y="427"/>
                  </a:lnTo>
                  <a:lnTo>
                    <a:pt x="204" y="425"/>
                  </a:lnTo>
                  <a:lnTo>
                    <a:pt x="204" y="425"/>
                  </a:lnTo>
                  <a:lnTo>
                    <a:pt x="204" y="425"/>
                  </a:lnTo>
                  <a:lnTo>
                    <a:pt x="209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8" y="425"/>
                  </a:lnTo>
                  <a:lnTo>
                    <a:pt x="221" y="422"/>
                  </a:lnTo>
                  <a:lnTo>
                    <a:pt x="221" y="422"/>
                  </a:lnTo>
                  <a:lnTo>
                    <a:pt x="221" y="422"/>
                  </a:lnTo>
                  <a:lnTo>
                    <a:pt x="221" y="422"/>
                  </a:lnTo>
                  <a:lnTo>
                    <a:pt x="230" y="418"/>
                  </a:lnTo>
                  <a:lnTo>
                    <a:pt x="233" y="418"/>
                  </a:lnTo>
                  <a:lnTo>
                    <a:pt x="233" y="418"/>
                  </a:lnTo>
                  <a:lnTo>
                    <a:pt x="235" y="415"/>
                  </a:lnTo>
                  <a:lnTo>
                    <a:pt x="235" y="413"/>
                  </a:lnTo>
                  <a:lnTo>
                    <a:pt x="235" y="413"/>
                  </a:lnTo>
                  <a:lnTo>
                    <a:pt x="235" y="410"/>
                  </a:lnTo>
                  <a:lnTo>
                    <a:pt x="235" y="410"/>
                  </a:lnTo>
                  <a:lnTo>
                    <a:pt x="221" y="403"/>
                  </a:lnTo>
                  <a:lnTo>
                    <a:pt x="218" y="403"/>
                  </a:lnTo>
                  <a:lnTo>
                    <a:pt x="209" y="401"/>
                  </a:lnTo>
                  <a:lnTo>
                    <a:pt x="197" y="401"/>
                  </a:lnTo>
                  <a:lnTo>
                    <a:pt x="194" y="401"/>
                  </a:lnTo>
                  <a:lnTo>
                    <a:pt x="189" y="398"/>
                  </a:lnTo>
                  <a:lnTo>
                    <a:pt x="187" y="396"/>
                  </a:lnTo>
                  <a:lnTo>
                    <a:pt x="182" y="393"/>
                  </a:lnTo>
                  <a:lnTo>
                    <a:pt x="180" y="391"/>
                  </a:lnTo>
                  <a:lnTo>
                    <a:pt x="177" y="386"/>
                  </a:lnTo>
                  <a:lnTo>
                    <a:pt x="175" y="381"/>
                  </a:lnTo>
                  <a:lnTo>
                    <a:pt x="172" y="379"/>
                  </a:lnTo>
                  <a:lnTo>
                    <a:pt x="170" y="374"/>
                  </a:lnTo>
                  <a:lnTo>
                    <a:pt x="170" y="374"/>
                  </a:lnTo>
                  <a:lnTo>
                    <a:pt x="168" y="374"/>
                  </a:lnTo>
                  <a:lnTo>
                    <a:pt x="168" y="374"/>
                  </a:lnTo>
                  <a:lnTo>
                    <a:pt x="168" y="245"/>
                  </a:lnTo>
                  <a:lnTo>
                    <a:pt x="168" y="245"/>
                  </a:lnTo>
                  <a:lnTo>
                    <a:pt x="165" y="243"/>
                  </a:lnTo>
                  <a:lnTo>
                    <a:pt x="165" y="243"/>
                  </a:lnTo>
                  <a:lnTo>
                    <a:pt x="163" y="243"/>
                  </a:lnTo>
                  <a:lnTo>
                    <a:pt x="163" y="146"/>
                  </a:lnTo>
                  <a:lnTo>
                    <a:pt x="163" y="146"/>
                  </a:lnTo>
                  <a:lnTo>
                    <a:pt x="163" y="146"/>
                  </a:lnTo>
                  <a:lnTo>
                    <a:pt x="160" y="146"/>
                  </a:lnTo>
                  <a:lnTo>
                    <a:pt x="160" y="146"/>
                  </a:lnTo>
                  <a:lnTo>
                    <a:pt x="160" y="65"/>
                  </a:lnTo>
                  <a:lnTo>
                    <a:pt x="160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3" y="0"/>
                  </a:lnTo>
                  <a:lnTo>
                    <a:pt x="153" y="0"/>
                  </a:lnTo>
                  <a:lnTo>
                    <a:pt x="153" y="0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3" y="63"/>
                  </a:lnTo>
                  <a:lnTo>
                    <a:pt x="153" y="63"/>
                  </a:lnTo>
                  <a:lnTo>
                    <a:pt x="153" y="63"/>
                  </a:lnTo>
                  <a:lnTo>
                    <a:pt x="151" y="65"/>
                  </a:lnTo>
                  <a:lnTo>
                    <a:pt x="151" y="65"/>
                  </a:lnTo>
                  <a:lnTo>
                    <a:pt x="151" y="65"/>
                  </a:lnTo>
                  <a:lnTo>
                    <a:pt x="151" y="146"/>
                  </a:lnTo>
                  <a:lnTo>
                    <a:pt x="151" y="146"/>
                  </a:lnTo>
                  <a:lnTo>
                    <a:pt x="151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243"/>
                  </a:lnTo>
                  <a:lnTo>
                    <a:pt x="148" y="243"/>
                  </a:lnTo>
                  <a:lnTo>
                    <a:pt x="146" y="245"/>
                  </a:lnTo>
                  <a:lnTo>
                    <a:pt x="146" y="245"/>
                  </a:lnTo>
                  <a:lnTo>
                    <a:pt x="146" y="374"/>
                  </a:lnTo>
                  <a:lnTo>
                    <a:pt x="146" y="374"/>
                  </a:lnTo>
                  <a:lnTo>
                    <a:pt x="143" y="374"/>
                  </a:lnTo>
                  <a:lnTo>
                    <a:pt x="143" y="374"/>
                  </a:lnTo>
                  <a:lnTo>
                    <a:pt x="141" y="379"/>
                  </a:lnTo>
                  <a:lnTo>
                    <a:pt x="141" y="384"/>
                  </a:lnTo>
                  <a:lnTo>
                    <a:pt x="138" y="386"/>
                  </a:lnTo>
                  <a:lnTo>
                    <a:pt x="136" y="391"/>
                  </a:lnTo>
                  <a:lnTo>
                    <a:pt x="131" y="393"/>
                  </a:lnTo>
                  <a:lnTo>
                    <a:pt x="129" y="396"/>
                  </a:lnTo>
                  <a:lnTo>
                    <a:pt x="124" y="398"/>
                  </a:lnTo>
                  <a:lnTo>
                    <a:pt x="121" y="401"/>
                  </a:lnTo>
                  <a:lnTo>
                    <a:pt x="117" y="401"/>
                  </a:lnTo>
                  <a:lnTo>
                    <a:pt x="105" y="403"/>
                  </a:lnTo>
                  <a:lnTo>
                    <a:pt x="97" y="403"/>
                  </a:lnTo>
                  <a:lnTo>
                    <a:pt x="92" y="405"/>
                  </a:lnTo>
                  <a:lnTo>
                    <a:pt x="80" y="413"/>
                  </a:lnTo>
                  <a:lnTo>
                    <a:pt x="80" y="413"/>
                  </a:lnTo>
                  <a:lnTo>
                    <a:pt x="80" y="418"/>
                  </a:lnTo>
                  <a:lnTo>
                    <a:pt x="80" y="418"/>
                  </a:lnTo>
                  <a:lnTo>
                    <a:pt x="80" y="420"/>
                  </a:lnTo>
                  <a:lnTo>
                    <a:pt x="85" y="420"/>
                  </a:lnTo>
                  <a:lnTo>
                    <a:pt x="95" y="425"/>
                  </a:lnTo>
                  <a:lnTo>
                    <a:pt x="95" y="425"/>
                  </a:lnTo>
                  <a:lnTo>
                    <a:pt x="95" y="425"/>
                  </a:lnTo>
                  <a:lnTo>
                    <a:pt x="100" y="425"/>
                  </a:lnTo>
                  <a:lnTo>
                    <a:pt x="100" y="425"/>
                  </a:lnTo>
                  <a:lnTo>
                    <a:pt x="102" y="425"/>
                  </a:lnTo>
                  <a:lnTo>
                    <a:pt x="102" y="425"/>
                  </a:lnTo>
                  <a:lnTo>
                    <a:pt x="107" y="427"/>
                  </a:lnTo>
                  <a:lnTo>
                    <a:pt x="112" y="427"/>
                  </a:lnTo>
                  <a:lnTo>
                    <a:pt x="112" y="427"/>
                  </a:lnTo>
                  <a:lnTo>
                    <a:pt x="119" y="427"/>
                  </a:lnTo>
                  <a:lnTo>
                    <a:pt x="124" y="427"/>
                  </a:lnTo>
                  <a:lnTo>
                    <a:pt x="124" y="427"/>
                  </a:lnTo>
                  <a:lnTo>
                    <a:pt x="124" y="427"/>
                  </a:lnTo>
                  <a:lnTo>
                    <a:pt x="129" y="427"/>
                  </a:lnTo>
                  <a:lnTo>
                    <a:pt x="129" y="427"/>
                  </a:lnTo>
                  <a:lnTo>
                    <a:pt x="126" y="430"/>
                  </a:lnTo>
                  <a:lnTo>
                    <a:pt x="121" y="430"/>
                  </a:lnTo>
                  <a:lnTo>
                    <a:pt x="119" y="430"/>
                  </a:lnTo>
                  <a:lnTo>
                    <a:pt x="119" y="432"/>
                  </a:lnTo>
                  <a:lnTo>
                    <a:pt x="119" y="439"/>
                  </a:lnTo>
                  <a:lnTo>
                    <a:pt x="119" y="449"/>
                  </a:lnTo>
                  <a:lnTo>
                    <a:pt x="119" y="459"/>
                  </a:lnTo>
                  <a:lnTo>
                    <a:pt x="119" y="469"/>
                  </a:lnTo>
                  <a:lnTo>
                    <a:pt x="119" y="478"/>
                  </a:lnTo>
                  <a:lnTo>
                    <a:pt x="119" y="481"/>
                  </a:lnTo>
                  <a:lnTo>
                    <a:pt x="121" y="481"/>
                  </a:lnTo>
                  <a:lnTo>
                    <a:pt x="124" y="483"/>
                  </a:lnTo>
                  <a:lnTo>
                    <a:pt x="129" y="483"/>
                  </a:lnTo>
                  <a:lnTo>
                    <a:pt x="131" y="483"/>
                  </a:lnTo>
                  <a:lnTo>
                    <a:pt x="131" y="486"/>
                  </a:lnTo>
                  <a:lnTo>
                    <a:pt x="119" y="486"/>
                  </a:lnTo>
                  <a:lnTo>
                    <a:pt x="100" y="486"/>
                  </a:lnTo>
                  <a:lnTo>
                    <a:pt x="83" y="488"/>
                  </a:lnTo>
                  <a:lnTo>
                    <a:pt x="73" y="490"/>
                  </a:lnTo>
                  <a:lnTo>
                    <a:pt x="66" y="490"/>
                  </a:lnTo>
                  <a:lnTo>
                    <a:pt x="66" y="495"/>
                  </a:lnTo>
                  <a:lnTo>
                    <a:pt x="68" y="498"/>
                  </a:lnTo>
                  <a:lnTo>
                    <a:pt x="75" y="498"/>
                  </a:lnTo>
                  <a:lnTo>
                    <a:pt x="88" y="500"/>
                  </a:lnTo>
                  <a:lnTo>
                    <a:pt x="105" y="500"/>
                  </a:lnTo>
                  <a:lnTo>
                    <a:pt x="124" y="500"/>
                  </a:lnTo>
                  <a:lnTo>
                    <a:pt x="131" y="500"/>
                  </a:lnTo>
                  <a:lnTo>
                    <a:pt x="131" y="505"/>
                  </a:lnTo>
                  <a:lnTo>
                    <a:pt x="121" y="507"/>
                  </a:lnTo>
                  <a:lnTo>
                    <a:pt x="107" y="507"/>
                  </a:lnTo>
                  <a:lnTo>
                    <a:pt x="95" y="507"/>
                  </a:lnTo>
                  <a:lnTo>
                    <a:pt x="88" y="510"/>
                  </a:lnTo>
                  <a:lnTo>
                    <a:pt x="88" y="510"/>
                  </a:lnTo>
                  <a:lnTo>
                    <a:pt x="88" y="520"/>
                  </a:lnTo>
                  <a:lnTo>
                    <a:pt x="85" y="520"/>
                  </a:lnTo>
                  <a:lnTo>
                    <a:pt x="80" y="520"/>
                  </a:lnTo>
                  <a:lnTo>
                    <a:pt x="75" y="520"/>
                  </a:lnTo>
                  <a:lnTo>
                    <a:pt x="73" y="520"/>
                  </a:lnTo>
                  <a:lnTo>
                    <a:pt x="73" y="520"/>
                  </a:lnTo>
                  <a:lnTo>
                    <a:pt x="78" y="1331"/>
                  </a:lnTo>
                  <a:lnTo>
                    <a:pt x="27" y="1333"/>
                  </a:lnTo>
                  <a:lnTo>
                    <a:pt x="27" y="1350"/>
                  </a:lnTo>
                  <a:lnTo>
                    <a:pt x="0" y="1353"/>
                  </a:lnTo>
                  <a:lnTo>
                    <a:pt x="0" y="1671"/>
                  </a:lnTo>
                  <a:lnTo>
                    <a:pt x="1279" y="1671"/>
                  </a:lnTo>
                  <a:lnTo>
                    <a:pt x="1279" y="1154"/>
                  </a:lnTo>
                  <a:close/>
                  <a:moveTo>
                    <a:pt x="126" y="498"/>
                  </a:moveTo>
                  <a:lnTo>
                    <a:pt x="124" y="498"/>
                  </a:lnTo>
                  <a:lnTo>
                    <a:pt x="121" y="498"/>
                  </a:lnTo>
                  <a:lnTo>
                    <a:pt x="119" y="498"/>
                  </a:lnTo>
                  <a:lnTo>
                    <a:pt x="117" y="498"/>
                  </a:lnTo>
                  <a:lnTo>
                    <a:pt x="119" y="498"/>
                  </a:lnTo>
                  <a:lnTo>
                    <a:pt x="121" y="498"/>
                  </a:lnTo>
                  <a:lnTo>
                    <a:pt x="124" y="498"/>
                  </a:lnTo>
                  <a:lnTo>
                    <a:pt x="126" y="498"/>
                  </a:lnTo>
                  <a:lnTo>
                    <a:pt x="131" y="498"/>
                  </a:lnTo>
                  <a:lnTo>
                    <a:pt x="126" y="498"/>
                  </a:lnTo>
                  <a:close/>
                  <a:moveTo>
                    <a:pt x="117" y="568"/>
                  </a:moveTo>
                  <a:lnTo>
                    <a:pt x="121" y="568"/>
                  </a:lnTo>
                  <a:lnTo>
                    <a:pt x="131" y="568"/>
                  </a:lnTo>
                  <a:lnTo>
                    <a:pt x="138" y="568"/>
                  </a:lnTo>
                  <a:lnTo>
                    <a:pt x="138" y="656"/>
                  </a:lnTo>
                  <a:lnTo>
                    <a:pt x="134" y="656"/>
                  </a:lnTo>
                  <a:lnTo>
                    <a:pt x="124" y="656"/>
                  </a:lnTo>
                  <a:lnTo>
                    <a:pt x="119" y="656"/>
                  </a:lnTo>
                  <a:lnTo>
                    <a:pt x="117" y="568"/>
                  </a:lnTo>
                  <a:close/>
                  <a:moveTo>
                    <a:pt x="119" y="673"/>
                  </a:moveTo>
                  <a:lnTo>
                    <a:pt x="126" y="673"/>
                  </a:lnTo>
                  <a:lnTo>
                    <a:pt x="136" y="673"/>
                  </a:lnTo>
                  <a:lnTo>
                    <a:pt x="138" y="673"/>
                  </a:lnTo>
                  <a:lnTo>
                    <a:pt x="138" y="799"/>
                  </a:lnTo>
                  <a:lnTo>
                    <a:pt x="136" y="799"/>
                  </a:lnTo>
                  <a:lnTo>
                    <a:pt x="126" y="799"/>
                  </a:lnTo>
                  <a:lnTo>
                    <a:pt x="119" y="799"/>
                  </a:lnTo>
                  <a:lnTo>
                    <a:pt x="119" y="673"/>
                  </a:lnTo>
                  <a:close/>
                  <a:moveTo>
                    <a:pt x="119" y="814"/>
                  </a:moveTo>
                  <a:lnTo>
                    <a:pt x="124" y="814"/>
                  </a:lnTo>
                  <a:lnTo>
                    <a:pt x="136" y="814"/>
                  </a:lnTo>
                  <a:lnTo>
                    <a:pt x="141" y="814"/>
                  </a:lnTo>
                  <a:lnTo>
                    <a:pt x="141" y="937"/>
                  </a:lnTo>
                  <a:lnTo>
                    <a:pt x="136" y="937"/>
                  </a:lnTo>
                  <a:lnTo>
                    <a:pt x="129" y="937"/>
                  </a:lnTo>
                  <a:lnTo>
                    <a:pt x="119" y="937"/>
                  </a:lnTo>
                  <a:lnTo>
                    <a:pt x="119" y="814"/>
                  </a:lnTo>
                  <a:close/>
                  <a:moveTo>
                    <a:pt x="119" y="957"/>
                  </a:moveTo>
                  <a:lnTo>
                    <a:pt x="126" y="957"/>
                  </a:lnTo>
                  <a:lnTo>
                    <a:pt x="136" y="957"/>
                  </a:lnTo>
                  <a:lnTo>
                    <a:pt x="141" y="957"/>
                  </a:lnTo>
                  <a:lnTo>
                    <a:pt x="141" y="1071"/>
                  </a:lnTo>
                  <a:lnTo>
                    <a:pt x="138" y="1071"/>
                  </a:lnTo>
                  <a:lnTo>
                    <a:pt x="129" y="1071"/>
                  </a:lnTo>
                  <a:lnTo>
                    <a:pt x="121" y="1073"/>
                  </a:lnTo>
                  <a:lnTo>
                    <a:pt x="119" y="957"/>
                  </a:lnTo>
                  <a:close/>
                  <a:moveTo>
                    <a:pt x="129" y="1185"/>
                  </a:moveTo>
                  <a:lnTo>
                    <a:pt x="121" y="1188"/>
                  </a:lnTo>
                  <a:lnTo>
                    <a:pt x="121" y="1095"/>
                  </a:lnTo>
                  <a:lnTo>
                    <a:pt x="126" y="1095"/>
                  </a:lnTo>
                  <a:lnTo>
                    <a:pt x="136" y="1095"/>
                  </a:lnTo>
                  <a:lnTo>
                    <a:pt x="141" y="1095"/>
                  </a:lnTo>
                  <a:lnTo>
                    <a:pt x="141" y="1185"/>
                  </a:lnTo>
                  <a:lnTo>
                    <a:pt x="129" y="1185"/>
                  </a:lnTo>
                  <a:close/>
                  <a:moveTo>
                    <a:pt x="182" y="568"/>
                  </a:moveTo>
                  <a:lnTo>
                    <a:pt x="189" y="568"/>
                  </a:lnTo>
                  <a:lnTo>
                    <a:pt x="197" y="568"/>
                  </a:lnTo>
                  <a:lnTo>
                    <a:pt x="197" y="656"/>
                  </a:lnTo>
                  <a:lnTo>
                    <a:pt x="194" y="656"/>
                  </a:lnTo>
                  <a:lnTo>
                    <a:pt x="182" y="656"/>
                  </a:lnTo>
                  <a:lnTo>
                    <a:pt x="182" y="568"/>
                  </a:lnTo>
                  <a:close/>
                  <a:moveTo>
                    <a:pt x="182" y="673"/>
                  </a:moveTo>
                  <a:lnTo>
                    <a:pt x="189" y="673"/>
                  </a:lnTo>
                  <a:lnTo>
                    <a:pt x="197" y="673"/>
                  </a:lnTo>
                  <a:lnTo>
                    <a:pt x="199" y="799"/>
                  </a:lnTo>
                  <a:lnTo>
                    <a:pt x="189" y="799"/>
                  </a:lnTo>
                  <a:lnTo>
                    <a:pt x="182" y="799"/>
                  </a:lnTo>
                  <a:lnTo>
                    <a:pt x="182" y="673"/>
                  </a:lnTo>
                  <a:close/>
                  <a:moveTo>
                    <a:pt x="182" y="814"/>
                  </a:moveTo>
                  <a:lnTo>
                    <a:pt x="194" y="814"/>
                  </a:lnTo>
                  <a:lnTo>
                    <a:pt x="199" y="814"/>
                  </a:lnTo>
                  <a:lnTo>
                    <a:pt x="199" y="937"/>
                  </a:lnTo>
                  <a:lnTo>
                    <a:pt x="192" y="937"/>
                  </a:lnTo>
                  <a:lnTo>
                    <a:pt x="184" y="937"/>
                  </a:lnTo>
                  <a:lnTo>
                    <a:pt x="182" y="814"/>
                  </a:lnTo>
                  <a:close/>
                  <a:moveTo>
                    <a:pt x="184" y="957"/>
                  </a:moveTo>
                  <a:lnTo>
                    <a:pt x="194" y="957"/>
                  </a:lnTo>
                  <a:lnTo>
                    <a:pt x="199" y="957"/>
                  </a:lnTo>
                  <a:lnTo>
                    <a:pt x="199" y="1071"/>
                  </a:lnTo>
                  <a:lnTo>
                    <a:pt x="192" y="1071"/>
                  </a:lnTo>
                  <a:lnTo>
                    <a:pt x="184" y="1071"/>
                  </a:lnTo>
                  <a:lnTo>
                    <a:pt x="184" y="957"/>
                  </a:lnTo>
                  <a:close/>
                  <a:moveTo>
                    <a:pt x="199" y="1188"/>
                  </a:moveTo>
                  <a:lnTo>
                    <a:pt x="184" y="1185"/>
                  </a:lnTo>
                  <a:lnTo>
                    <a:pt x="184" y="1098"/>
                  </a:lnTo>
                  <a:lnTo>
                    <a:pt x="197" y="1098"/>
                  </a:lnTo>
                  <a:lnTo>
                    <a:pt x="199" y="1098"/>
                  </a:lnTo>
                  <a:lnTo>
                    <a:pt x="201" y="1188"/>
                  </a:lnTo>
                  <a:lnTo>
                    <a:pt x="199" y="11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</p:grpSp>
      <p:sp>
        <p:nvSpPr>
          <p:cNvPr id="14" name="任意多边形: 形状 13"/>
          <p:cNvSpPr/>
          <p:nvPr userDrawn="1"/>
        </p:nvSpPr>
        <p:spPr bwMode="auto">
          <a:xfrm rot="10800000" flipH="1">
            <a:off x="1" y="1"/>
            <a:ext cx="5289591" cy="5417820"/>
          </a:xfrm>
          <a:custGeom>
            <a:avLst/>
            <a:gdLst>
              <a:gd name="connsiteX0" fmla="*/ 2457313 w 5289590"/>
              <a:gd name="connsiteY0" fmla="*/ 0 h 5417820"/>
              <a:gd name="connsiteX1" fmla="*/ 0 w 5289590"/>
              <a:gd name="connsiteY1" fmla="*/ 0 h 5417820"/>
              <a:gd name="connsiteX2" fmla="*/ 0 w 5289590"/>
              <a:gd name="connsiteY2" fmla="*/ 5414923 h 5417820"/>
              <a:gd name="connsiteX3" fmla="*/ 249555 w 5289590"/>
              <a:gd name="connsiteY3" fmla="*/ 5415147 h 5417820"/>
              <a:gd name="connsiteX4" fmla="*/ 3224275 w 5289590"/>
              <a:gd name="connsiteY4" fmla="*/ 5417820 h 5417820"/>
              <a:gd name="connsiteX5" fmla="*/ 4957241 w 5289590"/>
              <a:gd name="connsiteY5" fmla="*/ 3815354 h 5417820"/>
              <a:gd name="connsiteX6" fmla="*/ 4957241 w 5289590"/>
              <a:gd name="connsiteY6" fmla="*/ 2308011 h 5417820"/>
              <a:gd name="connsiteX7" fmla="*/ 2522345 w 5289590"/>
              <a:gd name="connsiteY7" fmla="*/ 60040 h 5417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89590" h="5417820">
                <a:moveTo>
                  <a:pt x="2457313" y="0"/>
                </a:moveTo>
                <a:lnTo>
                  <a:pt x="0" y="0"/>
                </a:lnTo>
                <a:lnTo>
                  <a:pt x="0" y="5414923"/>
                </a:lnTo>
                <a:lnTo>
                  <a:pt x="249555" y="5415147"/>
                </a:lnTo>
                <a:cubicBezTo>
                  <a:pt x="1095202" y="5415907"/>
                  <a:pt x="2079227" y="5416792"/>
                  <a:pt x="3224275" y="5417820"/>
                </a:cubicBezTo>
                <a:cubicBezTo>
                  <a:pt x="3224275" y="5417820"/>
                  <a:pt x="3224275" y="5417820"/>
                  <a:pt x="4957241" y="3815354"/>
                </a:cubicBezTo>
                <a:cubicBezTo>
                  <a:pt x="5400373" y="3398273"/>
                  <a:pt x="5400373" y="2725091"/>
                  <a:pt x="4957241" y="2308011"/>
                </a:cubicBezTo>
                <a:cubicBezTo>
                  <a:pt x="4957241" y="2308011"/>
                  <a:pt x="4957241" y="2308011"/>
                  <a:pt x="2522345" y="6004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  <a:alpha val="58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sz="1800"/>
          </a:p>
        </p:txBody>
      </p:sp>
      <p:sp>
        <p:nvSpPr>
          <p:cNvPr id="16" name="任意多边形: 形状 15"/>
          <p:cNvSpPr/>
          <p:nvPr userDrawn="1"/>
        </p:nvSpPr>
        <p:spPr bwMode="auto">
          <a:xfrm rot="10800000">
            <a:off x="1" y="0"/>
            <a:ext cx="6478609" cy="6858000"/>
          </a:xfrm>
          <a:custGeom>
            <a:avLst/>
            <a:gdLst>
              <a:gd name="connsiteX0" fmla="*/ 6468068 w 6478609"/>
              <a:gd name="connsiteY0" fmla="*/ 3674209 h 6858000"/>
              <a:gd name="connsiteX1" fmla="*/ 6478609 w 6478609"/>
              <a:gd name="connsiteY1" fmla="*/ 6858000 h 6858000"/>
              <a:gd name="connsiteX2" fmla="*/ 6418877 w 6478609"/>
              <a:gd name="connsiteY2" fmla="*/ 6847469 h 6858000"/>
              <a:gd name="connsiteX3" fmla="*/ 6316981 w 6478609"/>
              <a:gd name="connsiteY3" fmla="*/ 6780775 h 6858000"/>
              <a:gd name="connsiteX4" fmla="*/ 5009905 w 6478609"/>
              <a:gd name="connsiteY4" fmla="*/ 5474964 h 6858000"/>
              <a:gd name="connsiteX5" fmla="*/ 5009905 w 6478609"/>
              <a:gd name="connsiteY5" fmla="*/ 5050225 h 6858000"/>
              <a:gd name="connsiteX6" fmla="*/ 6309954 w 6478609"/>
              <a:gd name="connsiteY6" fmla="*/ 3751434 h 6858000"/>
              <a:gd name="connsiteX7" fmla="*/ 6408336 w 6478609"/>
              <a:gd name="connsiteY7" fmla="*/ 3684740 h 6858000"/>
              <a:gd name="connsiteX8" fmla="*/ 2028882 w 6478609"/>
              <a:gd name="connsiteY8" fmla="*/ 0 h 6858000"/>
              <a:gd name="connsiteX9" fmla="*/ 5254187 w 6478609"/>
              <a:gd name="connsiteY9" fmla="*/ 2486 h 6858000"/>
              <a:gd name="connsiteX10" fmla="*/ 5254188 w 6478609"/>
              <a:gd name="connsiteY10" fmla="*/ 2487 h 6858000"/>
              <a:gd name="connsiteX11" fmla="*/ 5253400 w 6478609"/>
              <a:gd name="connsiteY11" fmla="*/ 2486 h 6858000"/>
              <a:gd name="connsiteX12" fmla="*/ 2028883 w 6478609"/>
              <a:gd name="connsiteY12" fmla="*/ 1 h 6858000"/>
              <a:gd name="connsiteX13" fmla="*/ 199717 w 6478609"/>
              <a:gd name="connsiteY13" fmla="*/ 1827184 h 6858000"/>
              <a:gd name="connsiteX14" fmla="*/ 49931 w 6478609"/>
              <a:gd name="connsiteY14" fmla="*/ 2566214 h 6858000"/>
              <a:gd name="connsiteX15" fmla="*/ 112342 w 6478609"/>
              <a:gd name="connsiteY15" fmla="*/ 2684832 h 6858000"/>
              <a:gd name="connsiteX16" fmla="*/ 112341 w 6478609"/>
              <a:gd name="connsiteY16" fmla="*/ 2684831 h 6858000"/>
              <a:gd name="connsiteX17" fmla="*/ 199716 w 6478609"/>
              <a:gd name="connsiteY17" fmla="*/ 18271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478609" h="6858000">
                <a:moveTo>
                  <a:pt x="6468068" y="3674209"/>
                </a:moveTo>
                <a:cubicBezTo>
                  <a:pt x="6478609" y="6858000"/>
                  <a:pt x="6478609" y="6858000"/>
                  <a:pt x="6478609" y="6858000"/>
                </a:cubicBezTo>
                <a:cubicBezTo>
                  <a:pt x="6418877" y="6847469"/>
                  <a:pt x="6418877" y="6847469"/>
                  <a:pt x="6418877" y="6847469"/>
                </a:cubicBezTo>
                <a:cubicBezTo>
                  <a:pt x="6380227" y="6833428"/>
                  <a:pt x="6348604" y="6812367"/>
                  <a:pt x="6316981" y="6780775"/>
                </a:cubicBezTo>
                <a:cubicBezTo>
                  <a:pt x="5009905" y="5474964"/>
                  <a:pt x="5009905" y="5474964"/>
                  <a:pt x="5009905" y="5474964"/>
                </a:cubicBezTo>
                <a:cubicBezTo>
                  <a:pt x="4893955" y="5355616"/>
                  <a:pt x="4890441" y="5166063"/>
                  <a:pt x="5009905" y="5050225"/>
                </a:cubicBezTo>
                <a:cubicBezTo>
                  <a:pt x="6309954" y="3751434"/>
                  <a:pt x="6309954" y="3751434"/>
                  <a:pt x="6309954" y="3751434"/>
                </a:cubicBezTo>
                <a:cubicBezTo>
                  <a:pt x="6338063" y="3719842"/>
                  <a:pt x="6373200" y="3698781"/>
                  <a:pt x="6408336" y="3684740"/>
                </a:cubicBezTo>
                <a:close/>
                <a:moveTo>
                  <a:pt x="2028882" y="0"/>
                </a:moveTo>
                <a:cubicBezTo>
                  <a:pt x="5254187" y="2486"/>
                  <a:pt x="5254187" y="2486"/>
                  <a:pt x="5254187" y="2486"/>
                </a:cubicBezTo>
                <a:lnTo>
                  <a:pt x="5254188" y="2487"/>
                </a:lnTo>
                <a:lnTo>
                  <a:pt x="5253400" y="2486"/>
                </a:lnTo>
                <a:cubicBezTo>
                  <a:pt x="5241589" y="2477"/>
                  <a:pt x="5052606" y="2332"/>
                  <a:pt x="2028883" y="1"/>
                </a:cubicBezTo>
                <a:lnTo>
                  <a:pt x="199717" y="1827184"/>
                </a:lnTo>
                <a:cubicBezTo>
                  <a:pt x="2" y="2026683"/>
                  <a:pt x="-49927" y="2319871"/>
                  <a:pt x="49931" y="2566214"/>
                </a:cubicBezTo>
                <a:lnTo>
                  <a:pt x="112342" y="2684832"/>
                </a:lnTo>
                <a:lnTo>
                  <a:pt x="112341" y="2684831"/>
                </a:lnTo>
                <a:cubicBezTo>
                  <a:pt x="-62410" y="2420202"/>
                  <a:pt x="-33285" y="2059932"/>
                  <a:pt x="199716" y="1827183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rgbClr val="1D25AA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sz="1800"/>
          </a:p>
        </p:txBody>
      </p:sp>
      <p:sp>
        <p:nvSpPr>
          <p:cNvPr id="17" name="Freeform 6"/>
          <p:cNvSpPr/>
          <p:nvPr userDrawn="1"/>
        </p:nvSpPr>
        <p:spPr bwMode="auto">
          <a:xfrm rot="10800000" flipV="1">
            <a:off x="1094216" y="3118075"/>
            <a:ext cx="5384395" cy="3737557"/>
          </a:xfrm>
          <a:custGeom>
            <a:avLst/>
            <a:gdLst>
              <a:gd name="T0" fmla="*/ 790 w 1580"/>
              <a:gd name="T1" fmla="*/ 0 h 1098"/>
              <a:gd name="T2" fmla="*/ 893 w 1580"/>
              <a:gd name="T3" fmla="*/ 43 h 1098"/>
              <a:gd name="T4" fmla="*/ 1524 w 1580"/>
              <a:gd name="T5" fmla="*/ 673 h 1098"/>
              <a:gd name="T6" fmla="*/ 1524 w 1580"/>
              <a:gd name="T7" fmla="*/ 879 h 1098"/>
              <a:gd name="T8" fmla="*/ 1305 w 1580"/>
              <a:gd name="T9" fmla="*/ 1098 h 1098"/>
              <a:gd name="T10" fmla="*/ 276 w 1580"/>
              <a:gd name="T11" fmla="*/ 1097 h 1098"/>
              <a:gd name="T12" fmla="*/ 57 w 1580"/>
              <a:gd name="T13" fmla="*/ 878 h 1098"/>
              <a:gd name="T14" fmla="*/ 57 w 1580"/>
              <a:gd name="T15" fmla="*/ 673 h 1098"/>
              <a:gd name="T16" fmla="*/ 687 w 1580"/>
              <a:gd name="T17" fmla="*/ 43 h 1098"/>
              <a:gd name="T18" fmla="*/ 790 w 1580"/>
              <a:gd name="T19" fmla="*/ 0 h 10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80" h="1098">
                <a:moveTo>
                  <a:pt x="790" y="0"/>
                </a:moveTo>
                <a:cubicBezTo>
                  <a:pt x="827" y="0"/>
                  <a:pt x="864" y="14"/>
                  <a:pt x="893" y="43"/>
                </a:cubicBezTo>
                <a:cubicBezTo>
                  <a:pt x="1524" y="673"/>
                  <a:pt x="1524" y="673"/>
                  <a:pt x="1524" y="673"/>
                </a:cubicBezTo>
                <a:cubicBezTo>
                  <a:pt x="1580" y="730"/>
                  <a:pt x="1580" y="822"/>
                  <a:pt x="1524" y="879"/>
                </a:cubicBezTo>
                <a:cubicBezTo>
                  <a:pt x="1305" y="1098"/>
                  <a:pt x="1305" y="1098"/>
                  <a:pt x="1305" y="1098"/>
                </a:cubicBezTo>
                <a:cubicBezTo>
                  <a:pt x="276" y="1097"/>
                  <a:pt x="276" y="1097"/>
                  <a:pt x="276" y="1097"/>
                </a:cubicBezTo>
                <a:cubicBezTo>
                  <a:pt x="57" y="878"/>
                  <a:pt x="57" y="878"/>
                  <a:pt x="57" y="878"/>
                </a:cubicBezTo>
                <a:cubicBezTo>
                  <a:pt x="0" y="821"/>
                  <a:pt x="0" y="729"/>
                  <a:pt x="57" y="673"/>
                </a:cubicBezTo>
                <a:cubicBezTo>
                  <a:pt x="687" y="43"/>
                  <a:pt x="687" y="43"/>
                  <a:pt x="687" y="43"/>
                </a:cubicBezTo>
                <a:cubicBezTo>
                  <a:pt x="716" y="14"/>
                  <a:pt x="753" y="0"/>
                  <a:pt x="790" y="0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rgbClr val="1D25AA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sz="1800"/>
          </a:p>
        </p:txBody>
      </p:sp>
      <p:sp>
        <p:nvSpPr>
          <p:cNvPr id="18" name="任意多边形: 形状 17"/>
          <p:cNvSpPr/>
          <p:nvPr userDrawn="1"/>
        </p:nvSpPr>
        <p:spPr>
          <a:xfrm>
            <a:off x="2" y="908471"/>
            <a:ext cx="6478607" cy="5949531"/>
          </a:xfrm>
          <a:custGeom>
            <a:avLst/>
            <a:gdLst>
              <a:gd name="connsiteX0" fmla="*/ 2834585 w 6478607"/>
              <a:gd name="connsiteY0" fmla="*/ 0 h 5949531"/>
              <a:gd name="connsiteX1" fmla="*/ 3317385 w 6478607"/>
              <a:gd name="connsiteY1" fmla="*/ 199498 h 5949531"/>
              <a:gd name="connsiteX2" fmla="*/ 6278892 w 6478607"/>
              <a:gd name="connsiteY2" fmla="*/ 3157794 h 5949531"/>
              <a:gd name="connsiteX3" fmla="*/ 6278892 w 6478607"/>
              <a:gd name="connsiteY3" fmla="*/ 4122348 h 5949531"/>
              <a:gd name="connsiteX4" fmla="*/ 4449726 w 6478607"/>
              <a:gd name="connsiteY4" fmla="*/ 5949531 h 5949531"/>
              <a:gd name="connsiteX5" fmla="*/ 1224421 w 6478607"/>
              <a:gd name="connsiteY5" fmla="*/ 5947045 h 5949531"/>
              <a:gd name="connsiteX6" fmla="*/ 0 w 6478607"/>
              <a:gd name="connsiteY6" fmla="*/ 4723951 h 5949531"/>
              <a:gd name="connsiteX7" fmla="*/ 0 w 6478607"/>
              <a:gd name="connsiteY7" fmla="*/ 2548733 h 5949531"/>
              <a:gd name="connsiteX8" fmla="*/ 2351785 w 6478607"/>
              <a:gd name="connsiteY8" fmla="*/ 199498 h 5949531"/>
              <a:gd name="connsiteX9" fmla="*/ 2834585 w 6478607"/>
              <a:gd name="connsiteY9" fmla="*/ 0 h 5949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478607" h="5949531">
                <a:moveTo>
                  <a:pt x="2834585" y="0"/>
                </a:moveTo>
                <a:cubicBezTo>
                  <a:pt x="3009414" y="0"/>
                  <a:pt x="3184242" y="66499"/>
                  <a:pt x="3317385" y="199498"/>
                </a:cubicBezTo>
                <a:cubicBezTo>
                  <a:pt x="6278892" y="3157794"/>
                  <a:pt x="6278892" y="3157794"/>
                  <a:pt x="6278892" y="3157794"/>
                </a:cubicBezTo>
                <a:cubicBezTo>
                  <a:pt x="6545179" y="3423793"/>
                  <a:pt x="6545179" y="3856350"/>
                  <a:pt x="6278892" y="4122348"/>
                </a:cubicBezTo>
                <a:lnTo>
                  <a:pt x="4449726" y="5949531"/>
                </a:lnTo>
                <a:cubicBezTo>
                  <a:pt x="1224421" y="5947045"/>
                  <a:pt x="1224421" y="5947045"/>
                  <a:pt x="1224421" y="5947045"/>
                </a:cubicBezTo>
                <a:cubicBezTo>
                  <a:pt x="0" y="4723951"/>
                  <a:pt x="0" y="4723951"/>
                  <a:pt x="0" y="4723951"/>
                </a:cubicBezTo>
                <a:cubicBezTo>
                  <a:pt x="0" y="2548733"/>
                  <a:pt x="0" y="2548733"/>
                  <a:pt x="0" y="2548733"/>
                </a:cubicBezTo>
                <a:cubicBezTo>
                  <a:pt x="2351785" y="199498"/>
                  <a:pt x="2351785" y="199498"/>
                  <a:pt x="2351785" y="199498"/>
                </a:cubicBezTo>
                <a:cubicBezTo>
                  <a:pt x="2484928" y="66499"/>
                  <a:pt x="2659757" y="0"/>
                  <a:pt x="2834585" y="0"/>
                </a:cubicBezTo>
                <a:close/>
              </a:path>
            </a:pathLst>
          </a:custGeom>
          <a:blipFill>
            <a:blip r:embed="rId3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tretch>
              <a:fillRect l="-18912" r="-1883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0" y="1907947"/>
            <a:ext cx="4787900" cy="2188712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90204" pitchFamily="34" charset="0"/>
              <a:buNone/>
              <a:defRPr lang="zh-CN" altLang="en-US" sz="44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r" defTabSz="913765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90204" pitchFamily="34" charset="0"/>
              <a:buNone/>
            </a:pPr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734696" y="4760283"/>
            <a:ext cx="2784203" cy="310871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r">
              <a:buNone/>
              <a:defRPr kumimoji="0" lang="en-US" altLang="zh-CN" sz="1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微软雅黑"/>
              </a:defRPr>
            </a:lvl1pPr>
          </a:lstStyle>
          <a:p>
            <a:pPr marL="228600" marR="0" lvl="0" indent="-228600" algn="r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8734696" y="4375111"/>
            <a:ext cx="2784203" cy="296271"/>
          </a:xfrm>
          <a:prstGeom prst="roundRect">
            <a:avLst/>
          </a:prstGeom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r">
              <a:buNone/>
              <a:defRPr kumimoji="0" lang="en-US" altLang="zh-CN" sz="1400" b="0" i="0" u="none" strike="noStrike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90204"/>
                <a:ea typeface="微软雅黑"/>
              </a:defRPr>
            </a:lvl1pPr>
          </a:lstStyle>
          <a:p>
            <a:pPr marL="228600" marR="0" lvl="0" indent="-228600" algn="r" fontAlgn="auto">
              <a:spcAft>
                <a:spcPts val="0"/>
              </a:spcAft>
              <a:buClrTx/>
              <a:buSzTx/>
            </a:pPr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2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5" y="6240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hemeOverride" Target="../theme/themeOverride1.xml"/><Relationship Id="rId4" Type="http://schemas.openxmlformats.org/officeDocument/2006/relationships/tags" Target="../tags/tag5.xml"/><Relationship Id="rId3" Type="http://schemas.openxmlformats.org/officeDocument/2006/relationships/image" Target="../media/image2.emf"/><Relationship Id="rId2" Type="http://schemas.openxmlformats.org/officeDocument/2006/relationships/oleObject" Target="../embeddings/oleObject1.bin"/><Relationship Id="rId1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4.jpeg"/><Relationship Id="rId1" Type="http://schemas.openxmlformats.org/officeDocument/2006/relationships/tags" Target="../tags/tag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hemeOverride" Target="../theme/themeOverride2.xml"/><Relationship Id="rId1" Type="http://schemas.openxmlformats.org/officeDocument/2006/relationships/tags" Target="../tags/tag6.xml"/></Relationships>
</file>

<file path=ppt/slides/_rels/slide2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tags" Target="../tags/tag18.xml"/><Relationship Id="rId2" Type="http://schemas.microsoft.com/office/2007/relationships/hdphoto" Target="../media/hdphoto2.wdp"/><Relationship Id="rId1" Type="http://schemas.openxmlformats.org/officeDocument/2006/relationships/image" Target="../media/image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/Relationships>
</file>

<file path=ppt/slides/_rels/slide2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4.xml"/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21.xml"/><Relationship Id="rId3" Type="http://schemas.openxmlformats.org/officeDocument/2006/relationships/image" Target="../media/image2.emf"/><Relationship Id="rId2" Type="http://schemas.openxmlformats.org/officeDocument/2006/relationships/oleObject" Target="../embeddings/oleObject2.bin"/><Relationship Id="rId1" Type="http://schemas.openxmlformats.org/officeDocument/2006/relationships/tags" Target="../tags/tag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4.xml"/><Relationship Id="rId2" Type="http://schemas.microsoft.com/office/2007/relationships/hdphoto" Target="../media/hdphoto1.wdp"/><Relationship Id="rId1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3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90204" pitchFamily="34" charset="0"/>
              <a:ea typeface="微软雅黑" panose="020B0503020204020204" pitchFamily="34" charset="-122"/>
              <a:cs typeface="+mj-cs"/>
              <a:sym typeface="Arial" panose="020B060402020209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0">
              <a:defRPr/>
            </a:pPr>
            <a:r>
              <a:rPr lang="zh-CN" altLang="en-US" dirty="0">
                <a:solidFill>
                  <a:schemeClr val="accent3"/>
                </a:solidFill>
              </a:rPr>
              <a:t>学生有工作，兼职有钱赚</a:t>
            </a:r>
            <a:endParaRPr lang="en-US" altLang="zh-CN" dirty="0">
              <a:solidFill>
                <a:schemeClr val="accent3"/>
              </a:solidFill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zh-CN" altLang="en-US" sz="2800" b="0" dirty="0">
                <a:solidFill>
                  <a:schemeClr val="tx2"/>
                </a:solidFill>
              </a:rPr>
              <a:t>喜文信息科技有限公司</a:t>
            </a:r>
            <a:br>
              <a:rPr lang="en-US" altLang="zh-CN" sz="3600" b="0" dirty="0">
                <a:solidFill>
                  <a:schemeClr val="tx2"/>
                </a:solidFill>
              </a:rPr>
            </a:br>
            <a:r>
              <a:rPr lang="zh-CN" altLang="en-US" dirty="0"/>
              <a:t>职帮帮</a:t>
            </a:r>
            <a:br>
              <a:rPr lang="en-US" altLang="zh-CN" dirty="0"/>
            </a:br>
            <a:r>
              <a:rPr lang="zh-CN" altLang="en-US" dirty="0"/>
              <a:t>商业计划书</a:t>
            </a:r>
            <a:endParaRPr lang="zh-CN" altLang="en-US" sz="360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zh-CN" altLang="en-US" dirty="0"/>
              <a:t>方楠  </a:t>
            </a:r>
            <a:r>
              <a:rPr lang="en-US" altLang="zh-CN" dirty="0"/>
              <a:t>16607557430</a:t>
            </a:r>
            <a:endParaRPr lang="en-US" altLang="en-US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产品形态</a:t>
            </a:r>
            <a:endParaRPr lang="zh-CN" altLang="en-US" dirty="0"/>
          </a:p>
        </p:txBody>
      </p:sp>
      <p:sp>
        <p:nvSpPr>
          <p:cNvPr id="33" name="i$1îďè"/>
          <p:cNvSpPr/>
          <p:nvPr/>
        </p:nvSpPr>
        <p:spPr bwMode="auto">
          <a:xfrm>
            <a:off x="4456088" y="2170026"/>
            <a:ext cx="3675837" cy="3411167"/>
          </a:xfrm>
          <a:prstGeom prst="roundRect">
            <a:avLst>
              <a:gd name="adj" fmla="val 8359"/>
            </a:avLst>
          </a:prstGeom>
          <a:solidFill>
            <a:schemeClr val="bg1">
              <a:alpha val="60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/>
            <a:r>
              <a:rPr lang="en-US" altLang="zh-CN">
                <a:solidFill>
                  <a:schemeClr val="tx1"/>
                </a:solidFill>
              </a:rPr>
              <a:t>…text</a:t>
            </a:r>
            <a:endParaRPr>
              <a:solidFill>
                <a:schemeClr val="tx1"/>
              </a:solidFill>
            </a:endParaRPr>
          </a:p>
        </p:txBody>
      </p:sp>
      <p:grpSp>
        <p:nvGrpSpPr>
          <p:cNvPr id="5" name="25593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692093" y="1878154"/>
            <a:ext cx="9307965" cy="3703040"/>
            <a:chOff x="1688918" y="1850743"/>
            <a:chExt cx="9307965" cy="3703040"/>
          </a:xfrm>
        </p:grpSpPr>
        <p:grpSp>
          <p:nvGrpSpPr>
            <p:cNvPr id="6" name="ïşḷïḍe"/>
            <p:cNvGrpSpPr/>
            <p:nvPr/>
          </p:nvGrpSpPr>
          <p:grpSpPr>
            <a:xfrm>
              <a:off x="2128152" y="1850743"/>
              <a:ext cx="1697807" cy="1518179"/>
              <a:chOff x="2319536" y="1455273"/>
              <a:chExt cx="1920149" cy="1518179"/>
            </a:xfrm>
          </p:grpSpPr>
          <p:sp>
            <p:nvSpPr>
              <p:cNvPr id="31" name="îślïdê"/>
              <p:cNvSpPr/>
              <p:nvPr/>
            </p:nvSpPr>
            <p:spPr bwMode="auto">
              <a:xfrm>
                <a:off x="2319536" y="2400016"/>
                <a:ext cx="1758260" cy="57343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zh-CN" altLang="en-US" sz="1200" b="1" dirty="0">
                    <a:solidFill>
                      <a:schemeClr val="accent1"/>
                    </a:solidFill>
                  </a:rPr>
                  <a:t>短期获得：找到工作</a:t>
                </a:r>
                <a:endParaRPr lang="zh-CN" altLang="en-US" sz="1200" b="1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2" name="iṧľiďê"/>
              <p:cNvSpPr txBox="1"/>
              <p:nvPr/>
            </p:nvSpPr>
            <p:spPr bwMode="auto">
              <a:xfrm>
                <a:off x="3173320" y="1455273"/>
                <a:ext cx="1066365" cy="46431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0000" tIns="45720" rIns="91440" bIns="45720" anchor="ctr" anchorCtr="0">
                <a:no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zh-CN" altLang="en-US" b="1" dirty="0">
                    <a:solidFill>
                      <a:schemeClr val="accent1"/>
                    </a:solidFill>
                  </a:rPr>
                  <a:t>应届生</a:t>
                </a:r>
                <a:endParaRPr lang="zh-CN" altLang="en-US" b="1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7" name="iś1ïdè"/>
            <p:cNvGrpSpPr/>
            <p:nvPr/>
          </p:nvGrpSpPr>
          <p:grpSpPr>
            <a:xfrm>
              <a:off x="3752552" y="1892640"/>
              <a:ext cx="4774504" cy="3661143"/>
              <a:chOff x="3950855" y="2044701"/>
              <a:chExt cx="4377897" cy="3357021"/>
            </a:xfrm>
          </p:grpSpPr>
          <p:sp>
            <p:nvSpPr>
              <p:cNvPr id="17" name="îšļiḓe"/>
              <p:cNvSpPr/>
              <p:nvPr/>
            </p:nvSpPr>
            <p:spPr bwMode="auto">
              <a:xfrm>
                <a:off x="4332712" y="2044701"/>
                <a:ext cx="3617488" cy="3357021"/>
              </a:xfrm>
              <a:prstGeom prst="roundRect">
                <a:avLst>
                  <a:gd name="adj" fmla="val 8359"/>
                </a:avLst>
              </a:prstGeom>
              <a:solidFill>
                <a:srgbClr val="D0D7DF"/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/>
                <a:endParaRPr>
                  <a:solidFill>
                    <a:schemeClr val="lt1"/>
                  </a:solidFill>
                </a:endParaRPr>
              </a:p>
            </p:txBody>
          </p:sp>
          <p:sp>
            <p:nvSpPr>
              <p:cNvPr id="18" name="i$1îďè"/>
              <p:cNvSpPr/>
              <p:nvPr/>
            </p:nvSpPr>
            <p:spPr bwMode="auto">
              <a:xfrm>
                <a:off x="4456209" y="2159304"/>
                <a:ext cx="3370494" cy="3127810"/>
              </a:xfrm>
              <a:prstGeom prst="roundRect">
                <a:avLst>
                  <a:gd name="adj" fmla="val 8359"/>
                </a:avLst>
              </a:prstGeom>
              <a:blipFill dpi="0" rotWithShape="1">
                <a:blip r:embed="rId2"/>
                <a:srcRect/>
                <a:stretch>
                  <a:fillRect l="-20102" r="-19973"/>
                </a:stretch>
              </a:blipFill>
              <a:ln w="635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/>
                <a:endParaRPr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í$ḻïḍe"/>
              <p:cNvSpPr/>
              <p:nvPr/>
            </p:nvSpPr>
            <p:spPr bwMode="gray">
              <a:xfrm>
                <a:off x="3950855" y="2665090"/>
                <a:ext cx="758602" cy="758600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  <a:effectLst/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</a:p>
            </p:txBody>
          </p:sp>
          <p:sp>
            <p:nvSpPr>
              <p:cNvPr id="27" name="íšliḓé"/>
              <p:cNvSpPr/>
              <p:nvPr/>
            </p:nvSpPr>
            <p:spPr bwMode="gray">
              <a:xfrm>
                <a:off x="3950855" y="4002243"/>
                <a:ext cx="758602" cy="758600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  <a:effectLst/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</a:p>
            </p:txBody>
          </p:sp>
          <p:sp>
            <p:nvSpPr>
              <p:cNvPr id="25" name="ïşḻîḋè"/>
              <p:cNvSpPr/>
              <p:nvPr/>
            </p:nvSpPr>
            <p:spPr bwMode="gray">
              <a:xfrm>
                <a:off x="7570150" y="2685579"/>
                <a:ext cx="758602" cy="758600"/>
              </a:xfrm>
              <a:prstGeom prst="ellipse">
                <a:avLst/>
              </a:prstGeom>
              <a:solidFill>
                <a:schemeClr val="accent2"/>
              </a:solidFill>
              <a:ln w="38100">
                <a:solidFill>
                  <a:schemeClr val="bg1"/>
                </a:solidFill>
              </a:ln>
              <a:effectLst/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</a:p>
            </p:txBody>
          </p:sp>
          <p:sp>
            <p:nvSpPr>
              <p:cNvPr id="23" name="ïslíḍe"/>
              <p:cNvSpPr/>
              <p:nvPr/>
            </p:nvSpPr>
            <p:spPr bwMode="gray">
              <a:xfrm>
                <a:off x="7570150" y="4022734"/>
                <a:ext cx="758602" cy="758600"/>
              </a:xfrm>
              <a:prstGeom prst="ellipse">
                <a:avLst/>
              </a:prstGeom>
              <a:solidFill>
                <a:schemeClr val="accent2"/>
              </a:solidFill>
              <a:ln w="38100">
                <a:solidFill>
                  <a:schemeClr val="bg1"/>
                </a:solidFill>
              </a:ln>
              <a:effectLst/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</a:p>
            </p:txBody>
          </p:sp>
        </p:grpSp>
        <p:sp>
          <p:nvSpPr>
            <p:cNvPr id="15" name="ïṧľîdè"/>
            <p:cNvSpPr/>
            <p:nvPr/>
          </p:nvSpPr>
          <p:spPr bwMode="auto">
            <a:xfrm>
              <a:off x="1688918" y="4363722"/>
              <a:ext cx="2015790" cy="57343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1200" b="1" dirty="0">
                  <a:solidFill>
                    <a:schemeClr val="accent1"/>
                  </a:solidFill>
                </a:rPr>
                <a:t>长期获得：受益十年的师傅</a:t>
              </a:r>
              <a:endParaRPr lang="zh-CN" altLang="en-US" sz="1200" b="1" dirty="0">
                <a:solidFill>
                  <a:schemeClr val="accent1"/>
                </a:solidFill>
              </a:endParaRPr>
            </a:p>
          </p:txBody>
        </p:sp>
        <p:sp>
          <p:nvSpPr>
            <p:cNvPr id="13" name="ísḷidê"/>
            <p:cNvSpPr/>
            <p:nvPr/>
          </p:nvSpPr>
          <p:spPr bwMode="auto">
            <a:xfrm>
              <a:off x="8578505" y="2868928"/>
              <a:ext cx="2418378" cy="57343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1200" b="1" dirty="0">
                  <a:solidFill>
                    <a:schemeClr val="accent2"/>
                  </a:solidFill>
                </a:rPr>
                <a:t>短期获得：获得职业认同感</a:t>
              </a:r>
              <a:endParaRPr lang="zh-CN" altLang="en-US" sz="1200" b="1" dirty="0">
                <a:solidFill>
                  <a:schemeClr val="accent2"/>
                </a:solidFill>
              </a:endParaRPr>
            </a:p>
          </p:txBody>
        </p:sp>
        <p:sp>
          <p:nvSpPr>
            <p:cNvPr id="11" name="iṡ1îḍé"/>
            <p:cNvSpPr/>
            <p:nvPr/>
          </p:nvSpPr>
          <p:spPr bwMode="auto">
            <a:xfrm>
              <a:off x="8607424" y="4324257"/>
              <a:ext cx="1603249" cy="3524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1200" b="1" dirty="0">
                  <a:solidFill>
                    <a:schemeClr val="accent2"/>
                  </a:solidFill>
                </a:rPr>
                <a:t>长期获得：经济回报</a:t>
              </a:r>
              <a:endParaRPr lang="zh-CN" altLang="en-US" sz="1200" b="1" dirty="0">
                <a:solidFill>
                  <a:schemeClr val="accent2"/>
                </a:solidFill>
              </a:endParaRPr>
            </a:p>
          </p:txBody>
        </p:sp>
      </p:grpSp>
      <p:sp>
        <p:nvSpPr>
          <p:cNvPr id="34" name="矩形 33"/>
          <p:cNvSpPr/>
          <p:nvPr/>
        </p:nvSpPr>
        <p:spPr>
          <a:xfrm>
            <a:off x="5491805" y="3227738"/>
            <a:ext cx="141577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3200" dirty="0">
                <a:ln w="0"/>
                <a:solidFill>
                  <a:srgbClr val="E25415"/>
                </a:solidFill>
                <a:effectLst>
                  <a:reflection blurRad="6350" stA="53000" endA="300" endPos="35500" dir="5400000" sy="-90000" algn="bl" rotWithShape="0"/>
                </a:effectLst>
                <a:latin typeface="华文琥珀" panose="02010800040101010101" pitchFamily="2" charset="-122"/>
                <a:ea typeface="华文琥珀" panose="02010800040101010101" pitchFamily="2" charset="-122"/>
                <a:cs typeface="+mn-ea"/>
                <a:sym typeface="+mn-lt"/>
              </a:rPr>
              <a:t>职帮帮</a:t>
            </a:r>
            <a:endParaRPr lang="zh-CN" altLang="en-US" sz="3200" dirty="0">
              <a:ln w="0"/>
              <a:solidFill>
                <a:srgbClr val="E25415"/>
              </a:solidFill>
              <a:effectLst>
                <a:reflection blurRad="6350" stA="53000" endA="300" endPos="35500" dir="5400000" sy="-90000" algn="bl" rotWithShape="0"/>
              </a:effectLst>
              <a:latin typeface="华文琥珀" panose="02010800040101010101" pitchFamily="2" charset="-122"/>
              <a:ea typeface="华文琥珀" panose="02010800040101010101" pitchFamily="2" charset="-122"/>
            </a:endParaRPr>
          </a:p>
        </p:txBody>
      </p:sp>
      <p:sp>
        <p:nvSpPr>
          <p:cNvPr id="35" name="文本框 34"/>
          <p:cNvSpPr txBox="1"/>
          <p:nvPr/>
        </p:nvSpPr>
        <p:spPr>
          <a:xfrm>
            <a:off x="5458435" y="3752283"/>
            <a:ext cx="1506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dirty="0">
                <a:ln w="0"/>
                <a:solidFill>
                  <a:srgbClr val="E25415"/>
                </a:solidFill>
                <a:effectLst>
                  <a:reflection blurRad="6350" stA="53000" endA="300" endPos="35500" dir="5400000" sy="-90000" algn="bl" rotWithShape="0"/>
                </a:effectLst>
                <a:latin typeface="华文琥珀" panose="02010800040101010101" pitchFamily="2" charset="-122"/>
                <a:ea typeface="华文琥珀" panose="02010800040101010101" pitchFamily="2" charset="-122"/>
                <a:cs typeface="+mn-ea"/>
              </a:rPr>
              <a:t>【师徒链接】</a:t>
            </a:r>
            <a:endParaRPr lang="zh-CN" altLang="en-US" sz="2000" dirty="0">
              <a:ln w="0"/>
              <a:solidFill>
                <a:srgbClr val="E25415"/>
              </a:solidFill>
              <a:effectLst>
                <a:reflection blurRad="6350" stA="53000" endA="300" endPos="35500" dir="5400000" sy="-90000" algn="bl" rotWithShape="0"/>
              </a:effectLst>
              <a:latin typeface="华文琥珀" panose="02010800040101010101" pitchFamily="2" charset="-122"/>
              <a:ea typeface="华文琥珀" panose="02010800040101010101" pitchFamily="2" charset="-122"/>
              <a:cs typeface="+mn-ea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1878290" y="2263115"/>
            <a:ext cx="187743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Bef>
                <a:spcPct val="0"/>
              </a:spcBef>
            </a:pPr>
            <a:r>
              <a:rPr lang="zh-CN" altLang="en-US" sz="1200" dirty="0">
                <a:solidFill>
                  <a:schemeClr val="bg2">
                    <a:lumMod val="50000"/>
                    <a:alpha val="60000"/>
                  </a:schemeClr>
                </a:solidFill>
              </a:rPr>
              <a:t>年轻、冲劲、努力、知识</a:t>
            </a:r>
            <a:endParaRPr lang="zh-CN" altLang="en-US" sz="1200" dirty="0">
              <a:solidFill>
                <a:schemeClr val="bg2">
                  <a:lumMod val="50000"/>
                  <a:alpha val="60000"/>
                </a:schemeClr>
              </a:solidFill>
            </a:endParaRPr>
          </a:p>
        </p:txBody>
      </p:sp>
      <p:sp>
        <p:nvSpPr>
          <p:cNvPr id="39" name="iṧľiďê"/>
          <p:cNvSpPr txBox="1"/>
          <p:nvPr/>
        </p:nvSpPr>
        <p:spPr bwMode="auto">
          <a:xfrm>
            <a:off x="8559265" y="2144499"/>
            <a:ext cx="2892860" cy="476522"/>
          </a:xfrm>
          <a:prstGeom prst="rect">
            <a:avLst/>
          </a:prstGeom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1200" dirty="0">
                <a:solidFill>
                  <a:schemeClr val="tx2">
                    <a:lumMod val="75000"/>
                    <a:alpha val="60000"/>
                  </a:schemeClr>
                </a:solidFill>
              </a:rPr>
              <a:t>工作经验中的大量价值信息</a:t>
            </a:r>
            <a:endParaRPr lang="zh-CN" altLang="en-US" sz="1200" dirty="0">
              <a:solidFill>
                <a:schemeClr val="tx2">
                  <a:lumMod val="75000"/>
                  <a:alpha val="60000"/>
                </a:schemeClr>
              </a:solidFill>
            </a:endParaRPr>
          </a:p>
        </p:txBody>
      </p:sp>
      <p:sp>
        <p:nvSpPr>
          <p:cNvPr id="40" name="iṧľiďê"/>
          <p:cNvSpPr txBox="1"/>
          <p:nvPr/>
        </p:nvSpPr>
        <p:spPr bwMode="auto">
          <a:xfrm>
            <a:off x="8581680" y="1837458"/>
            <a:ext cx="1867576" cy="46431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b="1" dirty="0">
                <a:solidFill>
                  <a:srgbClr val="1D25AA"/>
                </a:solidFill>
              </a:rPr>
              <a:t>职场熟练工</a:t>
            </a:r>
            <a:endParaRPr lang="zh-CN" altLang="en-US" b="1" dirty="0">
              <a:solidFill>
                <a:srgbClr val="1D25AA"/>
              </a:solidFill>
            </a:endParaRPr>
          </a:p>
        </p:txBody>
      </p:sp>
      <p:cxnSp>
        <p:nvCxnSpPr>
          <p:cNvPr id="44" name="直接连接符 54"/>
          <p:cNvCxnSpPr/>
          <p:nvPr/>
        </p:nvCxnSpPr>
        <p:spPr>
          <a:xfrm>
            <a:off x="1324017" y="2577092"/>
            <a:ext cx="2353604" cy="0"/>
          </a:xfrm>
          <a:prstGeom prst="line">
            <a:avLst/>
          </a:prstGeom>
          <a:ln w="25400">
            <a:solidFill>
              <a:srgbClr val="0301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接连接符 54"/>
          <p:cNvCxnSpPr/>
          <p:nvPr/>
        </p:nvCxnSpPr>
        <p:spPr>
          <a:xfrm>
            <a:off x="8646454" y="2577092"/>
            <a:ext cx="2353604" cy="0"/>
          </a:xfrm>
          <a:prstGeom prst="line">
            <a:avLst/>
          </a:prstGeom>
          <a:ln w="25400">
            <a:solidFill>
              <a:srgbClr val="0301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文本框 50"/>
          <p:cNvSpPr txBox="1"/>
          <p:nvPr/>
        </p:nvSpPr>
        <p:spPr>
          <a:xfrm>
            <a:off x="12367967" y="3420884"/>
            <a:ext cx="348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/>
              <a:t>  </a:t>
            </a:r>
            <a:endParaRPr kumimoji="1" lang="zh-CN" altLang="en-US" dirty="0"/>
          </a:p>
        </p:txBody>
      </p:sp>
      <p:sp>
        <p:nvSpPr>
          <p:cNvPr id="36" name="íşļíḍê"/>
          <p:cNvSpPr/>
          <p:nvPr/>
        </p:nvSpPr>
        <p:spPr>
          <a:xfrm>
            <a:off x="3912333" y="2792215"/>
            <a:ext cx="466725" cy="406531"/>
          </a:xfrm>
          <a:custGeom>
            <a:avLst/>
            <a:gdLst>
              <a:gd name="T0" fmla="*/ 8369 w 8369"/>
              <a:gd name="T1" fmla="*/ 4183 h 7300"/>
              <a:gd name="T2" fmla="*/ 8369 w 8369"/>
              <a:gd name="T3" fmla="*/ 6938 h 7300"/>
              <a:gd name="T4" fmla="*/ 8170 w 8369"/>
              <a:gd name="T5" fmla="*/ 7137 h 7300"/>
              <a:gd name="T6" fmla="*/ 7307 w 8369"/>
              <a:gd name="T7" fmla="*/ 7137 h 7300"/>
              <a:gd name="T8" fmla="*/ 7108 w 8369"/>
              <a:gd name="T9" fmla="*/ 6938 h 7300"/>
              <a:gd name="T10" fmla="*/ 7108 w 8369"/>
              <a:gd name="T11" fmla="*/ 6585 h 7300"/>
              <a:gd name="T12" fmla="*/ 7028 w 8369"/>
              <a:gd name="T13" fmla="*/ 6663 h 7300"/>
              <a:gd name="T14" fmla="*/ 4335 w 8369"/>
              <a:gd name="T15" fmla="*/ 7300 h 7300"/>
              <a:gd name="T16" fmla="*/ 1752 w 8369"/>
              <a:gd name="T17" fmla="*/ 6492 h 7300"/>
              <a:gd name="T18" fmla="*/ 311 w 8369"/>
              <a:gd name="T19" fmla="*/ 4926 h 7300"/>
              <a:gd name="T20" fmla="*/ 801 w 8369"/>
              <a:gd name="T21" fmla="*/ 4452 h 7300"/>
              <a:gd name="T22" fmla="*/ 2171 w 8369"/>
              <a:gd name="T23" fmla="*/ 5727 h 7300"/>
              <a:gd name="T24" fmla="*/ 3043 w 8369"/>
              <a:gd name="T25" fmla="*/ 6308 h 7300"/>
              <a:gd name="T26" fmla="*/ 5351 w 8369"/>
              <a:gd name="T27" fmla="*/ 6308 h 7300"/>
              <a:gd name="T28" fmla="*/ 5018 w 8369"/>
              <a:gd name="T29" fmla="*/ 6093 h 7300"/>
              <a:gd name="T30" fmla="*/ 3058 w 8369"/>
              <a:gd name="T31" fmla="*/ 6093 h 7300"/>
              <a:gd name="T32" fmla="*/ 2375 w 8369"/>
              <a:gd name="T33" fmla="*/ 5428 h 7300"/>
              <a:gd name="T34" fmla="*/ 3058 w 8369"/>
              <a:gd name="T35" fmla="*/ 4763 h 7300"/>
              <a:gd name="T36" fmla="*/ 4754 w 8369"/>
              <a:gd name="T37" fmla="*/ 4763 h 7300"/>
              <a:gd name="T38" fmla="*/ 6027 w 8369"/>
              <a:gd name="T39" fmla="*/ 4304 h 7300"/>
              <a:gd name="T40" fmla="*/ 7044 w 8369"/>
              <a:gd name="T41" fmla="*/ 4552 h 7300"/>
              <a:gd name="T42" fmla="*/ 7108 w 8369"/>
              <a:gd name="T43" fmla="*/ 4626 h 7300"/>
              <a:gd name="T44" fmla="*/ 7108 w 8369"/>
              <a:gd name="T45" fmla="*/ 4183 h 7300"/>
              <a:gd name="T46" fmla="*/ 7307 w 8369"/>
              <a:gd name="T47" fmla="*/ 3985 h 7300"/>
              <a:gd name="T48" fmla="*/ 8170 w 8369"/>
              <a:gd name="T49" fmla="*/ 3985 h 7300"/>
              <a:gd name="T50" fmla="*/ 8369 w 8369"/>
              <a:gd name="T51" fmla="*/ 4183 h 7300"/>
              <a:gd name="T52" fmla="*/ 2261 w 8369"/>
              <a:gd name="T53" fmla="*/ 5034 h 7300"/>
              <a:gd name="T54" fmla="*/ 1082 w 8369"/>
              <a:gd name="T55" fmla="*/ 4066 h 7300"/>
              <a:gd name="T56" fmla="*/ 807 w 8369"/>
              <a:gd name="T57" fmla="*/ 4170 h 7300"/>
              <a:gd name="T58" fmla="*/ 2085 w 8369"/>
              <a:gd name="T59" fmla="*/ 5281 h 7300"/>
              <a:gd name="T60" fmla="*/ 2261 w 8369"/>
              <a:gd name="T61" fmla="*/ 5034 h 7300"/>
              <a:gd name="T62" fmla="*/ 2125 w 8369"/>
              <a:gd name="T63" fmla="*/ 3225 h 7300"/>
              <a:gd name="T64" fmla="*/ 2125 w 8369"/>
              <a:gd name="T65" fmla="*/ 744 h 7300"/>
              <a:gd name="T66" fmla="*/ 2869 w 8369"/>
              <a:gd name="T67" fmla="*/ 0 h 7300"/>
              <a:gd name="T68" fmla="*/ 4006 w 8369"/>
              <a:gd name="T69" fmla="*/ 0 h 7300"/>
              <a:gd name="T70" fmla="*/ 4006 w 8369"/>
              <a:gd name="T71" fmla="*/ 560 h 7300"/>
              <a:gd name="T72" fmla="*/ 4533 w 8369"/>
              <a:gd name="T73" fmla="*/ 560 h 7300"/>
              <a:gd name="T74" fmla="*/ 4533 w 8369"/>
              <a:gd name="T75" fmla="*/ 0 h 7300"/>
              <a:gd name="T76" fmla="*/ 5663 w 8369"/>
              <a:gd name="T77" fmla="*/ 0 h 7300"/>
              <a:gd name="T78" fmla="*/ 6407 w 8369"/>
              <a:gd name="T79" fmla="*/ 744 h 7300"/>
              <a:gd name="T80" fmla="*/ 6407 w 8369"/>
              <a:gd name="T81" fmla="*/ 3225 h 7300"/>
              <a:gd name="T82" fmla="*/ 5663 w 8369"/>
              <a:gd name="T83" fmla="*/ 3969 h 7300"/>
              <a:gd name="T84" fmla="*/ 4523 w 8369"/>
              <a:gd name="T85" fmla="*/ 3969 h 7300"/>
              <a:gd name="T86" fmla="*/ 4523 w 8369"/>
              <a:gd name="T87" fmla="*/ 3526 h 7300"/>
              <a:gd name="T88" fmla="*/ 4027 w 8369"/>
              <a:gd name="T89" fmla="*/ 3526 h 7300"/>
              <a:gd name="T90" fmla="*/ 4027 w 8369"/>
              <a:gd name="T91" fmla="*/ 3969 h 7300"/>
              <a:gd name="T92" fmla="*/ 2869 w 8369"/>
              <a:gd name="T93" fmla="*/ 3969 h 7300"/>
              <a:gd name="T94" fmla="*/ 2125 w 8369"/>
              <a:gd name="T95" fmla="*/ 3225 h 7300"/>
              <a:gd name="T96" fmla="*/ 3563 w 8369"/>
              <a:gd name="T97" fmla="*/ 1910 h 7300"/>
              <a:gd name="T98" fmla="*/ 4089 w 8369"/>
              <a:gd name="T99" fmla="*/ 1910 h 7300"/>
              <a:gd name="T100" fmla="*/ 4089 w 8369"/>
              <a:gd name="T101" fmla="*/ 3039 h 7300"/>
              <a:gd name="T102" fmla="*/ 4494 w 8369"/>
              <a:gd name="T103" fmla="*/ 3039 h 7300"/>
              <a:gd name="T104" fmla="*/ 4494 w 8369"/>
              <a:gd name="T105" fmla="*/ 1910 h 7300"/>
              <a:gd name="T106" fmla="*/ 5020 w 8369"/>
              <a:gd name="T107" fmla="*/ 1910 h 7300"/>
              <a:gd name="T108" fmla="*/ 4292 w 8369"/>
              <a:gd name="T109" fmla="*/ 1041 h 7300"/>
              <a:gd name="T110" fmla="*/ 3563 w 8369"/>
              <a:gd name="T111" fmla="*/ 1910 h 7300"/>
              <a:gd name="T112" fmla="*/ 2489 w 8369"/>
              <a:gd name="T113" fmla="*/ 4558 h 7300"/>
              <a:gd name="T114" fmla="*/ 1557 w 8369"/>
              <a:gd name="T115" fmla="*/ 3838 h 7300"/>
              <a:gd name="T116" fmla="*/ 1283 w 8369"/>
              <a:gd name="T117" fmla="*/ 3943 h 7300"/>
              <a:gd name="T118" fmla="*/ 2312 w 8369"/>
              <a:gd name="T119" fmla="*/ 4805 h 7300"/>
              <a:gd name="T120" fmla="*/ 2489 w 8369"/>
              <a:gd name="T121" fmla="*/ 4558 h 7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369" h="7300">
                <a:moveTo>
                  <a:pt x="8369" y="4183"/>
                </a:moveTo>
                <a:lnTo>
                  <a:pt x="8369" y="6938"/>
                </a:lnTo>
                <a:cubicBezTo>
                  <a:pt x="8369" y="7048"/>
                  <a:pt x="8280" y="7137"/>
                  <a:pt x="8170" y="7137"/>
                </a:cubicBezTo>
                <a:lnTo>
                  <a:pt x="7307" y="7137"/>
                </a:lnTo>
                <a:cubicBezTo>
                  <a:pt x="7197" y="7137"/>
                  <a:pt x="7108" y="7048"/>
                  <a:pt x="7108" y="6938"/>
                </a:cubicBezTo>
                <a:lnTo>
                  <a:pt x="7108" y="6585"/>
                </a:lnTo>
                <a:cubicBezTo>
                  <a:pt x="7095" y="6623"/>
                  <a:pt x="7068" y="6656"/>
                  <a:pt x="7028" y="6663"/>
                </a:cubicBezTo>
                <a:cubicBezTo>
                  <a:pt x="6164" y="6804"/>
                  <a:pt x="5247" y="7300"/>
                  <a:pt x="4335" y="7300"/>
                </a:cubicBezTo>
                <a:cubicBezTo>
                  <a:pt x="3480" y="7300"/>
                  <a:pt x="2372" y="7126"/>
                  <a:pt x="1752" y="6492"/>
                </a:cubicBezTo>
                <a:cubicBezTo>
                  <a:pt x="1060" y="5785"/>
                  <a:pt x="465" y="5144"/>
                  <a:pt x="311" y="4926"/>
                </a:cubicBezTo>
                <a:cubicBezTo>
                  <a:pt x="0" y="4482"/>
                  <a:pt x="466" y="4101"/>
                  <a:pt x="801" y="4452"/>
                </a:cubicBezTo>
                <a:cubicBezTo>
                  <a:pt x="1085" y="4750"/>
                  <a:pt x="1701" y="5406"/>
                  <a:pt x="2171" y="5727"/>
                </a:cubicBezTo>
                <a:cubicBezTo>
                  <a:pt x="2240" y="6024"/>
                  <a:pt x="2638" y="6308"/>
                  <a:pt x="3043" y="6308"/>
                </a:cubicBezTo>
                <a:lnTo>
                  <a:pt x="5351" y="6308"/>
                </a:lnTo>
                <a:cubicBezTo>
                  <a:pt x="5351" y="6308"/>
                  <a:pt x="5200" y="6110"/>
                  <a:pt x="5018" y="6093"/>
                </a:cubicBezTo>
                <a:lnTo>
                  <a:pt x="3058" y="6093"/>
                </a:lnTo>
                <a:cubicBezTo>
                  <a:pt x="2806" y="6093"/>
                  <a:pt x="2375" y="5887"/>
                  <a:pt x="2375" y="5428"/>
                </a:cubicBezTo>
                <a:cubicBezTo>
                  <a:pt x="2375" y="4878"/>
                  <a:pt x="2840" y="4763"/>
                  <a:pt x="3058" y="4763"/>
                </a:cubicBezTo>
                <a:lnTo>
                  <a:pt x="4754" y="4763"/>
                </a:lnTo>
                <a:cubicBezTo>
                  <a:pt x="4754" y="4763"/>
                  <a:pt x="5408" y="4304"/>
                  <a:pt x="6027" y="4304"/>
                </a:cubicBezTo>
                <a:cubicBezTo>
                  <a:pt x="6502" y="4304"/>
                  <a:pt x="6890" y="4473"/>
                  <a:pt x="7044" y="4552"/>
                </a:cubicBezTo>
                <a:cubicBezTo>
                  <a:pt x="7075" y="4568"/>
                  <a:pt x="7097" y="4595"/>
                  <a:pt x="7108" y="4626"/>
                </a:cubicBezTo>
                <a:lnTo>
                  <a:pt x="7108" y="4183"/>
                </a:lnTo>
                <a:cubicBezTo>
                  <a:pt x="7108" y="4074"/>
                  <a:pt x="7197" y="3985"/>
                  <a:pt x="7307" y="3985"/>
                </a:cubicBezTo>
                <a:lnTo>
                  <a:pt x="8170" y="3985"/>
                </a:lnTo>
                <a:cubicBezTo>
                  <a:pt x="8280" y="3985"/>
                  <a:pt x="8369" y="4073"/>
                  <a:pt x="8369" y="4183"/>
                </a:cubicBezTo>
                <a:close/>
                <a:moveTo>
                  <a:pt x="2261" y="5034"/>
                </a:moveTo>
                <a:cubicBezTo>
                  <a:pt x="2153" y="4852"/>
                  <a:pt x="1355" y="4175"/>
                  <a:pt x="1082" y="4066"/>
                </a:cubicBezTo>
                <a:cubicBezTo>
                  <a:pt x="858" y="3976"/>
                  <a:pt x="807" y="4170"/>
                  <a:pt x="807" y="4170"/>
                </a:cubicBezTo>
                <a:cubicBezTo>
                  <a:pt x="807" y="4170"/>
                  <a:pt x="1989" y="5197"/>
                  <a:pt x="2085" y="5281"/>
                </a:cubicBezTo>
                <a:cubicBezTo>
                  <a:pt x="2200" y="5252"/>
                  <a:pt x="2311" y="5118"/>
                  <a:pt x="2261" y="5034"/>
                </a:cubicBezTo>
                <a:close/>
                <a:moveTo>
                  <a:pt x="2125" y="3225"/>
                </a:moveTo>
                <a:lnTo>
                  <a:pt x="2125" y="744"/>
                </a:lnTo>
                <a:cubicBezTo>
                  <a:pt x="2125" y="333"/>
                  <a:pt x="2458" y="0"/>
                  <a:pt x="2869" y="0"/>
                </a:cubicBezTo>
                <a:lnTo>
                  <a:pt x="4006" y="0"/>
                </a:lnTo>
                <a:lnTo>
                  <a:pt x="4006" y="560"/>
                </a:lnTo>
                <a:lnTo>
                  <a:pt x="4533" y="560"/>
                </a:lnTo>
                <a:lnTo>
                  <a:pt x="4533" y="0"/>
                </a:lnTo>
                <a:lnTo>
                  <a:pt x="5663" y="0"/>
                </a:lnTo>
                <a:cubicBezTo>
                  <a:pt x="6074" y="0"/>
                  <a:pt x="6407" y="333"/>
                  <a:pt x="6407" y="744"/>
                </a:cubicBezTo>
                <a:lnTo>
                  <a:pt x="6407" y="3225"/>
                </a:lnTo>
                <a:cubicBezTo>
                  <a:pt x="6407" y="3636"/>
                  <a:pt x="6074" y="3969"/>
                  <a:pt x="5663" y="3969"/>
                </a:cubicBezTo>
                <a:lnTo>
                  <a:pt x="4523" y="3969"/>
                </a:lnTo>
                <a:lnTo>
                  <a:pt x="4523" y="3526"/>
                </a:lnTo>
                <a:lnTo>
                  <a:pt x="4027" y="3526"/>
                </a:lnTo>
                <a:lnTo>
                  <a:pt x="4027" y="3969"/>
                </a:lnTo>
                <a:lnTo>
                  <a:pt x="2869" y="3969"/>
                </a:lnTo>
                <a:cubicBezTo>
                  <a:pt x="2458" y="3969"/>
                  <a:pt x="2125" y="3636"/>
                  <a:pt x="2125" y="3225"/>
                </a:cubicBezTo>
                <a:close/>
                <a:moveTo>
                  <a:pt x="3563" y="1910"/>
                </a:moveTo>
                <a:lnTo>
                  <a:pt x="4089" y="1910"/>
                </a:lnTo>
                <a:lnTo>
                  <a:pt x="4089" y="3039"/>
                </a:lnTo>
                <a:lnTo>
                  <a:pt x="4494" y="3039"/>
                </a:lnTo>
                <a:lnTo>
                  <a:pt x="4494" y="1910"/>
                </a:lnTo>
                <a:lnTo>
                  <a:pt x="5020" y="1910"/>
                </a:lnTo>
                <a:lnTo>
                  <a:pt x="4292" y="1041"/>
                </a:lnTo>
                <a:lnTo>
                  <a:pt x="3563" y="1910"/>
                </a:lnTo>
                <a:close/>
                <a:moveTo>
                  <a:pt x="2489" y="4558"/>
                </a:moveTo>
                <a:cubicBezTo>
                  <a:pt x="2381" y="4377"/>
                  <a:pt x="1830" y="3948"/>
                  <a:pt x="1557" y="3838"/>
                </a:cubicBezTo>
                <a:cubicBezTo>
                  <a:pt x="1334" y="3749"/>
                  <a:pt x="1283" y="3943"/>
                  <a:pt x="1283" y="3943"/>
                </a:cubicBezTo>
                <a:cubicBezTo>
                  <a:pt x="1283" y="3943"/>
                  <a:pt x="2216" y="4721"/>
                  <a:pt x="2312" y="4805"/>
                </a:cubicBezTo>
                <a:cubicBezTo>
                  <a:pt x="2428" y="4777"/>
                  <a:pt x="2538" y="4642"/>
                  <a:pt x="2489" y="455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lnSpcReduction="10000"/>
          </a:bodyPr>
          <a:lstStyle/>
          <a:p>
            <a:pPr algn="ctr">
              <a:lnSpc>
                <a:spcPct val="120000"/>
              </a:lnSpc>
            </a:pPr>
            <a:endParaRPr lang="zh-CN" altLang="en-US">
              <a:cs typeface="+mn-ea"/>
              <a:sym typeface="+mn-lt"/>
            </a:endParaRPr>
          </a:p>
        </p:txBody>
      </p:sp>
      <p:sp>
        <p:nvSpPr>
          <p:cNvPr id="37" name="ïŝḻîḋé"/>
          <p:cNvSpPr/>
          <p:nvPr/>
        </p:nvSpPr>
        <p:spPr bwMode="auto">
          <a:xfrm>
            <a:off x="4031154" y="4268581"/>
            <a:ext cx="297949" cy="343818"/>
          </a:xfrm>
          <a:custGeom>
            <a:avLst/>
            <a:gdLst>
              <a:gd name="connsiteX0" fmla="*/ 137544 w 523394"/>
              <a:gd name="connsiteY0" fmla="*/ 565935 h 603970"/>
              <a:gd name="connsiteX1" fmla="*/ 308941 w 523394"/>
              <a:gd name="connsiteY1" fmla="*/ 565935 h 603970"/>
              <a:gd name="connsiteX2" fmla="*/ 328199 w 523394"/>
              <a:gd name="connsiteY2" fmla="*/ 584953 h 603970"/>
              <a:gd name="connsiteX3" fmla="*/ 308941 w 523394"/>
              <a:gd name="connsiteY3" fmla="*/ 603970 h 603970"/>
              <a:gd name="connsiteX4" fmla="*/ 137544 w 523394"/>
              <a:gd name="connsiteY4" fmla="*/ 603970 h 603970"/>
              <a:gd name="connsiteX5" fmla="*/ 118479 w 523394"/>
              <a:gd name="connsiteY5" fmla="*/ 584953 h 603970"/>
              <a:gd name="connsiteX6" fmla="*/ 137544 w 523394"/>
              <a:gd name="connsiteY6" fmla="*/ 565935 h 603970"/>
              <a:gd name="connsiteX7" fmla="*/ 117088 w 523394"/>
              <a:gd name="connsiteY7" fmla="*/ 507789 h 603970"/>
              <a:gd name="connsiteX8" fmla="*/ 329397 w 523394"/>
              <a:gd name="connsiteY8" fmla="*/ 507789 h 603970"/>
              <a:gd name="connsiteX9" fmla="*/ 348663 w 523394"/>
              <a:gd name="connsiteY9" fmla="*/ 526851 h 603970"/>
              <a:gd name="connsiteX10" fmla="*/ 329397 w 523394"/>
              <a:gd name="connsiteY10" fmla="*/ 546106 h 603970"/>
              <a:gd name="connsiteX11" fmla="*/ 117088 w 523394"/>
              <a:gd name="connsiteY11" fmla="*/ 546106 h 603970"/>
              <a:gd name="connsiteX12" fmla="*/ 98015 w 523394"/>
              <a:gd name="connsiteY12" fmla="*/ 526851 h 603970"/>
              <a:gd name="connsiteX13" fmla="*/ 117088 w 523394"/>
              <a:gd name="connsiteY13" fmla="*/ 507789 h 603970"/>
              <a:gd name="connsiteX14" fmla="*/ 223248 w 523394"/>
              <a:gd name="connsiteY14" fmla="*/ 84820 h 603970"/>
              <a:gd name="connsiteX15" fmla="*/ 242321 w 523394"/>
              <a:gd name="connsiteY15" fmla="*/ 103860 h 603970"/>
              <a:gd name="connsiteX16" fmla="*/ 223248 w 523394"/>
              <a:gd name="connsiteY16" fmla="*/ 122900 h 603970"/>
              <a:gd name="connsiteX17" fmla="*/ 115555 w 523394"/>
              <a:gd name="connsiteY17" fmla="*/ 230409 h 603970"/>
              <a:gd name="connsiteX18" fmla="*/ 96483 w 523394"/>
              <a:gd name="connsiteY18" fmla="*/ 249449 h 603970"/>
              <a:gd name="connsiteX19" fmla="*/ 77410 w 523394"/>
              <a:gd name="connsiteY19" fmla="*/ 230409 h 603970"/>
              <a:gd name="connsiteX20" fmla="*/ 223248 w 523394"/>
              <a:gd name="connsiteY20" fmla="*/ 84820 h 603970"/>
              <a:gd name="connsiteX21" fmla="*/ 421487 w 523394"/>
              <a:gd name="connsiteY21" fmla="*/ 51183 h 603970"/>
              <a:gd name="connsiteX22" fmla="*/ 510300 w 523394"/>
              <a:gd name="connsiteY22" fmla="*/ 80800 h 603970"/>
              <a:gd name="connsiteX23" fmla="*/ 522437 w 523394"/>
              <a:gd name="connsiteY23" fmla="*/ 104839 h 603970"/>
              <a:gd name="connsiteX24" fmla="*/ 492961 w 523394"/>
              <a:gd name="connsiteY24" fmla="*/ 193497 h 603970"/>
              <a:gd name="connsiteX25" fmla="*/ 474852 w 523394"/>
              <a:gd name="connsiteY25" fmla="*/ 206382 h 603970"/>
              <a:gd name="connsiteX26" fmla="*/ 468687 w 523394"/>
              <a:gd name="connsiteY26" fmla="*/ 205420 h 603970"/>
              <a:gd name="connsiteX27" fmla="*/ 456743 w 523394"/>
              <a:gd name="connsiteY27" fmla="*/ 181381 h 603970"/>
              <a:gd name="connsiteX28" fmla="*/ 470228 w 523394"/>
              <a:gd name="connsiteY28" fmla="*/ 140802 h 603970"/>
              <a:gd name="connsiteX29" fmla="*/ 169306 w 523394"/>
              <a:gd name="connsiteY29" fmla="*/ 308886 h 603970"/>
              <a:gd name="connsiteX30" fmla="*/ 159866 w 523394"/>
              <a:gd name="connsiteY30" fmla="*/ 311194 h 603970"/>
              <a:gd name="connsiteX31" fmla="*/ 143298 w 523394"/>
              <a:gd name="connsiteY31" fmla="*/ 301386 h 603970"/>
              <a:gd name="connsiteX32" fmla="*/ 150618 w 523394"/>
              <a:gd name="connsiteY32" fmla="*/ 275423 h 603970"/>
              <a:gd name="connsiteX33" fmla="*/ 458091 w 523394"/>
              <a:gd name="connsiteY33" fmla="*/ 103686 h 603970"/>
              <a:gd name="connsiteX34" fmla="*/ 409350 w 523394"/>
              <a:gd name="connsiteY34" fmla="*/ 87339 h 603970"/>
              <a:gd name="connsiteX35" fmla="*/ 397213 w 523394"/>
              <a:gd name="connsiteY35" fmla="*/ 63299 h 603970"/>
              <a:gd name="connsiteX36" fmla="*/ 421487 w 523394"/>
              <a:gd name="connsiteY36" fmla="*/ 51183 h 603970"/>
              <a:gd name="connsiteX37" fmla="*/ 223436 w 523394"/>
              <a:gd name="connsiteY37" fmla="*/ 0 h 603970"/>
              <a:gd name="connsiteX38" fmla="*/ 376952 w 523394"/>
              <a:gd name="connsiteY38" fmla="*/ 61169 h 603970"/>
              <a:gd name="connsiteX39" fmla="*/ 377722 w 523394"/>
              <a:gd name="connsiteY39" fmla="*/ 88098 h 603970"/>
              <a:gd name="connsiteX40" fmla="*/ 350563 w 523394"/>
              <a:gd name="connsiteY40" fmla="*/ 88868 h 603970"/>
              <a:gd name="connsiteX41" fmla="*/ 223436 w 523394"/>
              <a:gd name="connsiteY41" fmla="*/ 38086 h 603970"/>
              <a:gd name="connsiteX42" fmla="*/ 38138 w 523394"/>
              <a:gd name="connsiteY42" fmla="*/ 223131 h 603970"/>
              <a:gd name="connsiteX43" fmla="*/ 110177 w 523394"/>
              <a:gd name="connsiteY43" fmla="*/ 368744 h 603970"/>
              <a:gd name="connsiteX44" fmla="*/ 117496 w 523394"/>
              <a:gd name="connsiteY44" fmla="*/ 383747 h 603970"/>
              <a:gd name="connsiteX45" fmla="*/ 117496 w 523394"/>
              <a:gd name="connsiteY45" fmla="*/ 446647 h 603970"/>
              <a:gd name="connsiteX46" fmla="*/ 328990 w 523394"/>
              <a:gd name="connsiteY46" fmla="*/ 446647 h 603970"/>
              <a:gd name="connsiteX47" fmla="*/ 328990 w 523394"/>
              <a:gd name="connsiteY47" fmla="*/ 383747 h 603970"/>
              <a:gd name="connsiteX48" fmla="*/ 336309 w 523394"/>
              <a:gd name="connsiteY48" fmla="*/ 368744 h 603970"/>
              <a:gd name="connsiteX49" fmla="*/ 408541 w 523394"/>
              <a:gd name="connsiteY49" fmla="*/ 223324 h 603970"/>
              <a:gd name="connsiteX50" fmla="*/ 427610 w 523394"/>
              <a:gd name="connsiteY50" fmla="*/ 204088 h 603970"/>
              <a:gd name="connsiteX51" fmla="*/ 446679 w 523394"/>
              <a:gd name="connsiteY51" fmla="*/ 223131 h 603970"/>
              <a:gd name="connsiteX52" fmla="*/ 367128 w 523394"/>
              <a:gd name="connsiteY52" fmla="*/ 392981 h 603970"/>
              <a:gd name="connsiteX53" fmla="*/ 367128 w 523394"/>
              <a:gd name="connsiteY53" fmla="*/ 465691 h 603970"/>
              <a:gd name="connsiteX54" fmla="*/ 348059 w 523394"/>
              <a:gd name="connsiteY54" fmla="*/ 484926 h 603970"/>
              <a:gd name="connsiteX55" fmla="*/ 98427 w 523394"/>
              <a:gd name="connsiteY55" fmla="*/ 484926 h 603970"/>
              <a:gd name="connsiteX56" fmla="*/ 79358 w 523394"/>
              <a:gd name="connsiteY56" fmla="*/ 465691 h 603970"/>
              <a:gd name="connsiteX57" fmla="*/ 79358 w 523394"/>
              <a:gd name="connsiteY57" fmla="*/ 392788 h 603970"/>
              <a:gd name="connsiteX58" fmla="*/ 0 w 523394"/>
              <a:gd name="connsiteY58" fmla="*/ 223324 h 603970"/>
              <a:gd name="connsiteX59" fmla="*/ 223436 w 523394"/>
              <a:gd name="connsiteY59" fmla="*/ 0 h 603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523394" h="603970">
                <a:moveTo>
                  <a:pt x="137544" y="565935"/>
                </a:moveTo>
                <a:lnTo>
                  <a:pt x="308941" y="565935"/>
                </a:lnTo>
                <a:cubicBezTo>
                  <a:pt x="319533" y="565935"/>
                  <a:pt x="328199" y="574387"/>
                  <a:pt x="328199" y="584953"/>
                </a:cubicBezTo>
                <a:cubicBezTo>
                  <a:pt x="328199" y="595518"/>
                  <a:pt x="319533" y="603970"/>
                  <a:pt x="308941" y="603970"/>
                </a:cubicBezTo>
                <a:lnTo>
                  <a:pt x="137544" y="603970"/>
                </a:lnTo>
                <a:cubicBezTo>
                  <a:pt x="126953" y="603970"/>
                  <a:pt x="118479" y="595518"/>
                  <a:pt x="118479" y="584953"/>
                </a:cubicBezTo>
                <a:cubicBezTo>
                  <a:pt x="118479" y="574387"/>
                  <a:pt x="126953" y="565935"/>
                  <a:pt x="137544" y="565935"/>
                </a:cubicBezTo>
                <a:close/>
                <a:moveTo>
                  <a:pt x="117088" y="507789"/>
                </a:moveTo>
                <a:lnTo>
                  <a:pt x="329397" y="507789"/>
                </a:lnTo>
                <a:cubicBezTo>
                  <a:pt x="339993" y="507789"/>
                  <a:pt x="348663" y="516454"/>
                  <a:pt x="348663" y="526851"/>
                </a:cubicBezTo>
                <a:cubicBezTo>
                  <a:pt x="348663" y="537441"/>
                  <a:pt x="339993" y="546106"/>
                  <a:pt x="329397" y="546106"/>
                </a:cubicBezTo>
                <a:lnTo>
                  <a:pt x="117088" y="546106"/>
                </a:lnTo>
                <a:cubicBezTo>
                  <a:pt x="106685" y="546106"/>
                  <a:pt x="98015" y="537441"/>
                  <a:pt x="98015" y="526851"/>
                </a:cubicBezTo>
                <a:cubicBezTo>
                  <a:pt x="98015" y="516454"/>
                  <a:pt x="106685" y="507789"/>
                  <a:pt x="117088" y="507789"/>
                </a:cubicBezTo>
                <a:close/>
                <a:moveTo>
                  <a:pt x="223248" y="84820"/>
                </a:moveTo>
                <a:cubicBezTo>
                  <a:pt x="233844" y="84820"/>
                  <a:pt x="242321" y="93282"/>
                  <a:pt x="242321" y="103860"/>
                </a:cubicBezTo>
                <a:cubicBezTo>
                  <a:pt x="242321" y="114438"/>
                  <a:pt x="233844" y="122900"/>
                  <a:pt x="223248" y="122900"/>
                </a:cubicBezTo>
                <a:cubicBezTo>
                  <a:pt x="163911" y="122900"/>
                  <a:pt x="115555" y="171173"/>
                  <a:pt x="115555" y="230409"/>
                </a:cubicBezTo>
                <a:cubicBezTo>
                  <a:pt x="115555" y="240987"/>
                  <a:pt x="107079" y="249449"/>
                  <a:pt x="96483" y="249449"/>
                </a:cubicBezTo>
                <a:cubicBezTo>
                  <a:pt x="85887" y="249449"/>
                  <a:pt x="77410" y="240987"/>
                  <a:pt x="77410" y="230409"/>
                </a:cubicBezTo>
                <a:cubicBezTo>
                  <a:pt x="77410" y="150210"/>
                  <a:pt x="142912" y="84820"/>
                  <a:pt x="223248" y="84820"/>
                </a:cubicBezTo>
                <a:close/>
                <a:moveTo>
                  <a:pt x="421487" y="51183"/>
                </a:moveTo>
                <a:lnTo>
                  <a:pt x="510300" y="80800"/>
                </a:lnTo>
                <a:cubicBezTo>
                  <a:pt x="520318" y="84069"/>
                  <a:pt x="525712" y="94839"/>
                  <a:pt x="522437" y="104839"/>
                </a:cubicBezTo>
                <a:lnTo>
                  <a:pt x="492961" y="193497"/>
                </a:lnTo>
                <a:cubicBezTo>
                  <a:pt x="490264" y="201382"/>
                  <a:pt x="482751" y="206382"/>
                  <a:pt x="474852" y="206382"/>
                </a:cubicBezTo>
                <a:cubicBezTo>
                  <a:pt x="472925" y="206382"/>
                  <a:pt x="470806" y="205997"/>
                  <a:pt x="468687" y="205420"/>
                </a:cubicBezTo>
                <a:cubicBezTo>
                  <a:pt x="458669" y="202151"/>
                  <a:pt x="453275" y="191381"/>
                  <a:pt x="456743" y="181381"/>
                </a:cubicBezTo>
                <a:lnTo>
                  <a:pt x="470228" y="140802"/>
                </a:lnTo>
                <a:lnTo>
                  <a:pt x="169306" y="308886"/>
                </a:lnTo>
                <a:cubicBezTo>
                  <a:pt x="166223" y="310425"/>
                  <a:pt x="163141" y="311194"/>
                  <a:pt x="159866" y="311194"/>
                </a:cubicBezTo>
                <a:cubicBezTo>
                  <a:pt x="153316" y="311194"/>
                  <a:pt x="146765" y="307732"/>
                  <a:pt x="143298" y="301386"/>
                </a:cubicBezTo>
                <a:cubicBezTo>
                  <a:pt x="138096" y="292347"/>
                  <a:pt x="141371" y="280616"/>
                  <a:pt x="150618" y="275423"/>
                </a:cubicBezTo>
                <a:lnTo>
                  <a:pt x="458091" y="103686"/>
                </a:lnTo>
                <a:lnTo>
                  <a:pt x="409350" y="87339"/>
                </a:lnTo>
                <a:cubicBezTo>
                  <a:pt x="399332" y="84069"/>
                  <a:pt x="393938" y="73300"/>
                  <a:pt x="397213" y="63299"/>
                </a:cubicBezTo>
                <a:cubicBezTo>
                  <a:pt x="400488" y="53299"/>
                  <a:pt x="410891" y="47914"/>
                  <a:pt x="421487" y="51183"/>
                </a:cubicBezTo>
                <a:close/>
                <a:moveTo>
                  <a:pt x="223436" y="0"/>
                </a:moveTo>
                <a:cubicBezTo>
                  <a:pt x="280643" y="0"/>
                  <a:pt x="335346" y="21736"/>
                  <a:pt x="376952" y="61169"/>
                </a:cubicBezTo>
                <a:cubicBezTo>
                  <a:pt x="384656" y="68478"/>
                  <a:pt x="384849" y="80597"/>
                  <a:pt x="377722" y="88098"/>
                </a:cubicBezTo>
                <a:cubicBezTo>
                  <a:pt x="370210" y="95600"/>
                  <a:pt x="358268" y="95985"/>
                  <a:pt x="350563" y="88868"/>
                </a:cubicBezTo>
                <a:cubicBezTo>
                  <a:pt x="316277" y="56168"/>
                  <a:pt x="271012" y="38086"/>
                  <a:pt x="223436" y="38086"/>
                </a:cubicBezTo>
                <a:cubicBezTo>
                  <a:pt x="121156" y="38086"/>
                  <a:pt x="38138" y="121183"/>
                  <a:pt x="38138" y="223131"/>
                </a:cubicBezTo>
                <a:cubicBezTo>
                  <a:pt x="38138" y="280068"/>
                  <a:pt x="64334" y="333158"/>
                  <a:pt x="110177" y="368744"/>
                </a:cubicBezTo>
                <a:cubicBezTo>
                  <a:pt x="114800" y="372399"/>
                  <a:pt x="117496" y="377977"/>
                  <a:pt x="117496" y="383747"/>
                </a:cubicBezTo>
                <a:lnTo>
                  <a:pt x="117496" y="446647"/>
                </a:lnTo>
                <a:lnTo>
                  <a:pt x="328990" y="446647"/>
                </a:lnTo>
                <a:lnTo>
                  <a:pt x="328990" y="383747"/>
                </a:lnTo>
                <a:cubicBezTo>
                  <a:pt x="328990" y="377977"/>
                  <a:pt x="331687" y="372399"/>
                  <a:pt x="336309" y="368744"/>
                </a:cubicBezTo>
                <a:cubicBezTo>
                  <a:pt x="382152" y="333158"/>
                  <a:pt x="408541" y="280261"/>
                  <a:pt x="408541" y="223324"/>
                </a:cubicBezTo>
                <a:cubicBezTo>
                  <a:pt x="408541" y="212744"/>
                  <a:pt x="417016" y="204088"/>
                  <a:pt x="427610" y="204088"/>
                </a:cubicBezTo>
                <a:cubicBezTo>
                  <a:pt x="438204" y="204088"/>
                  <a:pt x="446679" y="212552"/>
                  <a:pt x="446679" y="223131"/>
                </a:cubicBezTo>
                <a:cubicBezTo>
                  <a:pt x="446679" y="288917"/>
                  <a:pt x="417786" y="350278"/>
                  <a:pt x="367128" y="392981"/>
                </a:cubicBezTo>
                <a:lnTo>
                  <a:pt x="367128" y="465691"/>
                </a:lnTo>
                <a:cubicBezTo>
                  <a:pt x="367128" y="476270"/>
                  <a:pt x="358653" y="484926"/>
                  <a:pt x="348059" y="484926"/>
                </a:cubicBezTo>
                <a:lnTo>
                  <a:pt x="98427" y="484926"/>
                </a:lnTo>
                <a:cubicBezTo>
                  <a:pt x="87833" y="484926"/>
                  <a:pt x="79358" y="476270"/>
                  <a:pt x="79358" y="465691"/>
                </a:cubicBezTo>
                <a:lnTo>
                  <a:pt x="79358" y="392788"/>
                </a:lnTo>
                <a:cubicBezTo>
                  <a:pt x="28700" y="350085"/>
                  <a:pt x="0" y="288917"/>
                  <a:pt x="0" y="223324"/>
                </a:cubicBezTo>
                <a:cubicBezTo>
                  <a:pt x="0" y="100024"/>
                  <a:pt x="100161" y="0"/>
                  <a:pt x="22343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41" name="îṩļïḑè"/>
          <p:cNvSpPr/>
          <p:nvPr/>
        </p:nvSpPr>
        <p:spPr bwMode="gray">
          <a:xfrm>
            <a:off x="7950767" y="2822009"/>
            <a:ext cx="406035" cy="346941"/>
          </a:xfrm>
          <a:custGeom>
            <a:avLst/>
            <a:gdLst>
              <a:gd name="connsiteX0" fmla="*/ 560224 w 607107"/>
              <a:gd name="connsiteY0" fmla="*/ 279860 h 518750"/>
              <a:gd name="connsiteX1" fmla="*/ 582459 w 607107"/>
              <a:gd name="connsiteY1" fmla="*/ 280220 h 518750"/>
              <a:gd name="connsiteX2" fmla="*/ 606440 w 607107"/>
              <a:gd name="connsiteY2" fmla="*/ 300513 h 518750"/>
              <a:gd name="connsiteX3" fmla="*/ 596135 w 607107"/>
              <a:gd name="connsiteY3" fmla="*/ 329751 h 518750"/>
              <a:gd name="connsiteX4" fmla="*/ 571865 w 607107"/>
              <a:gd name="connsiteY4" fmla="*/ 348793 h 518750"/>
              <a:gd name="connsiteX5" fmla="*/ 371834 w 607107"/>
              <a:gd name="connsiteY5" fmla="*/ 500269 h 518750"/>
              <a:gd name="connsiteX6" fmla="*/ 134050 w 607107"/>
              <a:gd name="connsiteY6" fmla="*/ 494210 h 518750"/>
              <a:gd name="connsiteX7" fmla="*/ 67213 w 607107"/>
              <a:gd name="connsiteY7" fmla="*/ 511040 h 518750"/>
              <a:gd name="connsiteX8" fmla="*/ 61145 w 607107"/>
              <a:gd name="connsiteY8" fmla="*/ 511040 h 518750"/>
              <a:gd name="connsiteX9" fmla="*/ 59701 w 607107"/>
              <a:gd name="connsiteY9" fmla="*/ 510560 h 518750"/>
              <a:gd name="connsiteX10" fmla="*/ 55656 w 607107"/>
              <a:gd name="connsiteY10" fmla="*/ 507674 h 518750"/>
              <a:gd name="connsiteX11" fmla="*/ 7502 w 607107"/>
              <a:gd name="connsiteY11" fmla="*/ 432081 h 518750"/>
              <a:gd name="connsiteX12" fmla="*/ 1435 w 607107"/>
              <a:gd name="connsiteY12" fmla="*/ 423521 h 518750"/>
              <a:gd name="connsiteX13" fmla="*/ 183 w 607107"/>
              <a:gd name="connsiteY13" fmla="*/ 417077 h 518750"/>
              <a:gd name="connsiteX14" fmla="*/ 4131 w 607107"/>
              <a:gd name="connsiteY14" fmla="*/ 411788 h 518750"/>
              <a:gd name="connsiteX15" fmla="*/ 95527 w 607107"/>
              <a:gd name="connsiteY15" fmla="*/ 376588 h 518750"/>
              <a:gd name="connsiteX16" fmla="*/ 266570 w 607107"/>
              <a:gd name="connsiteY16" fmla="*/ 330231 h 518750"/>
              <a:gd name="connsiteX17" fmla="*/ 327147 w 607107"/>
              <a:gd name="connsiteY17" fmla="*/ 372741 h 518750"/>
              <a:gd name="connsiteX18" fmla="*/ 233536 w 607107"/>
              <a:gd name="connsiteY18" fmla="*/ 417943 h 518750"/>
              <a:gd name="connsiteX19" fmla="*/ 360084 w 607107"/>
              <a:gd name="connsiteY19" fmla="*/ 366393 h 518750"/>
              <a:gd name="connsiteX20" fmla="*/ 365285 w 607107"/>
              <a:gd name="connsiteY20" fmla="*/ 359372 h 518750"/>
              <a:gd name="connsiteX21" fmla="*/ 524482 w 607107"/>
              <a:gd name="connsiteY21" fmla="*/ 291473 h 518750"/>
              <a:gd name="connsiteX22" fmla="*/ 560224 w 607107"/>
              <a:gd name="connsiteY22" fmla="*/ 279860 h 518750"/>
              <a:gd name="connsiteX23" fmla="*/ 231201 w 607107"/>
              <a:gd name="connsiteY23" fmla="*/ 114447 h 518750"/>
              <a:gd name="connsiteX24" fmla="*/ 227733 w 607107"/>
              <a:gd name="connsiteY24" fmla="*/ 115409 h 518750"/>
              <a:gd name="connsiteX25" fmla="*/ 204232 w 607107"/>
              <a:gd name="connsiteY25" fmla="*/ 127912 h 518750"/>
              <a:gd name="connsiteX26" fmla="*/ 200572 w 607107"/>
              <a:gd name="connsiteY26" fmla="*/ 136280 h 518750"/>
              <a:gd name="connsiteX27" fmla="*/ 203269 w 607107"/>
              <a:gd name="connsiteY27" fmla="*/ 146860 h 518750"/>
              <a:gd name="connsiteX28" fmla="*/ 207410 w 607107"/>
              <a:gd name="connsiteY28" fmla="*/ 151862 h 518750"/>
              <a:gd name="connsiteX29" fmla="*/ 213960 w 607107"/>
              <a:gd name="connsiteY29" fmla="*/ 151573 h 518750"/>
              <a:gd name="connsiteX30" fmla="*/ 222340 w 607107"/>
              <a:gd name="connsiteY30" fmla="*/ 147053 h 518750"/>
              <a:gd name="connsiteX31" fmla="*/ 222340 w 607107"/>
              <a:gd name="connsiteY31" fmla="*/ 230058 h 518750"/>
              <a:gd name="connsiteX32" fmla="*/ 229756 w 607107"/>
              <a:gd name="connsiteY32" fmla="*/ 237464 h 518750"/>
              <a:gd name="connsiteX33" fmla="*/ 243433 w 607107"/>
              <a:gd name="connsiteY33" fmla="*/ 237464 h 518750"/>
              <a:gd name="connsiteX34" fmla="*/ 250850 w 607107"/>
              <a:gd name="connsiteY34" fmla="*/ 230058 h 518750"/>
              <a:gd name="connsiteX35" fmla="*/ 250850 w 607107"/>
              <a:gd name="connsiteY35" fmla="*/ 121853 h 518750"/>
              <a:gd name="connsiteX36" fmla="*/ 243433 w 607107"/>
              <a:gd name="connsiteY36" fmla="*/ 114447 h 518750"/>
              <a:gd name="connsiteX37" fmla="*/ 230719 w 607107"/>
              <a:gd name="connsiteY37" fmla="*/ 76070 h 518750"/>
              <a:gd name="connsiteX38" fmla="*/ 330794 w 607107"/>
              <a:gd name="connsiteY38" fmla="*/ 176004 h 518750"/>
              <a:gd name="connsiteX39" fmla="*/ 230719 w 607107"/>
              <a:gd name="connsiteY39" fmla="*/ 275841 h 518750"/>
              <a:gd name="connsiteX40" fmla="*/ 130741 w 607107"/>
              <a:gd name="connsiteY40" fmla="*/ 176004 h 518750"/>
              <a:gd name="connsiteX41" fmla="*/ 230719 w 607107"/>
              <a:gd name="connsiteY41" fmla="*/ 76070 h 518750"/>
              <a:gd name="connsiteX42" fmla="*/ 371906 w 607107"/>
              <a:gd name="connsiteY42" fmla="*/ 39432 h 518750"/>
              <a:gd name="connsiteX43" fmla="*/ 368246 w 607107"/>
              <a:gd name="connsiteY43" fmla="*/ 40297 h 518750"/>
              <a:gd name="connsiteX44" fmla="*/ 344168 w 607107"/>
              <a:gd name="connsiteY44" fmla="*/ 53185 h 518750"/>
              <a:gd name="connsiteX45" fmla="*/ 340412 w 607107"/>
              <a:gd name="connsiteY45" fmla="*/ 61744 h 518750"/>
              <a:gd name="connsiteX46" fmla="*/ 343109 w 607107"/>
              <a:gd name="connsiteY46" fmla="*/ 72612 h 518750"/>
              <a:gd name="connsiteX47" fmla="*/ 347443 w 607107"/>
              <a:gd name="connsiteY47" fmla="*/ 77709 h 518750"/>
              <a:gd name="connsiteX48" fmla="*/ 354089 w 607107"/>
              <a:gd name="connsiteY48" fmla="*/ 77421 h 518750"/>
              <a:gd name="connsiteX49" fmla="*/ 362757 w 607107"/>
              <a:gd name="connsiteY49" fmla="*/ 72804 h 518750"/>
              <a:gd name="connsiteX50" fmla="*/ 362757 w 607107"/>
              <a:gd name="connsiteY50" fmla="*/ 157919 h 518750"/>
              <a:gd name="connsiteX51" fmla="*/ 370365 w 607107"/>
              <a:gd name="connsiteY51" fmla="*/ 165517 h 518750"/>
              <a:gd name="connsiteX52" fmla="*/ 384331 w 607107"/>
              <a:gd name="connsiteY52" fmla="*/ 165517 h 518750"/>
              <a:gd name="connsiteX53" fmla="*/ 391939 w 607107"/>
              <a:gd name="connsiteY53" fmla="*/ 157919 h 518750"/>
              <a:gd name="connsiteX54" fmla="*/ 391939 w 607107"/>
              <a:gd name="connsiteY54" fmla="*/ 47029 h 518750"/>
              <a:gd name="connsiteX55" fmla="*/ 384331 w 607107"/>
              <a:gd name="connsiteY55" fmla="*/ 39432 h 518750"/>
              <a:gd name="connsiteX56" fmla="*/ 371328 w 607107"/>
              <a:gd name="connsiteY56" fmla="*/ 0 h 518750"/>
              <a:gd name="connsiteX57" fmla="*/ 473901 w 607107"/>
              <a:gd name="connsiteY57" fmla="*/ 102426 h 518750"/>
              <a:gd name="connsiteX58" fmla="*/ 371328 w 607107"/>
              <a:gd name="connsiteY58" fmla="*/ 204852 h 518750"/>
              <a:gd name="connsiteX59" fmla="*/ 342531 w 607107"/>
              <a:gd name="connsiteY59" fmla="*/ 200717 h 518750"/>
              <a:gd name="connsiteX60" fmla="*/ 348117 w 607107"/>
              <a:gd name="connsiteY60" fmla="*/ 167440 h 518750"/>
              <a:gd name="connsiteX61" fmla="*/ 274342 w 607107"/>
              <a:gd name="connsiteY61" fmla="*/ 69150 h 518750"/>
              <a:gd name="connsiteX62" fmla="*/ 371328 w 607107"/>
              <a:gd name="connsiteY62" fmla="*/ 0 h 51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607107" h="518750">
                <a:moveTo>
                  <a:pt x="560224" y="279860"/>
                </a:moveTo>
                <a:cubicBezTo>
                  <a:pt x="569819" y="278441"/>
                  <a:pt x="577162" y="279018"/>
                  <a:pt x="582459" y="280220"/>
                </a:cubicBezTo>
                <a:cubicBezTo>
                  <a:pt x="595268" y="283010"/>
                  <a:pt x="604032" y="289742"/>
                  <a:pt x="606440" y="300513"/>
                </a:cubicBezTo>
                <a:cubicBezTo>
                  <a:pt x="608751" y="310804"/>
                  <a:pt x="604995" y="322826"/>
                  <a:pt x="596135" y="329751"/>
                </a:cubicBezTo>
                <a:cubicBezTo>
                  <a:pt x="587949" y="336098"/>
                  <a:pt x="579762" y="342542"/>
                  <a:pt x="571865" y="348793"/>
                </a:cubicBezTo>
                <a:lnTo>
                  <a:pt x="371834" y="500269"/>
                </a:lnTo>
                <a:cubicBezTo>
                  <a:pt x="306826" y="545471"/>
                  <a:pt x="137614" y="493440"/>
                  <a:pt x="134050" y="494210"/>
                </a:cubicBezTo>
                <a:lnTo>
                  <a:pt x="67213" y="511040"/>
                </a:lnTo>
                <a:cubicBezTo>
                  <a:pt x="65479" y="511521"/>
                  <a:pt x="63264" y="511425"/>
                  <a:pt x="61145" y="511040"/>
                </a:cubicBezTo>
                <a:cubicBezTo>
                  <a:pt x="60567" y="510848"/>
                  <a:pt x="60086" y="510752"/>
                  <a:pt x="59701" y="510560"/>
                </a:cubicBezTo>
                <a:cubicBezTo>
                  <a:pt x="58063" y="510079"/>
                  <a:pt x="56715" y="509021"/>
                  <a:pt x="55656" y="507674"/>
                </a:cubicBezTo>
                <a:cubicBezTo>
                  <a:pt x="40150" y="486131"/>
                  <a:pt x="22430" y="453335"/>
                  <a:pt x="7502" y="432081"/>
                </a:cubicBezTo>
                <a:lnTo>
                  <a:pt x="1435" y="423521"/>
                </a:lnTo>
                <a:cubicBezTo>
                  <a:pt x="183" y="421694"/>
                  <a:pt x="-299" y="419289"/>
                  <a:pt x="183" y="417077"/>
                </a:cubicBezTo>
                <a:cubicBezTo>
                  <a:pt x="664" y="414865"/>
                  <a:pt x="1723" y="412750"/>
                  <a:pt x="4131" y="411788"/>
                </a:cubicBezTo>
                <a:lnTo>
                  <a:pt x="95527" y="376588"/>
                </a:lnTo>
                <a:cubicBezTo>
                  <a:pt x="155816" y="356487"/>
                  <a:pt x="154179" y="328885"/>
                  <a:pt x="266570" y="330231"/>
                </a:cubicBezTo>
                <a:cubicBezTo>
                  <a:pt x="296618" y="330520"/>
                  <a:pt x="351706" y="324172"/>
                  <a:pt x="327147" y="372741"/>
                </a:cubicBezTo>
                <a:cubicBezTo>
                  <a:pt x="316650" y="393515"/>
                  <a:pt x="281979" y="420059"/>
                  <a:pt x="233536" y="417943"/>
                </a:cubicBezTo>
                <a:cubicBezTo>
                  <a:pt x="233344" y="419193"/>
                  <a:pt x="327244" y="456605"/>
                  <a:pt x="360084" y="366393"/>
                </a:cubicBezTo>
                <a:cubicBezTo>
                  <a:pt x="360084" y="366393"/>
                  <a:pt x="361433" y="361007"/>
                  <a:pt x="365285" y="359372"/>
                </a:cubicBezTo>
                <a:cubicBezTo>
                  <a:pt x="389940" y="348793"/>
                  <a:pt x="522459" y="292338"/>
                  <a:pt x="524482" y="291473"/>
                </a:cubicBezTo>
                <a:cubicBezTo>
                  <a:pt x="538784" y="284693"/>
                  <a:pt x="550629" y="281278"/>
                  <a:pt x="560224" y="279860"/>
                </a:cubicBezTo>
                <a:close/>
                <a:moveTo>
                  <a:pt x="231201" y="114447"/>
                </a:moveTo>
                <a:cubicBezTo>
                  <a:pt x="230045" y="114447"/>
                  <a:pt x="228793" y="114832"/>
                  <a:pt x="227733" y="115409"/>
                </a:cubicBezTo>
                <a:lnTo>
                  <a:pt x="204232" y="127912"/>
                </a:lnTo>
                <a:cubicBezTo>
                  <a:pt x="201246" y="129548"/>
                  <a:pt x="199705" y="133010"/>
                  <a:pt x="200572" y="136280"/>
                </a:cubicBezTo>
                <a:lnTo>
                  <a:pt x="203269" y="146860"/>
                </a:lnTo>
                <a:cubicBezTo>
                  <a:pt x="203847" y="149073"/>
                  <a:pt x="205388" y="150900"/>
                  <a:pt x="207410" y="151862"/>
                </a:cubicBezTo>
                <a:cubicBezTo>
                  <a:pt x="209529" y="152727"/>
                  <a:pt x="211937" y="152631"/>
                  <a:pt x="213960" y="151573"/>
                </a:cubicBezTo>
                <a:lnTo>
                  <a:pt x="222340" y="147053"/>
                </a:lnTo>
                <a:lnTo>
                  <a:pt x="222340" y="230058"/>
                </a:lnTo>
                <a:cubicBezTo>
                  <a:pt x="222340" y="234098"/>
                  <a:pt x="225711" y="237464"/>
                  <a:pt x="229756" y="237464"/>
                </a:cubicBezTo>
                <a:lnTo>
                  <a:pt x="243433" y="237464"/>
                </a:lnTo>
                <a:cubicBezTo>
                  <a:pt x="247479" y="237464"/>
                  <a:pt x="250850" y="234098"/>
                  <a:pt x="250850" y="230058"/>
                </a:cubicBezTo>
                <a:lnTo>
                  <a:pt x="250850" y="121853"/>
                </a:lnTo>
                <a:cubicBezTo>
                  <a:pt x="250850" y="117813"/>
                  <a:pt x="247479" y="114447"/>
                  <a:pt x="243433" y="114447"/>
                </a:cubicBezTo>
                <a:close/>
                <a:moveTo>
                  <a:pt x="230719" y="76070"/>
                </a:moveTo>
                <a:cubicBezTo>
                  <a:pt x="286006" y="76070"/>
                  <a:pt x="330794" y="120795"/>
                  <a:pt x="330794" y="176004"/>
                </a:cubicBezTo>
                <a:cubicBezTo>
                  <a:pt x="330794" y="231116"/>
                  <a:pt x="286006" y="275841"/>
                  <a:pt x="230719" y="275841"/>
                </a:cubicBezTo>
                <a:cubicBezTo>
                  <a:pt x="175529" y="275841"/>
                  <a:pt x="130741" y="231116"/>
                  <a:pt x="130741" y="176004"/>
                </a:cubicBezTo>
                <a:cubicBezTo>
                  <a:pt x="130741" y="120795"/>
                  <a:pt x="175529" y="76070"/>
                  <a:pt x="230719" y="76070"/>
                </a:cubicBezTo>
                <a:close/>
                <a:moveTo>
                  <a:pt x="371906" y="39432"/>
                </a:moveTo>
                <a:cubicBezTo>
                  <a:pt x="370654" y="39432"/>
                  <a:pt x="369402" y="39720"/>
                  <a:pt x="368246" y="40297"/>
                </a:cubicBezTo>
                <a:lnTo>
                  <a:pt x="344168" y="53185"/>
                </a:lnTo>
                <a:cubicBezTo>
                  <a:pt x="341086" y="54819"/>
                  <a:pt x="339545" y="58378"/>
                  <a:pt x="340412" y="61744"/>
                </a:cubicBezTo>
                <a:lnTo>
                  <a:pt x="343109" y="72612"/>
                </a:lnTo>
                <a:cubicBezTo>
                  <a:pt x="343687" y="74920"/>
                  <a:pt x="345324" y="76747"/>
                  <a:pt x="347443" y="77709"/>
                </a:cubicBezTo>
                <a:cubicBezTo>
                  <a:pt x="349562" y="78671"/>
                  <a:pt x="352066" y="78575"/>
                  <a:pt x="354089" y="77421"/>
                </a:cubicBezTo>
                <a:lnTo>
                  <a:pt x="362757" y="72804"/>
                </a:lnTo>
                <a:lnTo>
                  <a:pt x="362757" y="157919"/>
                </a:lnTo>
                <a:cubicBezTo>
                  <a:pt x="362757" y="162054"/>
                  <a:pt x="366224" y="165517"/>
                  <a:pt x="370365" y="165517"/>
                </a:cubicBezTo>
                <a:lnTo>
                  <a:pt x="384331" y="165517"/>
                </a:lnTo>
                <a:cubicBezTo>
                  <a:pt x="388568" y="165517"/>
                  <a:pt x="391939" y="162054"/>
                  <a:pt x="391939" y="157919"/>
                </a:cubicBezTo>
                <a:lnTo>
                  <a:pt x="391939" y="47029"/>
                </a:lnTo>
                <a:cubicBezTo>
                  <a:pt x="391939" y="42798"/>
                  <a:pt x="388568" y="39432"/>
                  <a:pt x="384331" y="39432"/>
                </a:cubicBezTo>
                <a:close/>
                <a:moveTo>
                  <a:pt x="371328" y="0"/>
                </a:moveTo>
                <a:cubicBezTo>
                  <a:pt x="428056" y="0"/>
                  <a:pt x="473901" y="45875"/>
                  <a:pt x="473901" y="102426"/>
                </a:cubicBezTo>
                <a:cubicBezTo>
                  <a:pt x="473901" y="158977"/>
                  <a:pt x="428056" y="204852"/>
                  <a:pt x="371328" y="204852"/>
                </a:cubicBezTo>
                <a:cubicBezTo>
                  <a:pt x="361312" y="204852"/>
                  <a:pt x="351681" y="203409"/>
                  <a:pt x="342531" y="200717"/>
                </a:cubicBezTo>
                <a:cubicBezTo>
                  <a:pt x="346095" y="190234"/>
                  <a:pt x="348117" y="179077"/>
                  <a:pt x="348117" y="167440"/>
                </a:cubicBezTo>
                <a:cubicBezTo>
                  <a:pt x="348117" y="120892"/>
                  <a:pt x="317008" y="81556"/>
                  <a:pt x="274342" y="69150"/>
                </a:cubicBezTo>
                <a:cubicBezTo>
                  <a:pt x="288211" y="28949"/>
                  <a:pt x="326447" y="0"/>
                  <a:pt x="371328" y="0"/>
                </a:cubicBezTo>
                <a:close/>
              </a:path>
            </a:pathLst>
          </a:custGeom>
          <a:solidFill>
            <a:schemeClr val="bg1"/>
          </a:solidFill>
          <a:ln w="28575"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42" name="îšľîḓé"/>
          <p:cNvSpPr/>
          <p:nvPr/>
        </p:nvSpPr>
        <p:spPr bwMode="gray">
          <a:xfrm>
            <a:off x="7892121" y="4246794"/>
            <a:ext cx="406035" cy="373082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608909" h="559493">
                <a:moveTo>
                  <a:pt x="470180" y="272856"/>
                </a:moveTo>
                <a:lnTo>
                  <a:pt x="476019" y="272856"/>
                </a:lnTo>
                <a:lnTo>
                  <a:pt x="481953" y="272856"/>
                </a:lnTo>
                <a:cubicBezTo>
                  <a:pt x="509171" y="272856"/>
                  <a:pt x="531210" y="294963"/>
                  <a:pt x="531210" y="322056"/>
                </a:cubicBezTo>
                <a:lnTo>
                  <a:pt x="531210" y="376617"/>
                </a:lnTo>
                <a:cubicBezTo>
                  <a:pt x="531210" y="385084"/>
                  <a:pt x="526783" y="392609"/>
                  <a:pt x="520096" y="397031"/>
                </a:cubicBezTo>
                <a:lnTo>
                  <a:pt x="520096" y="449711"/>
                </a:lnTo>
                <a:cubicBezTo>
                  <a:pt x="520096" y="450558"/>
                  <a:pt x="520661" y="451498"/>
                  <a:pt x="521509" y="451875"/>
                </a:cubicBezTo>
                <a:cubicBezTo>
                  <a:pt x="528949" y="455450"/>
                  <a:pt x="565492" y="473888"/>
                  <a:pt x="599209" y="501639"/>
                </a:cubicBezTo>
                <a:cubicBezTo>
                  <a:pt x="605425" y="506625"/>
                  <a:pt x="608909" y="514150"/>
                  <a:pt x="608909" y="522052"/>
                </a:cubicBezTo>
                <a:lnTo>
                  <a:pt x="608909" y="559493"/>
                </a:lnTo>
                <a:lnTo>
                  <a:pt x="483083" y="559493"/>
                </a:lnTo>
                <a:lnTo>
                  <a:pt x="483083" y="515561"/>
                </a:lnTo>
                <a:cubicBezTo>
                  <a:pt x="483083" y="499475"/>
                  <a:pt x="476019" y="484424"/>
                  <a:pt x="463587" y="474264"/>
                </a:cubicBezTo>
                <a:cubicBezTo>
                  <a:pt x="453039" y="465609"/>
                  <a:pt x="442302" y="457707"/>
                  <a:pt x="431848" y="450558"/>
                </a:cubicBezTo>
                <a:cubicBezTo>
                  <a:pt x="431848" y="450370"/>
                  <a:pt x="431942" y="450087"/>
                  <a:pt x="431942" y="449711"/>
                </a:cubicBezTo>
                <a:lnTo>
                  <a:pt x="431942" y="397031"/>
                </a:lnTo>
                <a:cubicBezTo>
                  <a:pt x="425350" y="392609"/>
                  <a:pt x="420923" y="385084"/>
                  <a:pt x="420923" y="376617"/>
                </a:cubicBezTo>
                <a:lnTo>
                  <a:pt x="420923" y="322056"/>
                </a:lnTo>
                <a:cubicBezTo>
                  <a:pt x="420923" y="294775"/>
                  <a:pt x="443056" y="272856"/>
                  <a:pt x="470180" y="272856"/>
                </a:cubicBezTo>
                <a:close/>
                <a:moveTo>
                  <a:pt x="127004" y="272856"/>
                </a:moveTo>
                <a:lnTo>
                  <a:pt x="132940" y="272856"/>
                </a:lnTo>
                <a:lnTo>
                  <a:pt x="138781" y="272856"/>
                </a:lnTo>
                <a:cubicBezTo>
                  <a:pt x="166104" y="272856"/>
                  <a:pt x="188057" y="294963"/>
                  <a:pt x="188057" y="322056"/>
                </a:cubicBezTo>
                <a:lnTo>
                  <a:pt x="188057" y="376617"/>
                </a:lnTo>
                <a:cubicBezTo>
                  <a:pt x="188057" y="385084"/>
                  <a:pt x="183629" y="392609"/>
                  <a:pt x="177033" y="397031"/>
                </a:cubicBezTo>
                <a:lnTo>
                  <a:pt x="177033" y="449711"/>
                </a:lnTo>
                <a:cubicBezTo>
                  <a:pt x="177033" y="449993"/>
                  <a:pt x="177128" y="450370"/>
                  <a:pt x="177128" y="450558"/>
                </a:cubicBezTo>
                <a:cubicBezTo>
                  <a:pt x="166670" y="457613"/>
                  <a:pt x="155929" y="465609"/>
                  <a:pt x="145376" y="474264"/>
                </a:cubicBezTo>
                <a:cubicBezTo>
                  <a:pt x="133034" y="484424"/>
                  <a:pt x="125874" y="499475"/>
                  <a:pt x="125874" y="515561"/>
                </a:cubicBezTo>
                <a:lnTo>
                  <a:pt x="125874" y="559493"/>
                </a:lnTo>
                <a:lnTo>
                  <a:pt x="0" y="559493"/>
                </a:lnTo>
                <a:lnTo>
                  <a:pt x="0" y="522052"/>
                </a:lnTo>
                <a:cubicBezTo>
                  <a:pt x="0" y="514150"/>
                  <a:pt x="3486" y="506625"/>
                  <a:pt x="9704" y="501639"/>
                </a:cubicBezTo>
                <a:cubicBezTo>
                  <a:pt x="43434" y="473888"/>
                  <a:pt x="79990" y="455450"/>
                  <a:pt x="87433" y="451875"/>
                </a:cubicBezTo>
                <a:cubicBezTo>
                  <a:pt x="88281" y="451498"/>
                  <a:pt x="88846" y="450558"/>
                  <a:pt x="88846" y="449711"/>
                </a:cubicBezTo>
                <a:lnTo>
                  <a:pt x="88846" y="397031"/>
                </a:lnTo>
                <a:cubicBezTo>
                  <a:pt x="82157" y="392609"/>
                  <a:pt x="77729" y="385084"/>
                  <a:pt x="77729" y="376617"/>
                </a:cubicBezTo>
                <a:lnTo>
                  <a:pt x="77729" y="322056"/>
                </a:lnTo>
                <a:cubicBezTo>
                  <a:pt x="77729" y="294775"/>
                  <a:pt x="99870" y="272856"/>
                  <a:pt x="127004" y="272856"/>
                </a:cubicBezTo>
                <a:close/>
                <a:moveTo>
                  <a:pt x="297600" y="222543"/>
                </a:moveTo>
                <a:lnTo>
                  <a:pt x="304477" y="222543"/>
                </a:lnTo>
                <a:lnTo>
                  <a:pt x="311260" y="222543"/>
                </a:lnTo>
                <a:cubicBezTo>
                  <a:pt x="343291" y="222543"/>
                  <a:pt x="369198" y="248506"/>
                  <a:pt x="369198" y="280395"/>
                </a:cubicBezTo>
                <a:lnTo>
                  <a:pt x="369198" y="344455"/>
                </a:lnTo>
                <a:cubicBezTo>
                  <a:pt x="369198" y="354520"/>
                  <a:pt x="364017" y="363456"/>
                  <a:pt x="356198" y="368536"/>
                </a:cubicBezTo>
                <a:lnTo>
                  <a:pt x="356198" y="430432"/>
                </a:lnTo>
                <a:cubicBezTo>
                  <a:pt x="356198" y="431561"/>
                  <a:pt x="356857" y="432502"/>
                  <a:pt x="357893" y="433066"/>
                </a:cubicBezTo>
                <a:cubicBezTo>
                  <a:pt x="366655" y="437299"/>
                  <a:pt x="409520" y="459029"/>
                  <a:pt x="449275" y="491576"/>
                </a:cubicBezTo>
                <a:cubicBezTo>
                  <a:pt x="456435" y="497502"/>
                  <a:pt x="460580" y="506251"/>
                  <a:pt x="460580" y="515563"/>
                </a:cubicBezTo>
                <a:lnTo>
                  <a:pt x="460580" y="559493"/>
                </a:lnTo>
                <a:lnTo>
                  <a:pt x="304477" y="559493"/>
                </a:lnTo>
                <a:lnTo>
                  <a:pt x="148187" y="559493"/>
                </a:lnTo>
                <a:lnTo>
                  <a:pt x="148187" y="515563"/>
                </a:lnTo>
                <a:cubicBezTo>
                  <a:pt x="148187" y="506251"/>
                  <a:pt x="152332" y="497502"/>
                  <a:pt x="159492" y="491576"/>
                </a:cubicBezTo>
                <a:cubicBezTo>
                  <a:pt x="199342" y="459029"/>
                  <a:pt x="242206" y="437299"/>
                  <a:pt x="250967" y="433066"/>
                </a:cubicBezTo>
                <a:cubicBezTo>
                  <a:pt x="252004" y="432502"/>
                  <a:pt x="252569" y="431561"/>
                  <a:pt x="252569" y="430432"/>
                </a:cubicBezTo>
                <a:lnTo>
                  <a:pt x="252569" y="368536"/>
                </a:lnTo>
                <a:cubicBezTo>
                  <a:pt x="244844" y="363456"/>
                  <a:pt x="239663" y="354520"/>
                  <a:pt x="239663" y="344455"/>
                </a:cubicBezTo>
                <a:lnTo>
                  <a:pt x="239663" y="280395"/>
                </a:lnTo>
                <a:cubicBezTo>
                  <a:pt x="239663" y="248412"/>
                  <a:pt x="265664" y="222543"/>
                  <a:pt x="297600" y="222543"/>
                </a:cubicBezTo>
                <a:close/>
                <a:moveTo>
                  <a:pt x="492495" y="40775"/>
                </a:moveTo>
                <a:cubicBezTo>
                  <a:pt x="488350" y="40775"/>
                  <a:pt x="487596" y="41528"/>
                  <a:pt x="487502" y="45854"/>
                </a:cubicBezTo>
                <a:lnTo>
                  <a:pt x="487502" y="51498"/>
                </a:lnTo>
                <a:cubicBezTo>
                  <a:pt x="487502" y="57142"/>
                  <a:pt x="487502" y="56953"/>
                  <a:pt x="482038" y="59023"/>
                </a:cubicBezTo>
                <a:cubicBezTo>
                  <a:pt x="469036" y="63726"/>
                  <a:pt x="460934" y="72661"/>
                  <a:pt x="460086" y="86864"/>
                </a:cubicBezTo>
                <a:cubicBezTo>
                  <a:pt x="459332" y="99374"/>
                  <a:pt x="465833" y="107934"/>
                  <a:pt x="476196" y="114048"/>
                </a:cubicBezTo>
                <a:cubicBezTo>
                  <a:pt x="482414" y="117810"/>
                  <a:pt x="489480" y="120068"/>
                  <a:pt x="496264" y="123078"/>
                </a:cubicBezTo>
                <a:cubicBezTo>
                  <a:pt x="498902" y="124206"/>
                  <a:pt x="501445" y="125617"/>
                  <a:pt x="503706" y="127310"/>
                </a:cubicBezTo>
                <a:cubicBezTo>
                  <a:pt x="510207" y="132578"/>
                  <a:pt x="508982" y="141513"/>
                  <a:pt x="501257" y="144900"/>
                </a:cubicBezTo>
                <a:cubicBezTo>
                  <a:pt x="497112" y="146781"/>
                  <a:pt x="492778" y="147157"/>
                  <a:pt x="488350" y="146687"/>
                </a:cubicBezTo>
                <a:cubicBezTo>
                  <a:pt x="481472" y="145746"/>
                  <a:pt x="474783" y="144053"/>
                  <a:pt x="468659" y="140761"/>
                </a:cubicBezTo>
                <a:cubicBezTo>
                  <a:pt x="464985" y="138880"/>
                  <a:pt x="463949" y="139350"/>
                  <a:pt x="462724" y="143301"/>
                </a:cubicBezTo>
                <a:cubicBezTo>
                  <a:pt x="461593" y="146687"/>
                  <a:pt x="460557" y="150167"/>
                  <a:pt x="459709" y="153553"/>
                </a:cubicBezTo>
                <a:cubicBezTo>
                  <a:pt x="458484" y="158162"/>
                  <a:pt x="458861" y="159291"/>
                  <a:pt x="463572" y="161548"/>
                </a:cubicBezTo>
                <a:cubicBezTo>
                  <a:pt x="469130" y="164370"/>
                  <a:pt x="475160" y="165687"/>
                  <a:pt x="481284" y="166722"/>
                </a:cubicBezTo>
                <a:cubicBezTo>
                  <a:pt x="486089" y="167474"/>
                  <a:pt x="486371" y="167568"/>
                  <a:pt x="486371" y="172647"/>
                </a:cubicBezTo>
                <a:lnTo>
                  <a:pt x="486371" y="179420"/>
                </a:lnTo>
                <a:cubicBezTo>
                  <a:pt x="486371" y="182147"/>
                  <a:pt x="487690" y="183934"/>
                  <a:pt x="490611" y="183934"/>
                </a:cubicBezTo>
                <a:cubicBezTo>
                  <a:pt x="493908" y="184029"/>
                  <a:pt x="497300" y="184029"/>
                  <a:pt x="500503" y="183934"/>
                </a:cubicBezTo>
                <a:cubicBezTo>
                  <a:pt x="503330" y="183934"/>
                  <a:pt x="504649" y="182430"/>
                  <a:pt x="504649" y="179608"/>
                </a:cubicBezTo>
                <a:cubicBezTo>
                  <a:pt x="504649" y="176504"/>
                  <a:pt x="504837" y="173494"/>
                  <a:pt x="504649" y="170390"/>
                </a:cubicBezTo>
                <a:cubicBezTo>
                  <a:pt x="504554" y="167192"/>
                  <a:pt x="505968" y="165687"/>
                  <a:pt x="508982" y="164840"/>
                </a:cubicBezTo>
                <a:cubicBezTo>
                  <a:pt x="515860" y="162959"/>
                  <a:pt x="521889" y="159197"/>
                  <a:pt x="526412" y="153647"/>
                </a:cubicBezTo>
                <a:cubicBezTo>
                  <a:pt x="538942" y="138221"/>
                  <a:pt x="534231" y="115835"/>
                  <a:pt x="516237" y="105865"/>
                </a:cubicBezTo>
                <a:cubicBezTo>
                  <a:pt x="510584" y="102761"/>
                  <a:pt x="504554" y="100503"/>
                  <a:pt x="498619" y="97964"/>
                </a:cubicBezTo>
                <a:cubicBezTo>
                  <a:pt x="495227" y="96647"/>
                  <a:pt x="492024" y="94860"/>
                  <a:pt x="489104" y="92602"/>
                </a:cubicBezTo>
                <a:cubicBezTo>
                  <a:pt x="483451" y="88087"/>
                  <a:pt x="484581" y="80657"/>
                  <a:pt x="491270" y="77835"/>
                </a:cubicBezTo>
                <a:cubicBezTo>
                  <a:pt x="493155" y="76894"/>
                  <a:pt x="495133" y="76706"/>
                  <a:pt x="497112" y="76518"/>
                </a:cubicBezTo>
                <a:cubicBezTo>
                  <a:pt x="504931" y="76142"/>
                  <a:pt x="512186" y="77553"/>
                  <a:pt x="519252" y="80939"/>
                </a:cubicBezTo>
                <a:cubicBezTo>
                  <a:pt x="522643" y="82538"/>
                  <a:pt x="523868" y="82067"/>
                  <a:pt x="524998" y="78399"/>
                </a:cubicBezTo>
                <a:cubicBezTo>
                  <a:pt x="526317" y="74543"/>
                  <a:pt x="527260" y="70686"/>
                  <a:pt x="528390" y="66736"/>
                </a:cubicBezTo>
                <a:cubicBezTo>
                  <a:pt x="529144" y="64102"/>
                  <a:pt x="528296" y="62503"/>
                  <a:pt x="525752" y="61374"/>
                </a:cubicBezTo>
                <a:cubicBezTo>
                  <a:pt x="521230" y="59399"/>
                  <a:pt x="516708" y="57988"/>
                  <a:pt x="511809" y="57236"/>
                </a:cubicBezTo>
                <a:cubicBezTo>
                  <a:pt x="505402" y="56201"/>
                  <a:pt x="505402" y="56201"/>
                  <a:pt x="505402" y="49805"/>
                </a:cubicBezTo>
                <a:cubicBezTo>
                  <a:pt x="505402" y="40775"/>
                  <a:pt x="505402" y="40775"/>
                  <a:pt x="496358" y="40775"/>
                </a:cubicBezTo>
                <a:close/>
                <a:moveTo>
                  <a:pt x="496111" y="0"/>
                </a:moveTo>
                <a:cubicBezTo>
                  <a:pt x="524951" y="0"/>
                  <a:pt x="553781" y="10958"/>
                  <a:pt x="575779" y="32874"/>
                </a:cubicBezTo>
                <a:cubicBezTo>
                  <a:pt x="619776" y="76894"/>
                  <a:pt x="619776" y="148192"/>
                  <a:pt x="575779" y="192024"/>
                </a:cubicBezTo>
                <a:cubicBezTo>
                  <a:pt x="538754" y="229083"/>
                  <a:pt x="482226" y="234821"/>
                  <a:pt x="438982" y="209519"/>
                </a:cubicBezTo>
                <a:lnTo>
                  <a:pt x="438700" y="209237"/>
                </a:lnTo>
                <a:cubicBezTo>
                  <a:pt x="421742" y="222029"/>
                  <a:pt x="403559" y="224286"/>
                  <a:pt x="390840" y="222311"/>
                </a:cubicBezTo>
                <a:cubicBezTo>
                  <a:pt x="386600" y="221653"/>
                  <a:pt x="385752" y="215915"/>
                  <a:pt x="389615" y="214034"/>
                </a:cubicBezTo>
                <a:cubicBezTo>
                  <a:pt x="401297" y="208202"/>
                  <a:pt x="408552" y="196915"/>
                  <a:pt x="412886" y="187791"/>
                </a:cubicBezTo>
                <a:lnTo>
                  <a:pt x="411567" y="187038"/>
                </a:lnTo>
                <a:cubicBezTo>
                  <a:pt x="372374" y="142736"/>
                  <a:pt x="374070" y="75201"/>
                  <a:pt x="416371" y="32874"/>
                </a:cubicBezTo>
                <a:cubicBezTo>
                  <a:pt x="438417" y="10958"/>
                  <a:pt x="467270" y="0"/>
                  <a:pt x="496111" y="0"/>
                </a:cubicBezTo>
                <a:close/>
              </a:path>
            </a:pathLst>
          </a:custGeom>
          <a:solidFill>
            <a:schemeClr val="bg1"/>
          </a:solidFill>
          <a:ln w="28575"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16339" y="-4809"/>
            <a:ext cx="10850563" cy="1028699"/>
          </a:xfrm>
        </p:spPr>
        <p:txBody>
          <a:bodyPr/>
          <a:lstStyle/>
          <a:p>
            <a:r>
              <a:rPr lang="zh-CN" altLang="en-US" dirty="0"/>
              <a:t>产品形态</a:t>
            </a:r>
            <a:endParaRPr lang="zh-CN" altLang="en-US" dirty="0"/>
          </a:p>
        </p:txBody>
      </p:sp>
      <p:grpSp>
        <p:nvGrpSpPr>
          <p:cNvPr id="47" name="217663" descr="OQAAAB+LCAAAAAAABACrVlIpqSxIVbJSCs5NLCpxyUxML0rM9SxJzVXSUfJMUbLKK83J0VFyysxLycxLdy/KLy0oVrKKjq0FALpUkis5AAAA" title="iSlide™ 版权声明  COPYRIGHT NOTICE"/>
          <p:cNvGrpSpPr>
            <a:grpSpLocks noChangeAspect="1"/>
          </p:cNvGrpSpPr>
          <p:nvPr/>
        </p:nvGrpSpPr>
        <p:grpSpPr>
          <a:xfrm>
            <a:off x="673101" y="751152"/>
            <a:ext cx="9808655" cy="4269504"/>
            <a:chOff x="673101" y="223881"/>
            <a:chExt cx="9808655" cy="4269504"/>
          </a:xfrm>
        </p:grpSpPr>
        <p:grpSp>
          <p:nvGrpSpPr>
            <p:cNvPr id="48" name="iṩḷîḓê"/>
            <p:cNvGrpSpPr/>
            <p:nvPr/>
          </p:nvGrpSpPr>
          <p:grpSpPr>
            <a:xfrm>
              <a:off x="4714349" y="223881"/>
              <a:ext cx="2763303" cy="2813518"/>
              <a:chOff x="4991666" y="223883"/>
              <a:chExt cx="2483333" cy="2528461"/>
            </a:xfrm>
          </p:grpSpPr>
          <p:sp>
            <p:nvSpPr>
              <p:cNvPr id="78" name="iṥļîďè"/>
              <p:cNvSpPr/>
              <p:nvPr/>
            </p:nvSpPr>
            <p:spPr bwMode="auto">
              <a:xfrm>
                <a:off x="6010392" y="1436290"/>
                <a:ext cx="1075897" cy="1142994"/>
              </a:xfrm>
              <a:custGeom>
                <a:avLst/>
                <a:gdLst>
                  <a:gd name="T0" fmla="*/ 163 w 270"/>
                  <a:gd name="T1" fmla="*/ 37 h 287"/>
                  <a:gd name="T2" fmla="*/ 227 w 270"/>
                  <a:gd name="T3" fmla="*/ 267 h 287"/>
                  <a:gd name="T4" fmla="*/ 245 w 270"/>
                  <a:gd name="T5" fmla="*/ 278 h 287"/>
                  <a:gd name="T6" fmla="*/ 258 w 270"/>
                  <a:gd name="T7" fmla="*/ 276 h 287"/>
                  <a:gd name="T8" fmla="*/ 268 w 270"/>
                  <a:gd name="T9" fmla="*/ 259 h 287"/>
                  <a:gd name="T10" fmla="*/ 202 w 270"/>
                  <a:gd name="T11" fmla="*/ 17 h 287"/>
                  <a:gd name="T12" fmla="*/ 162 w 270"/>
                  <a:gd name="T13" fmla="*/ 17 h 287"/>
                  <a:gd name="T14" fmla="*/ 140 w 270"/>
                  <a:gd name="T15" fmla="*/ 0 h 287"/>
                  <a:gd name="T16" fmla="*/ 140 w 270"/>
                  <a:gd name="T17" fmla="*/ 0 h 287"/>
                  <a:gd name="T18" fmla="*/ 118 w 270"/>
                  <a:gd name="T19" fmla="*/ 17 h 287"/>
                  <a:gd name="T20" fmla="*/ 78 w 270"/>
                  <a:gd name="T21" fmla="*/ 17 h 287"/>
                  <a:gd name="T22" fmla="*/ 2 w 270"/>
                  <a:gd name="T23" fmla="*/ 266 h 287"/>
                  <a:gd name="T24" fmla="*/ 13 w 270"/>
                  <a:gd name="T25" fmla="*/ 283 h 287"/>
                  <a:gd name="T26" fmla="*/ 25 w 270"/>
                  <a:gd name="T27" fmla="*/ 285 h 287"/>
                  <a:gd name="T28" fmla="*/ 44 w 270"/>
                  <a:gd name="T29" fmla="*/ 274 h 287"/>
                  <a:gd name="T30" fmla="*/ 117 w 270"/>
                  <a:gd name="T31" fmla="*/ 30 h 287"/>
                  <a:gd name="T32" fmla="*/ 117 w 270"/>
                  <a:gd name="T33" fmla="*/ 191 h 287"/>
                  <a:gd name="T34" fmla="*/ 140 w 270"/>
                  <a:gd name="T35" fmla="*/ 214 h 287"/>
                  <a:gd name="T36" fmla="*/ 140 w 270"/>
                  <a:gd name="T37" fmla="*/ 214 h 287"/>
                  <a:gd name="T38" fmla="*/ 163 w 270"/>
                  <a:gd name="T39" fmla="*/ 191 h 287"/>
                  <a:gd name="T40" fmla="*/ 163 w 270"/>
                  <a:gd name="T41" fmla="*/ 37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0" h="287">
                    <a:moveTo>
                      <a:pt x="163" y="37"/>
                    </a:moveTo>
                    <a:cubicBezTo>
                      <a:pt x="227" y="267"/>
                      <a:pt x="227" y="267"/>
                      <a:pt x="227" y="267"/>
                    </a:cubicBezTo>
                    <a:cubicBezTo>
                      <a:pt x="229" y="275"/>
                      <a:pt x="237" y="280"/>
                      <a:pt x="245" y="278"/>
                    </a:cubicBezTo>
                    <a:cubicBezTo>
                      <a:pt x="258" y="276"/>
                      <a:pt x="258" y="276"/>
                      <a:pt x="258" y="276"/>
                    </a:cubicBezTo>
                    <a:cubicBezTo>
                      <a:pt x="266" y="274"/>
                      <a:pt x="270" y="267"/>
                      <a:pt x="268" y="259"/>
                    </a:cubicBezTo>
                    <a:cubicBezTo>
                      <a:pt x="202" y="17"/>
                      <a:pt x="202" y="17"/>
                      <a:pt x="202" y="17"/>
                    </a:cubicBezTo>
                    <a:cubicBezTo>
                      <a:pt x="162" y="17"/>
                      <a:pt x="162" y="17"/>
                      <a:pt x="162" y="17"/>
                    </a:cubicBezTo>
                    <a:cubicBezTo>
                      <a:pt x="160" y="8"/>
                      <a:pt x="151" y="0"/>
                      <a:pt x="140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0" y="0"/>
                      <a:pt x="121" y="8"/>
                      <a:pt x="118" y="17"/>
                    </a:cubicBezTo>
                    <a:cubicBezTo>
                      <a:pt x="78" y="17"/>
                      <a:pt x="78" y="17"/>
                      <a:pt x="78" y="17"/>
                    </a:cubicBezTo>
                    <a:cubicBezTo>
                      <a:pt x="2" y="266"/>
                      <a:pt x="2" y="266"/>
                      <a:pt x="2" y="266"/>
                    </a:cubicBezTo>
                    <a:cubicBezTo>
                      <a:pt x="0" y="274"/>
                      <a:pt x="5" y="282"/>
                      <a:pt x="13" y="283"/>
                    </a:cubicBezTo>
                    <a:cubicBezTo>
                      <a:pt x="25" y="285"/>
                      <a:pt x="25" y="285"/>
                      <a:pt x="25" y="285"/>
                    </a:cubicBezTo>
                    <a:cubicBezTo>
                      <a:pt x="33" y="287"/>
                      <a:pt x="42" y="282"/>
                      <a:pt x="44" y="274"/>
                    </a:cubicBezTo>
                    <a:cubicBezTo>
                      <a:pt x="117" y="30"/>
                      <a:pt x="117" y="30"/>
                      <a:pt x="117" y="30"/>
                    </a:cubicBezTo>
                    <a:cubicBezTo>
                      <a:pt x="117" y="191"/>
                      <a:pt x="117" y="191"/>
                      <a:pt x="117" y="191"/>
                    </a:cubicBezTo>
                    <a:cubicBezTo>
                      <a:pt x="117" y="204"/>
                      <a:pt x="128" y="214"/>
                      <a:pt x="140" y="214"/>
                    </a:cubicBezTo>
                    <a:cubicBezTo>
                      <a:pt x="140" y="214"/>
                      <a:pt x="140" y="214"/>
                      <a:pt x="140" y="214"/>
                    </a:cubicBezTo>
                    <a:cubicBezTo>
                      <a:pt x="153" y="214"/>
                      <a:pt x="163" y="204"/>
                      <a:pt x="163" y="191"/>
                    </a:cubicBezTo>
                    <a:lnTo>
                      <a:pt x="163" y="37"/>
                    </a:lnTo>
                    <a:close/>
                  </a:path>
                </a:pathLst>
              </a:custGeom>
              <a:solidFill>
                <a:srgbClr val="FEE3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80" name="ïšḻîḑe"/>
              <p:cNvSpPr/>
              <p:nvPr/>
            </p:nvSpPr>
            <p:spPr bwMode="auto">
              <a:xfrm>
                <a:off x="6477770" y="1591312"/>
                <a:ext cx="182787" cy="83296"/>
              </a:xfrm>
              <a:custGeom>
                <a:avLst/>
                <a:gdLst>
                  <a:gd name="T0" fmla="*/ 0 w 79"/>
                  <a:gd name="T1" fmla="*/ 0 h 36"/>
                  <a:gd name="T2" fmla="*/ 0 w 79"/>
                  <a:gd name="T3" fmla="*/ 36 h 36"/>
                  <a:gd name="T4" fmla="*/ 79 w 79"/>
                  <a:gd name="T5" fmla="*/ 33 h 36"/>
                  <a:gd name="T6" fmla="*/ 79 w 79"/>
                  <a:gd name="T7" fmla="*/ 0 h 36"/>
                  <a:gd name="T8" fmla="*/ 0 w 79"/>
                  <a:gd name="T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" h="36">
                    <a:moveTo>
                      <a:pt x="0" y="0"/>
                    </a:moveTo>
                    <a:lnTo>
                      <a:pt x="0" y="36"/>
                    </a:lnTo>
                    <a:lnTo>
                      <a:pt x="79" y="33"/>
                    </a:lnTo>
                    <a:lnTo>
                      <a:pt x="7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BA3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81" name="iṥlîḑé"/>
              <p:cNvSpPr/>
              <p:nvPr/>
            </p:nvSpPr>
            <p:spPr bwMode="auto">
              <a:xfrm>
                <a:off x="6665183" y="1591312"/>
                <a:ext cx="194355" cy="78668"/>
              </a:xfrm>
              <a:custGeom>
                <a:avLst/>
                <a:gdLst>
                  <a:gd name="T0" fmla="*/ 0 w 84"/>
                  <a:gd name="T1" fmla="*/ 0 h 34"/>
                  <a:gd name="T2" fmla="*/ 75 w 84"/>
                  <a:gd name="T3" fmla="*/ 0 h 34"/>
                  <a:gd name="T4" fmla="*/ 84 w 84"/>
                  <a:gd name="T5" fmla="*/ 33 h 34"/>
                  <a:gd name="T6" fmla="*/ 10 w 84"/>
                  <a:gd name="T7" fmla="*/ 34 h 34"/>
                  <a:gd name="T8" fmla="*/ 0 w 84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34">
                    <a:moveTo>
                      <a:pt x="0" y="0"/>
                    </a:moveTo>
                    <a:lnTo>
                      <a:pt x="75" y="0"/>
                    </a:lnTo>
                    <a:lnTo>
                      <a:pt x="84" y="33"/>
                    </a:lnTo>
                    <a:lnTo>
                      <a:pt x="10" y="3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BA3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84" name="iṩlïḍè"/>
              <p:cNvSpPr/>
              <p:nvPr/>
            </p:nvSpPr>
            <p:spPr bwMode="auto">
              <a:xfrm>
                <a:off x="5543013" y="223883"/>
                <a:ext cx="1931986" cy="1372057"/>
              </a:xfrm>
              <a:custGeom>
                <a:avLst/>
                <a:gdLst>
                  <a:gd name="T0" fmla="*/ 33 w 484"/>
                  <a:gd name="T1" fmla="*/ 0 h 344"/>
                  <a:gd name="T2" fmla="*/ 451 w 484"/>
                  <a:gd name="T3" fmla="*/ 0 h 344"/>
                  <a:gd name="T4" fmla="*/ 484 w 484"/>
                  <a:gd name="T5" fmla="*/ 33 h 344"/>
                  <a:gd name="T6" fmla="*/ 484 w 484"/>
                  <a:gd name="T7" fmla="*/ 311 h 344"/>
                  <a:gd name="T8" fmla="*/ 451 w 484"/>
                  <a:gd name="T9" fmla="*/ 344 h 344"/>
                  <a:gd name="T10" fmla="*/ 33 w 484"/>
                  <a:gd name="T11" fmla="*/ 344 h 344"/>
                  <a:gd name="T12" fmla="*/ 0 w 484"/>
                  <a:gd name="T13" fmla="*/ 311 h 344"/>
                  <a:gd name="T14" fmla="*/ 0 w 484"/>
                  <a:gd name="T15" fmla="*/ 33 h 344"/>
                  <a:gd name="T16" fmla="*/ 33 w 484"/>
                  <a:gd name="T17" fmla="*/ 0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4" h="344">
                    <a:moveTo>
                      <a:pt x="33" y="0"/>
                    </a:moveTo>
                    <a:cubicBezTo>
                      <a:pt x="451" y="0"/>
                      <a:pt x="451" y="0"/>
                      <a:pt x="451" y="0"/>
                    </a:cubicBezTo>
                    <a:cubicBezTo>
                      <a:pt x="469" y="0"/>
                      <a:pt x="484" y="15"/>
                      <a:pt x="484" y="33"/>
                    </a:cubicBezTo>
                    <a:cubicBezTo>
                      <a:pt x="484" y="311"/>
                      <a:pt x="484" y="311"/>
                      <a:pt x="484" y="311"/>
                    </a:cubicBezTo>
                    <a:cubicBezTo>
                      <a:pt x="484" y="329"/>
                      <a:pt x="469" y="344"/>
                      <a:pt x="451" y="344"/>
                    </a:cubicBezTo>
                    <a:cubicBezTo>
                      <a:pt x="33" y="344"/>
                      <a:pt x="33" y="344"/>
                      <a:pt x="33" y="344"/>
                    </a:cubicBezTo>
                    <a:cubicBezTo>
                      <a:pt x="15" y="344"/>
                      <a:pt x="0" y="329"/>
                      <a:pt x="0" y="311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15"/>
                      <a:pt x="15" y="0"/>
                      <a:pt x="33" y="0"/>
                    </a:cubicBezTo>
                    <a:close/>
                  </a:path>
                </a:pathLst>
              </a:custGeom>
              <a:solidFill>
                <a:srgbClr val="DABD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85" name="îsḻíďe"/>
              <p:cNvSpPr/>
              <p:nvPr/>
            </p:nvSpPr>
            <p:spPr bwMode="auto">
              <a:xfrm>
                <a:off x="5603171" y="223883"/>
                <a:ext cx="1871828" cy="1328095"/>
              </a:xfrm>
              <a:custGeom>
                <a:avLst/>
                <a:gdLst>
                  <a:gd name="T0" fmla="*/ 32 w 469"/>
                  <a:gd name="T1" fmla="*/ 0 h 333"/>
                  <a:gd name="T2" fmla="*/ 437 w 469"/>
                  <a:gd name="T3" fmla="*/ 0 h 333"/>
                  <a:gd name="T4" fmla="*/ 469 w 469"/>
                  <a:gd name="T5" fmla="*/ 32 h 333"/>
                  <a:gd name="T6" fmla="*/ 469 w 469"/>
                  <a:gd name="T7" fmla="*/ 301 h 333"/>
                  <a:gd name="T8" fmla="*/ 437 w 469"/>
                  <a:gd name="T9" fmla="*/ 333 h 333"/>
                  <a:gd name="T10" fmla="*/ 32 w 469"/>
                  <a:gd name="T11" fmla="*/ 333 h 333"/>
                  <a:gd name="T12" fmla="*/ 0 w 469"/>
                  <a:gd name="T13" fmla="*/ 301 h 333"/>
                  <a:gd name="T14" fmla="*/ 0 w 469"/>
                  <a:gd name="T15" fmla="*/ 32 h 333"/>
                  <a:gd name="T16" fmla="*/ 32 w 469"/>
                  <a:gd name="T17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9" h="333">
                    <a:moveTo>
                      <a:pt x="32" y="0"/>
                    </a:moveTo>
                    <a:cubicBezTo>
                      <a:pt x="437" y="0"/>
                      <a:pt x="437" y="0"/>
                      <a:pt x="437" y="0"/>
                    </a:cubicBezTo>
                    <a:cubicBezTo>
                      <a:pt x="455" y="0"/>
                      <a:pt x="469" y="14"/>
                      <a:pt x="469" y="32"/>
                    </a:cubicBezTo>
                    <a:cubicBezTo>
                      <a:pt x="469" y="301"/>
                      <a:pt x="469" y="301"/>
                      <a:pt x="469" y="301"/>
                    </a:cubicBezTo>
                    <a:cubicBezTo>
                      <a:pt x="469" y="318"/>
                      <a:pt x="455" y="333"/>
                      <a:pt x="437" y="333"/>
                    </a:cubicBezTo>
                    <a:cubicBezTo>
                      <a:pt x="32" y="333"/>
                      <a:pt x="32" y="333"/>
                      <a:pt x="32" y="333"/>
                    </a:cubicBezTo>
                    <a:cubicBezTo>
                      <a:pt x="14" y="333"/>
                      <a:pt x="0" y="318"/>
                      <a:pt x="0" y="301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lose/>
                  </a:path>
                </a:pathLst>
              </a:custGeom>
              <a:solidFill>
                <a:srgbClr val="FEE3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87" name="ïṧlíḋè"/>
              <p:cNvSpPr/>
              <p:nvPr/>
            </p:nvSpPr>
            <p:spPr bwMode="auto">
              <a:xfrm>
                <a:off x="5693406" y="288668"/>
                <a:ext cx="1689040" cy="1193897"/>
              </a:xfrm>
              <a:custGeom>
                <a:avLst/>
                <a:gdLst>
                  <a:gd name="T0" fmla="*/ 29 w 423"/>
                  <a:gd name="T1" fmla="*/ 0 h 300"/>
                  <a:gd name="T2" fmla="*/ 394 w 423"/>
                  <a:gd name="T3" fmla="*/ 0 h 300"/>
                  <a:gd name="T4" fmla="*/ 423 w 423"/>
                  <a:gd name="T5" fmla="*/ 29 h 300"/>
                  <a:gd name="T6" fmla="*/ 423 w 423"/>
                  <a:gd name="T7" fmla="*/ 271 h 300"/>
                  <a:gd name="T8" fmla="*/ 394 w 423"/>
                  <a:gd name="T9" fmla="*/ 300 h 300"/>
                  <a:gd name="T10" fmla="*/ 29 w 423"/>
                  <a:gd name="T11" fmla="*/ 300 h 300"/>
                  <a:gd name="T12" fmla="*/ 0 w 423"/>
                  <a:gd name="T13" fmla="*/ 271 h 300"/>
                  <a:gd name="T14" fmla="*/ 0 w 423"/>
                  <a:gd name="T15" fmla="*/ 29 h 300"/>
                  <a:gd name="T16" fmla="*/ 29 w 423"/>
                  <a:gd name="T17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3" h="300">
                    <a:moveTo>
                      <a:pt x="29" y="0"/>
                    </a:moveTo>
                    <a:cubicBezTo>
                      <a:pt x="394" y="0"/>
                      <a:pt x="394" y="0"/>
                      <a:pt x="394" y="0"/>
                    </a:cubicBezTo>
                    <a:cubicBezTo>
                      <a:pt x="410" y="0"/>
                      <a:pt x="423" y="13"/>
                      <a:pt x="423" y="29"/>
                    </a:cubicBezTo>
                    <a:cubicBezTo>
                      <a:pt x="423" y="271"/>
                      <a:pt x="423" y="271"/>
                      <a:pt x="423" y="271"/>
                    </a:cubicBezTo>
                    <a:cubicBezTo>
                      <a:pt x="423" y="287"/>
                      <a:pt x="410" y="300"/>
                      <a:pt x="394" y="300"/>
                    </a:cubicBezTo>
                    <a:cubicBezTo>
                      <a:pt x="29" y="300"/>
                      <a:pt x="29" y="300"/>
                      <a:pt x="29" y="300"/>
                    </a:cubicBezTo>
                    <a:cubicBezTo>
                      <a:pt x="13" y="300"/>
                      <a:pt x="0" y="287"/>
                      <a:pt x="0" y="271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lose/>
                  </a:path>
                </a:pathLst>
              </a:custGeom>
              <a:solidFill>
                <a:srgbClr val="5252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8" name="îṥḷïdê"/>
              <p:cNvSpPr/>
              <p:nvPr/>
            </p:nvSpPr>
            <p:spPr bwMode="auto">
              <a:xfrm>
                <a:off x="5686465" y="279413"/>
                <a:ext cx="1702923" cy="1214721"/>
              </a:xfrm>
              <a:custGeom>
                <a:avLst/>
                <a:gdLst>
                  <a:gd name="T0" fmla="*/ 31 w 427"/>
                  <a:gd name="T1" fmla="*/ 0 h 305"/>
                  <a:gd name="T2" fmla="*/ 396 w 427"/>
                  <a:gd name="T3" fmla="*/ 0 h 305"/>
                  <a:gd name="T4" fmla="*/ 418 w 427"/>
                  <a:gd name="T5" fmla="*/ 9 h 305"/>
                  <a:gd name="T6" fmla="*/ 427 w 427"/>
                  <a:gd name="T7" fmla="*/ 31 h 305"/>
                  <a:gd name="T8" fmla="*/ 427 w 427"/>
                  <a:gd name="T9" fmla="*/ 273 h 305"/>
                  <a:gd name="T10" fmla="*/ 418 w 427"/>
                  <a:gd name="T11" fmla="*/ 295 h 305"/>
                  <a:gd name="T12" fmla="*/ 396 w 427"/>
                  <a:gd name="T13" fmla="*/ 305 h 305"/>
                  <a:gd name="T14" fmla="*/ 31 w 427"/>
                  <a:gd name="T15" fmla="*/ 305 h 305"/>
                  <a:gd name="T16" fmla="*/ 9 w 427"/>
                  <a:gd name="T17" fmla="*/ 295 h 305"/>
                  <a:gd name="T18" fmla="*/ 0 w 427"/>
                  <a:gd name="T19" fmla="*/ 273 h 305"/>
                  <a:gd name="T20" fmla="*/ 0 w 427"/>
                  <a:gd name="T21" fmla="*/ 31 h 305"/>
                  <a:gd name="T22" fmla="*/ 9 w 427"/>
                  <a:gd name="T23" fmla="*/ 9 h 305"/>
                  <a:gd name="T24" fmla="*/ 31 w 427"/>
                  <a:gd name="T25" fmla="*/ 0 h 305"/>
                  <a:gd name="T26" fmla="*/ 396 w 427"/>
                  <a:gd name="T27" fmla="*/ 4 h 305"/>
                  <a:gd name="T28" fmla="*/ 31 w 427"/>
                  <a:gd name="T29" fmla="*/ 4 h 305"/>
                  <a:gd name="T30" fmla="*/ 12 w 427"/>
                  <a:gd name="T31" fmla="*/ 12 h 305"/>
                  <a:gd name="T32" fmla="*/ 5 w 427"/>
                  <a:gd name="T33" fmla="*/ 31 h 305"/>
                  <a:gd name="T34" fmla="*/ 5 w 427"/>
                  <a:gd name="T35" fmla="*/ 273 h 305"/>
                  <a:gd name="T36" fmla="*/ 12 w 427"/>
                  <a:gd name="T37" fmla="*/ 292 h 305"/>
                  <a:gd name="T38" fmla="*/ 31 w 427"/>
                  <a:gd name="T39" fmla="*/ 300 h 305"/>
                  <a:gd name="T40" fmla="*/ 396 w 427"/>
                  <a:gd name="T41" fmla="*/ 300 h 305"/>
                  <a:gd name="T42" fmla="*/ 415 w 427"/>
                  <a:gd name="T43" fmla="*/ 292 h 305"/>
                  <a:gd name="T44" fmla="*/ 423 w 427"/>
                  <a:gd name="T45" fmla="*/ 273 h 305"/>
                  <a:gd name="T46" fmla="*/ 423 w 427"/>
                  <a:gd name="T47" fmla="*/ 31 h 305"/>
                  <a:gd name="T48" fmla="*/ 415 w 427"/>
                  <a:gd name="T49" fmla="*/ 12 h 305"/>
                  <a:gd name="T50" fmla="*/ 396 w 427"/>
                  <a:gd name="T51" fmla="*/ 4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27" h="305">
                    <a:moveTo>
                      <a:pt x="31" y="0"/>
                    </a:moveTo>
                    <a:cubicBezTo>
                      <a:pt x="396" y="0"/>
                      <a:pt x="396" y="0"/>
                      <a:pt x="396" y="0"/>
                    </a:cubicBezTo>
                    <a:cubicBezTo>
                      <a:pt x="405" y="0"/>
                      <a:pt x="413" y="3"/>
                      <a:pt x="418" y="9"/>
                    </a:cubicBezTo>
                    <a:cubicBezTo>
                      <a:pt x="424" y="15"/>
                      <a:pt x="427" y="22"/>
                      <a:pt x="427" y="31"/>
                    </a:cubicBezTo>
                    <a:cubicBezTo>
                      <a:pt x="427" y="273"/>
                      <a:pt x="427" y="273"/>
                      <a:pt x="427" y="273"/>
                    </a:cubicBezTo>
                    <a:cubicBezTo>
                      <a:pt x="427" y="282"/>
                      <a:pt x="424" y="290"/>
                      <a:pt x="418" y="295"/>
                    </a:cubicBezTo>
                    <a:cubicBezTo>
                      <a:pt x="413" y="301"/>
                      <a:pt x="405" y="305"/>
                      <a:pt x="396" y="305"/>
                    </a:cubicBezTo>
                    <a:cubicBezTo>
                      <a:pt x="31" y="305"/>
                      <a:pt x="31" y="305"/>
                      <a:pt x="31" y="305"/>
                    </a:cubicBezTo>
                    <a:cubicBezTo>
                      <a:pt x="23" y="305"/>
                      <a:pt x="15" y="301"/>
                      <a:pt x="9" y="295"/>
                    </a:cubicBezTo>
                    <a:cubicBezTo>
                      <a:pt x="3" y="290"/>
                      <a:pt x="0" y="282"/>
                      <a:pt x="0" y="273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22"/>
                      <a:pt x="3" y="15"/>
                      <a:pt x="9" y="9"/>
                    </a:cubicBezTo>
                    <a:cubicBezTo>
                      <a:pt x="15" y="3"/>
                      <a:pt x="23" y="0"/>
                      <a:pt x="31" y="0"/>
                    </a:cubicBezTo>
                    <a:close/>
                    <a:moveTo>
                      <a:pt x="396" y="4"/>
                    </a:moveTo>
                    <a:cubicBezTo>
                      <a:pt x="31" y="4"/>
                      <a:pt x="31" y="4"/>
                      <a:pt x="31" y="4"/>
                    </a:cubicBezTo>
                    <a:cubicBezTo>
                      <a:pt x="24" y="4"/>
                      <a:pt x="17" y="7"/>
                      <a:pt x="12" y="12"/>
                    </a:cubicBezTo>
                    <a:cubicBezTo>
                      <a:pt x="8" y="17"/>
                      <a:pt x="5" y="24"/>
                      <a:pt x="5" y="31"/>
                    </a:cubicBezTo>
                    <a:cubicBezTo>
                      <a:pt x="5" y="273"/>
                      <a:pt x="5" y="273"/>
                      <a:pt x="5" y="273"/>
                    </a:cubicBezTo>
                    <a:cubicBezTo>
                      <a:pt x="5" y="281"/>
                      <a:pt x="8" y="287"/>
                      <a:pt x="12" y="292"/>
                    </a:cubicBezTo>
                    <a:cubicBezTo>
                      <a:pt x="17" y="297"/>
                      <a:pt x="24" y="300"/>
                      <a:pt x="31" y="300"/>
                    </a:cubicBezTo>
                    <a:cubicBezTo>
                      <a:pt x="396" y="300"/>
                      <a:pt x="396" y="300"/>
                      <a:pt x="396" y="300"/>
                    </a:cubicBezTo>
                    <a:cubicBezTo>
                      <a:pt x="403" y="300"/>
                      <a:pt x="410" y="297"/>
                      <a:pt x="415" y="292"/>
                    </a:cubicBezTo>
                    <a:cubicBezTo>
                      <a:pt x="420" y="287"/>
                      <a:pt x="423" y="281"/>
                      <a:pt x="423" y="273"/>
                    </a:cubicBezTo>
                    <a:cubicBezTo>
                      <a:pt x="423" y="31"/>
                      <a:pt x="423" y="31"/>
                      <a:pt x="423" y="31"/>
                    </a:cubicBezTo>
                    <a:cubicBezTo>
                      <a:pt x="423" y="24"/>
                      <a:pt x="420" y="17"/>
                      <a:pt x="415" y="12"/>
                    </a:cubicBezTo>
                    <a:cubicBezTo>
                      <a:pt x="410" y="7"/>
                      <a:pt x="403" y="4"/>
                      <a:pt x="396" y="4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91" name="ïŝḷíḍe"/>
              <p:cNvSpPr/>
              <p:nvPr/>
            </p:nvSpPr>
            <p:spPr bwMode="auto">
              <a:xfrm>
                <a:off x="6959031" y="1436290"/>
                <a:ext cx="256827" cy="50903"/>
              </a:xfrm>
              <a:custGeom>
                <a:avLst/>
                <a:gdLst>
                  <a:gd name="T0" fmla="*/ 4 w 64"/>
                  <a:gd name="T1" fmla="*/ 0 h 13"/>
                  <a:gd name="T2" fmla="*/ 61 w 64"/>
                  <a:gd name="T3" fmla="*/ 0 h 13"/>
                  <a:gd name="T4" fmla="*/ 63 w 64"/>
                  <a:gd name="T5" fmla="*/ 1 h 13"/>
                  <a:gd name="T6" fmla="*/ 63 w 64"/>
                  <a:gd name="T7" fmla="*/ 1 h 13"/>
                  <a:gd name="T8" fmla="*/ 64 w 64"/>
                  <a:gd name="T9" fmla="*/ 4 h 13"/>
                  <a:gd name="T10" fmla="*/ 64 w 64"/>
                  <a:gd name="T11" fmla="*/ 10 h 13"/>
                  <a:gd name="T12" fmla="*/ 63 w 64"/>
                  <a:gd name="T13" fmla="*/ 12 h 13"/>
                  <a:gd name="T14" fmla="*/ 63 w 64"/>
                  <a:gd name="T15" fmla="*/ 12 h 13"/>
                  <a:gd name="T16" fmla="*/ 61 w 64"/>
                  <a:gd name="T17" fmla="*/ 13 h 13"/>
                  <a:gd name="T18" fmla="*/ 4 w 64"/>
                  <a:gd name="T19" fmla="*/ 13 h 13"/>
                  <a:gd name="T20" fmla="*/ 2 w 64"/>
                  <a:gd name="T21" fmla="*/ 12 h 13"/>
                  <a:gd name="T22" fmla="*/ 2 w 64"/>
                  <a:gd name="T23" fmla="*/ 12 h 13"/>
                  <a:gd name="T24" fmla="*/ 0 w 64"/>
                  <a:gd name="T25" fmla="*/ 10 h 13"/>
                  <a:gd name="T26" fmla="*/ 0 w 64"/>
                  <a:gd name="T27" fmla="*/ 4 h 13"/>
                  <a:gd name="T28" fmla="*/ 2 w 64"/>
                  <a:gd name="T29" fmla="*/ 1 h 13"/>
                  <a:gd name="T30" fmla="*/ 2 w 64"/>
                  <a:gd name="T31" fmla="*/ 1 h 13"/>
                  <a:gd name="T32" fmla="*/ 4 w 64"/>
                  <a:gd name="T33" fmla="*/ 0 h 13"/>
                  <a:gd name="T34" fmla="*/ 61 w 64"/>
                  <a:gd name="T35" fmla="*/ 1 h 13"/>
                  <a:gd name="T36" fmla="*/ 4 w 64"/>
                  <a:gd name="T37" fmla="*/ 1 h 13"/>
                  <a:gd name="T38" fmla="*/ 2 w 64"/>
                  <a:gd name="T39" fmla="*/ 2 h 13"/>
                  <a:gd name="T40" fmla="*/ 2 w 64"/>
                  <a:gd name="T41" fmla="*/ 2 h 13"/>
                  <a:gd name="T42" fmla="*/ 1 w 64"/>
                  <a:gd name="T43" fmla="*/ 4 h 13"/>
                  <a:gd name="T44" fmla="*/ 1 w 64"/>
                  <a:gd name="T45" fmla="*/ 10 h 13"/>
                  <a:gd name="T46" fmla="*/ 2 w 64"/>
                  <a:gd name="T47" fmla="*/ 12 h 13"/>
                  <a:gd name="T48" fmla="*/ 2 w 64"/>
                  <a:gd name="T49" fmla="*/ 12 h 13"/>
                  <a:gd name="T50" fmla="*/ 4 w 64"/>
                  <a:gd name="T51" fmla="*/ 13 h 13"/>
                  <a:gd name="T52" fmla="*/ 61 w 64"/>
                  <a:gd name="T53" fmla="*/ 13 h 13"/>
                  <a:gd name="T54" fmla="*/ 63 w 64"/>
                  <a:gd name="T55" fmla="*/ 12 h 13"/>
                  <a:gd name="T56" fmla="*/ 63 w 64"/>
                  <a:gd name="T57" fmla="*/ 12 h 13"/>
                  <a:gd name="T58" fmla="*/ 63 w 64"/>
                  <a:gd name="T59" fmla="*/ 10 h 13"/>
                  <a:gd name="T60" fmla="*/ 63 w 64"/>
                  <a:gd name="T61" fmla="*/ 4 h 13"/>
                  <a:gd name="T62" fmla="*/ 63 w 64"/>
                  <a:gd name="T63" fmla="*/ 2 h 13"/>
                  <a:gd name="T64" fmla="*/ 63 w 64"/>
                  <a:gd name="T65" fmla="*/ 2 h 13"/>
                  <a:gd name="T66" fmla="*/ 61 w 64"/>
                  <a:gd name="T6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4" h="13">
                    <a:moveTo>
                      <a:pt x="4" y="0"/>
                    </a:moveTo>
                    <a:cubicBezTo>
                      <a:pt x="61" y="0"/>
                      <a:pt x="61" y="0"/>
                      <a:pt x="61" y="0"/>
                    </a:cubicBezTo>
                    <a:cubicBezTo>
                      <a:pt x="62" y="0"/>
                      <a:pt x="63" y="0"/>
                      <a:pt x="63" y="1"/>
                    </a:cubicBezTo>
                    <a:cubicBezTo>
                      <a:pt x="63" y="1"/>
                      <a:pt x="63" y="1"/>
                      <a:pt x="63" y="1"/>
                    </a:cubicBezTo>
                    <a:cubicBezTo>
                      <a:pt x="64" y="2"/>
                      <a:pt x="64" y="3"/>
                      <a:pt x="64" y="4"/>
                    </a:cubicBezTo>
                    <a:cubicBezTo>
                      <a:pt x="64" y="10"/>
                      <a:pt x="64" y="10"/>
                      <a:pt x="64" y="10"/>
                    </a:cubicBezTo>
                    <a:cubicBezTo>
                      <a:pt x="64" y="11"/>
                      <a:pt x="64" y="12"/>
                      <a:pt x="63" y="12"/>
                    </a:cubicBezTo>
                    <a:cubicBezTo>
                      <a:pt x="63" y="12"/>
                      <a:pt x="63" y="12"/>
                      <a:pt x="63" y="12"/>
                    </a:cubicBezTo>
                    <a:cubicBezTo>
                      <a:pt x="63" y="13"/>
                      <a:pt x="62" y="13"/>
                      <a:pt x="61" y="13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3" y="13"/>
                      <a:pt x="2" y="13"/>
                      <a:pt x="2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3" y="0"/>
                      <a:pt x="4" y="0"/>
                    </a:cubicBezTo>
                    <a:close/>
                    <a:moveTo>
                      <a:pt x="61" y="1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1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1" y="3"/>
                      <a:pt x="1" y="4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1"/>
                      <a:pt x="2" y="11"/>
                      <a:pt x="2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3" y="12"/>
                      <a:pt x="3" y="13"/>
                      <a:pt x="4" y="13"/>
                    </a:cubicBezTo>
                    <a:cubicBezTo>
                      <a:pt x="61" y="13"/>
                      <a:pt x="61" y="13"/>
                      <a:pt x="61" y="13"/>
                    </a:cubicBezTo>
                    <a:cubicBezTo>
                      <a:pt x="61" y="13"/>
                      <a:pt x="62" y="12"/>
                      <a:pt x="63" y="12"/>
                    </a:cubicBezTo>
                    <a:cubicBezTo>
                      <a:pt x="63" y="12"/>
                      <a:pt x="63" y="12"/>
                      <a:pt x="63" y="12"/>
                    </a:cubicBezTo>
                    <a:cubicBezTo>
                      <a:pt x="63" y="11"/>
                      <a:pt x="63" y="11"/>
                      <a:pt x="63" y="10"/>
                    </a:cubicBezTo>
                    <a:cubicBezTo>
                      <a:pt x="63" y="4"/>
                      <a:pt x="63" y="4"/>
                      <a:pt x="63" y="4"/>
                    </a:cubicBezTo>
                    <a:cubicBezTo>
                      <a:pt x="63" y="3"/>
                      <a:pt x="63" y="2"/>
                      <a:pt x="63" y="2"/>
                    </a:cubicBezTo>
                    <a:cubicBezTo>
                      <a:pt x="63" y="2"/>
                      <a:pt x="63" y="2"/>
                      <a:pt x="63" y="2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</a:path>
                </a:pathLst>
              </a:custGeom>
              <a:solidFill>
                <a:srgbClr val="D2D4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92" name="iṧľîḓe"/>
              <p:cNvSpPr/>
              <p:nvPr/>
            </p:nvSpPr>
            <p:spPr bwMode="auto">
              <a:xfrm>
                <a:off x="6269532" y="1595940"/>
                <a:ext cx="194355" cy="83296"/>
              </a:xfrm>
              <a:custGeom>
                <a:avLst/>
                <a:gdLst>
                  <a:gd name="T0" fmla="*/ 84 w 84"/>
                  <a:gd name="T1" fmla="*/ 0 h 36"/>
                  <a:gd name="T2" fmla="*/ 10 w 84"/>
                  <a:gd name="T3" fmla="*/ 0 h 36"/>
                  <a:gd name="T4" fmla="*/ 0 w 84"/>
                  <a:gd name="T5" fmla="*/ 34 h 36"/>
                  <a:gd name="T6" fmla="*/ 74 w 84"/>
                  <a:gd name="T7" fmla="*/ 36 h 36"/>
                  <a:gd name="T8" fmla="*/ 84 w 84"/>
                  <a:gd name="T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36">
                    <a:moveTo>
                      <a:pt x="84" y="0"/>
                    </a:moveTo>
                    <a:lnTo>
                      <a:pt x="10" y="0"/>
                    </a:lnTo>
                    <a:lnTo>
                      <a:pt x="0" y="34"/>
                    </a:lnTo>
                    <a:lnTo>
                      <a:pt x="74" y="36"/>
                    </a:lnTo>
                    <a:lnTo>
                      <a:pt x="84" y="0"/>
                    </a:lnTo>
                    <a:close/>
                  </a:path>
                </a:pathLst>
              </a:custGeom>
              <a:solidFill>
                <a:srgbClr val="BBA3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95" name="iṡ1íďé"/>
              <p:cNvSpPr/>
              <p:nvPr/>
            </p:nvSpPr>
            <p:spPr bwMode="auto">
              <a:xfrm>
                <a:off x="6963658" y="1436290"/>
                <a:ext cx="252200" cy="50903"/>
              </a:xfrm>
              <a:custGeom>
                <a:avLst/>
                <a:gdLst>
                  <a:gd name="T0" fmla="*/ 3 w 63"/>
                  <a:gd name="T1" fmla="*/ 0 h 13"/>
                  <a:gd name="T2" fmla="*/ 60 w 63"/>
                  <a:gd name="T3" fmla="*/ 0 h 13"/>
                  <a:gd name="T4" fmla="*/ 63 w 63"/>
                  <a:gd name="T5" fmla="*/ 3 h 13"/>
                  <a:gd name="T6" fmla="*/ 63 w 63"/>
                  <a:gd name="T7" fmla="*/ 9 h 13"/>
                  <a:gd name="T8" fmla="*/ 60 w 63"/>
                  <a:gd name="T9" fmla="*/ 13 h 13"/>
                  <a:gd name="T10" fmla="*/ 3 w 63"/>
                  <a:gd name="T11" fmla="*/ 13 h 13"/>
                  <a:gd name="T12" fmla="*/ 0 w 63"/>
                  <a:gd name="T13" fmla="*/ 9 h 13"/>
                  <a:gd name="T14" fmla="*/ 0 w 63"/>
                  <a:gd name="T15" fmla="*/ 3 h 13"/>
                  <a:gd name="T16" fmla="*/ 3 w 63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13">
                    <a:moveTo>
                      <a:pt x="3" y="0"/>
                    </a:moveTo>
                    <a:cubicBezTo>
                      <a:pt x="60" y="0"/>
                      <a:pt x="60" y="0"/>
                      <a:pt x="60" y="0"/>
                    </a:cubicBezTo>
                    <a:cubicBezTo>
                      <a:pt x="61" y="0"/>
                      <a:pt x="63" y="1"/>
                      <a:pt x="63" y="3"/>
                    </a:cubicBezTo>
                    <a:cubicBezTo>
                      <a:pt x="63" y="9"/>
                      <a:pt x="63" y="9"/>
                      <a:pt x="63" y="9"/>
                    </a:cubicBezTo>
                    <a:cubicBezTo>
                      <a:pt x="63" y="11"/>
                      <a:pt x="61" y="13"/>
                      <a:pt x="60" y="13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1" y="13"/>
                      <a:pt x="0" y="11"/>
                      <a:pt x="0" y="9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grpSp>
            <p:nvGrpSpPr>
              <p:cNvPr id="110" name="îśḷïḍè"/>
              <p:cNvGrpSpPr/>
              <p:nvPr/>
            </p:nvGrpSpPr>
            <p:grpSpPr>
              <a:xfrm>
                <a:off x="4991666" y="997617"/>
                <a:ext cx="1460649" cy="1754727"/>
                <a:chOff x="4717002" y="1052207"/>
                <a:chExt cx="1735317" cy="2084693"/>
              </a:xfrm>
            </p:grpSpPr>
            <p:sp>
              <p:nvSpPr>
                <p:cNvPr id="111" name="íŝḻïďê"/>
                <p:cNvSpPr/>
                <p:nvPr/>
              </p:nvSpPr>
              <p:spPr bwMode="auto">
                <a:xfrm>
                  <a:off x="4717002" y="1538095"/>
                  <a:ext cx="1078209" cy="1598805"/>
                </a:xfrm>
                <a:custGeom>
                  <a:avLst/>
                  <a:gdLst>
                    <a:gd name="T0" fmla="*/ 121 w 270"/>
                    <a:gd name="T1" fmla="*/ 0 h 401"/>
                    <a:gd name="T2" fmla="*/ 117 w 270"/>
                    <a:gd name="T3" fmla="*/ 10 h 401"/>
                    <a:gd name="T4" fmla="*/ 116 w 270"/>
                    <a:gd name="T5" fmla="*/ 10 h 401"/>
                    <a:gd name="T6" fmla="*/ 128 w 270"/>
                    <a:gd name="T7" fmla="*/ 101 h 401"/>
                    <a:gd name="T8" fmla="*/ 115 w 270"/>
                    <a:gd name="T9" fmla="*/ 121 h 401"/>
                    <a:gd name="T10" fmla="*/ 101 w 270"/>
                    <a:gd name="T11" fmla="*/ 101 h 401"/>
                    <a:gd name="T12" fmla="*/ 112 w 270"/>
                    <a:gd name="T13" fmla="*/ 10 h 401"/>
                    <a:gd name="T14" fmla="*/ 112 w 270"/>
                    <a:gd name="T15" fmla="*/ 10 h 401"/>
                    <a:gd name="T16" fmla="*/ 108 w 270"/>
                    <a:gd name="T17" fmla="*/ 0 h 401"/>
                    <a:gd name="T18" fmla="*/ 40 w 270"/>
                    <a:gd name="T19" fmla="*/ 17 h 401"/>
                    <a:gd name="T20" fmla="*/ 39 w 270"/>
                    <a:gd name="T21" fmla="*/ 18 h 401"/>
                    <a:gd name="T22" fmla="*/ 35 w 270"/>
                    <a:gd name="T23" fmla="*/ 20 h 401"/>
                    <a:gd name="T24" fmla="*/ 33 w 270"/>
                    <a:gd name="T25" fmla="*/ 23 h 401"/>
                    <a:gd name="T26" fmla="*/ 31 w 270"/>
                    <a:gd name="T27" fmla="*/ 26 h 401"/>
                    <a:gd name="T28" fmla="*/ 30 w 270"/>
                    <a:gd name="T29" fmla="*/ 29 h 401"/>
                    <a:gd name="T30" fmla="*/ 29 w 270"/>
                    <a:gd name="T31" fmla="*/ 31 h 401"/>
                    <a:gd name="T32" fmla="*/ 2 w 270"/>
                    <a:gd name="T33" fmla="*/ 172 h 401"/>
                    <a:gd name="T34" fmla="*/ 15 w 270"/>
                    <a:gd name="T35" fmla="*/ 195 h 401"/>
                    <a:gd name="T36" fmla="*/ 19 w 270"/>
                    <a:gd name="T37" fmla="*/ 196 h 401"/>
                    <a:gd name="T38" fmla="*/ 35 w 270"/>
                    <a:gd name="T39" fmla="*/ 180 h 401"/>
                    <a:gd name="T40" fmla="*/ 60 w 270"/>
                    <a:gd name="T41" fmla="*/ 50 h 401"/>
                    <a:gd name="T42" fmla="*/ 66 w 270"/>
                    <a:gd name="T43" fmla="*/ 48 h 401"/>
                    <a:gd name="T44" fmla="*/ 66 w 270"/>
                    <a:gd name="T45" fmla="*/ 182 h 401"/>
                    <a:gd name="T46" fmla="*/ 53 w 270"/>
                    <a:gd name="T47" fmla="*/ 375 h 401"/>
                    <a:gd name="T48" fmla="*/ 72 w 270"/>
                    <a:gd name="T49" fmla="*/ 401 h 401"/>
                    <a:gd name="T50" fmla="*/ 73 w 270"/>
                    <a:gd name="T51" fmla="*/ 401 h 401"/>
                    <a:gd name="T52" fmla="*/ 94 w 270"/>
                    <a:gd name="T53" fmla="*/ 379 h 401"/>
                    <a:gd name="T54" fmla="*/ 106 w 270"/>
                    <a:gd name="T55" fmla="*/ 204 h 401"/>
                    <a:gd name="T56" fmla="*/ 114 w 270"/>
                    <a:gd name="T57" fmla="*/ 206 h 401"/>
                    <a:gd name="T58" fmla="*/ 123 w 270"/>
                    <a:gd name="T59" fmla="*/ 204 h 401"/>
                    <a:gd name="T60" fmla="*/ 135 w 270"/>
                    <a:gd name="T61" fmla="*/ 379 h 401"/>
                    <a:gd name="T62" fmla="*/ 155 w 270"/>
                    <a:gd name="T63" fmla="*/ 401 h 401"/>
                    <a:gd name="T64" fmla="*/ 157 w 270"/>
                    <a:gd name="T65" fmla="*/ 401 h 401"/>
                    <a:gd name="T66" fmla="*/ 176 w 270"/>
                    <a:gd name="T67" fmla="*/ 375 h 401"/>
                    <a:gd name="T68" fmla="*/ 162 w 270"/>
                    <a:gd name="T69" fmla="*/ 182 h 401"/>
                    <a:gd name="T70" fmla="*/ 162 w 270"/>
                    <a:gd name="T71" fmla="*/ 48 h 401"/>
                    <a:gd name="T72" fmla="*/ 177 w 270"/>
                    <a:gd name="T73" fmla="*/ 54 h 401"/>
                    <a:gd name="T74" fmla="*/ 184 w 270"/>
                    <a:gd name="T75" fmla="*/ 56 h 401"/>
                    <a:gd name="T76" fmla="*/ 234 w 270"/>
                    <a:gd name="T77" fmla="*/ 75 h 401"/>
                    <a:gd name="T78" fmla="*/ 245 w 270"/>
                    <a:gd name="T79" fmla="*/ 80 h 401"/>
                    <a:gd name="T80" fmla="*/ 251 w 270"/>
                    <a:gd name="T81" fmla="*/ 81 h 401"/>
                    <a:gd name="T82" fmla="*/ 267 w 270"/>
                    <a:gd name="T83" fmla="*/ 54 h 401"/>
                    <a:gd name="T84" fmla="*/ 245 w 270"/>
                    <a:gd name="T85" fmla="*/ 77 h 401"/>
                    <a:gd name="T86" fmla="*/ 234 w 270"/>
                    <a:gd name="T87" fmla="*/ 72 h 401"/>
                    <a:gd name="T88" fmla="*/ 261 w 270"/>
                    <a:gd name="T89" fmla="*/ 45 h 401"/>
                    <a:gd name="T90" fmla="*/ 256 w 270"/>
                    <a:gd name="T91" fmla="*/ 43 h 401"/>
                    <a:gd name="T92" fmla="*/ 234 w 270"/>
                    <a:gd name="T93" fmla="*/ 35 h 401"/>
                    <a:gd name="T94" fmla="*/ 184 w 270"/>
                    <a:gd name="T95" fmla="*/ 18 h 401"/>
                    <a:gd name="T96" fmla="*/ 121 w 270"/>
                    <a:gd name="T97" fmla="*/ 0 h 4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270" h="401">
                      <a:moveTo>
                        <a:pt x="121" y="0"/>
                      </a:moveTo>
                      <a:cubicBezTo>
                        <a:pt x="117" y="10"/>
                        <a:pt x="117" y="10"/>
                        <a:pt x="117" y="10"/>
                      </a:cubicBezTo>
                      <a:cubicBezTo>
                        <a:pt x="116" y="10"/>
                        <a:pt x="116" y="10"/>
                        <a:pt x="116" y="10"/>
                      </a:cubicBezTo>
                      <a:cubicBezTo>
                        <a:pt x="128" y="101"/>
                        <a:pt x="128" y="101"/>
                        <a:pt x="128" y="101"/>
                      </a:cubicBezTo>
                      <a:cubicBezTo>
                        <a:pt x="115" y="121"/>
                        <a:pt x="115" y="121"/>
                        <a:pt x="115" y="121"/>
                      </a:cubicBezTo>
                      <a:cubicBezTo>
                        <a:pt x="101" y="101"/>
                        <a:pt x="101" y="101"/>
                        <a:pt x="101" y="101"/>
                      </a:cubicBezTo>
                      <a:cubicBezTo>
                        <a:pt x="112" y="10"/>
                        <a:pt x="112" y="10"/>
                        <a:pt x="112" y="10"/>
                      </a:cubicBezTo>
                      <a:cubicBezTo>
                        <a:pt x="112" y="10"/>
                        <a:pt x="112" y="10"/>
                        <a:pt x="112" y="1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76" y="2"/>
                        <a:pt x="42" y="16"/>
                        <a:pt x="40" y="17"/>
                      </a:cubicBezTo>
                      <a:cubicBezTo>
                        <a:pt x="40" y="17"/>
                        <a:pt x="39" y="18"/>
                        <a:pt x="39" y="18"/>
                      </a:cubicBezTo>
                      <a:cubicBezTo>
                        <a:pt x="37" y="19"/>
                        <a:pt x="36" y="19"/>
                        <a:pt x="35" y="20"/>
                      </a:cubicBezTo>
                      <a:cubicBezTo>
                        <a:pt x="35" y="21"/>
                        <a:pt x="34" y="22"/>
                        <a:pt x="33" y="23"/>
                      </a:cubicBezTo>
                      <a:cubicBezTo>
                        <a:pt x="32" y="23"/>
                        <a:pt x="32" y="25"/>
                        <a:pt x="31" y="26"/>
                      </a:cubicBezTo>
                      <a:cubicBezTo>
                        <a:pt x="31" y="27"/>
                        <a:pt x="30" y="28"/>
                        <a:pt x="30" y="29"/>
                      </a:cubicBezTo>
                      <a:cubicBezTo>
                        <a:pt x="30" y="30"/>
                        <a:pt x="29" y="30"/>
                        <a:pt x="29" y="31"/>
                      </a:cubicBezTo>
                      <a:cubicBezTo>
                        <a:pt x="2" y="172"/>
                        <a:pt x="2" y="172"/>
                        <a:pt x="2" y="172"/>
                      </a:cubicBezTo>
                      <a:cubicBezTo>
                        <a:pt x="0" y="182"/>
                        <a:pt x="6" y="193"/>
                        <a:pt x="15" y="195"/>
                      </a:cubicBezTo>
                      <a:cubicBezTo>
                        <a:pt x="16" y="195"/>
                        <a:pt x="17" y="196"/>
                        <a:pt x="19" y="196"/>
                      </a:cubicBezTo>
                      <a:cubicBezTo>
                        <a:pt x="26" y="196"/>
                        <a:pt x="33" y="189"/>
                        <a:pt x="35" y="180"/>
                      </a:cubicBezTo>
                      <a:cubicBezTo>
                        <a:pt x="60" y="50"/>
                        <a:pt x="60" y="50"/>
                        <a:pt x="60" y="50"/>
                      </a:cubicBezTo>
                      <a:cubicBezTo>
                        <a:pt x="62" y="50"/>
                        <a:pt x="64" y="49"/>
                        <a:pt x="66" y="48"/>
                      </a:cubicBezTo>
                      <a:cubicBezTo>
                        <a:pt x="66" y="182"/>
                        <a:pt x="66" y="182"/>
                        <a:pt x="66" y="182"/>
                      </a:cubicBezTo>
                      <a:cubicBezTo>
                        <a:pt x="53" y="375"/>
                        <a:pt x="53" y="375"/>
                        <a:pt x="53" y="375"/>
                      </a:cubicBezTo>
                      <a:cubicBezTo>
                        <a:pt x="52" y="388"/>
                        <a:pt x="60" y="400"/>
                        <a:pt x="72" y="401"/>
                      </a:cubicBezTo>
                      <a:cubicBezTo>
                        <a:pt x="72" y="401"/>
                        <a:pt x="73" y="401"/>
                        <a:pt x="73" y="401"/>
                      </a:cubicBezTo>
                      <a:cubicBezTo>
                        <a:pt x="84" y="401"/>
                        <a:pt x="93" y="391"/>
                        <a:pt x="94" y="379"/>
                      </a:cubicBezTo>
                      <a:cubicBezTo>
                        <a:pt x="106" y="204"/>
                        <a:pt x="106" y="204"/>
                        <a:pt x="106" y="204"/>
                      </a:cubicBezTo>
                      <a:cubicBezTo>
                        <a:pt x="109" y="206"/>
                        <a:pt x="111" y="206"/>
                        <a:pt x="114" y="206"/>
                      </a:cubicBezTo>
                      <a:cubicBezTo>
                        <a:pt x="117" y="206"/>
                        <a:pt x="120" y="206"/>
                        <a:pt x="123" y="204"/>
                      </a:cubicBezTo>
                      <a:cubicBezTo>
                        <a:pt x="135" y="379"/>
                        <a:pt x="135" y="379"/>
                        <a:pt x="135" y="379"/>
                      </a:cubicBezTo>
                      <a:cubicBezTo>
                        <a:pt x="136" y="391"/>
                        <a:pt x="145" y="401"/>
                        <a:pt x="155" y="401"/>
                      </a:cubicBezTo>
                      <a:cubicBezTo>
                        <a:pt x="156" y="401"/>
                        <a:pt x="156" y="401"/>
                        <a:pt x="157" y="401"/>
                      </a:cubicBezTo>
                      <a:cubicBezTo>
                        <a:pt x="168" y="400"/>
                        <a:pt x="177" y="388"/>
                        <a:pt x="176" y="375"/>
                      </a:cubicBezTo>
                      <a:cubicBezTo>
                        <a:pt x="162" y="182"/>
                        <a:pt x="162" y="182"/>
                        <a:pt x="162" y="182"/>
                      </a:cubicBezTo>
                      <a:cubicBezTo>
                        <a:pt x="162" y="48"/>
                        <a:pt x="162" y="48"/>
                        <a:pt x="162" y="48"/>
                      </a:cubicBezTo>
                      <a:cubicBezTo>
                        <a:pt x="167" y="50"/>
                        <a:pt x="172" y="52"/>
                        <a:pt x="177" y="54"/>
                      </a:cubicBezTo>
                      <a:cubicBezTo>
                        <a:pt x="179" y="55"/>
                        <a:pt x="182" y="55"/>
                        <a:pt x="184" y="56"/>
                      </a:cubicBezTo>
                      <a:cubicBezTo>
                        <a:pt x="234" y="75"/>
                        <a:pt x="234" y="75"/>
                        <a:pt x="234" y="75"/>
                      </a:cubicBezTo>
                      <a:cubicBezTo>
                        <a:pt x="238" y="77"/>
                        <a:pt x="242" y="78"/>
                        <a:pt x="245" y="80"/>
                      </a:cubicBezTo>
                      <a:cubicBezTo>
                        <a:pt x="247" y="80"/>
                        <a:pt x="249" y="81"/>
                        <a:pt x="251" y="81"/>
                      </a:cubicBezTo>
                      <a:cubicBezTo>
                        <a:pt x="264" y="81"/>
                        <a:pt x="270" y="66"/>
                        <a:pt x="267" y="54"/>
                      </a:cubicBezTo>
                      <a:cubicBezTo>
                        <a:pt x="245" y="77"/>
                        <a:pt x="245" y="77"/>
                        <a:pt x="245" y="77"/>
                      </a:cubicBezTo>
                      <a:cubicBezTo>
                        <a:pt x="234" y="72"/>
                        <a:pt x="234" y="72"/>
                        <a:pt x="234" y="72"/>
                      </a:cubicBezTo>
                      <a:cubicBezTo>
                        <a:pt x="261" y="45"/>
                        <a:pt x="261" y="45"/>
                        <a:pt x="261" y="45"/>
                      </a:cubicBezTo>
                      <a:cubicBezTo>
                        <a:pt x="259" y="44"/>
                        <a:pt x="258" y="43"/>
                        <a:pt x="256" y="43"/>
                      </a:cubicBezTo>
                      <a:cubicBezTo>
                        <a:pt x="234" y="35"/>
                        <a:pt x="234" y="35"/>
                        <a:pt x="234" y="35"/>
                      </a:cubicBezTo>
                      <a:cubicBezTo>
                        <a:pt x="184" y="18"/>
                        <a:pt x="184" y="18"/>
                        <a:pt x="184" y="18"/>
                      </a:cubicBezTo>
                      <a:cubicBezTo>
                        <a:pt x="156" y="9"/>
                        <a:pt x="129" y="1"/>
                        <a:pt x="121" y="0"/>
                      </a:cubicBezTo>
                      <a:close/>
                    </a:path>
                  </a:pathLst>
                </a:custGeom>
                <a:solidFill>
                  <a:srgbClr val="52525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</a:p>
              </p:txBody>
            </p:sp>
            <p:sp>
              <p:nvSpPr>
                <p:cNvPr id="112" name="ïṧlïďe"/>
                <p:cNvSpPr/>
                <p:nvPr/>
              </p:nvSpPr>
              <p:spPr bwMode="auto">
                <a:xfrm>
                  <a:off x="5043242" y="1193346"/>
                  <a:ext cx="256827" cy="310043"/>
                </a:xfrm>
                <a:prstGeom prst="ellipse">
                  <a:avLst/>
                </a:prstGeom>
                <a:solidFill>
                  <a:srgbClr val="52525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7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</a:p>
              </p:txBody>
            </p:sp>
            <p:sp>
              <p:nvSpPr>
                <p:cNvPr id="113" name="ïśľíďé"/>
                <p:cNvSpPr/>
                <p:nvPr/>
              </p:nvSpPr>
              <p:spPr bwMode="auto">
                <a:xfrm>
                  <a:off x="5663328" y="1052207"/>
                  <a:ext cx="788991" cy="786676"/>
                </a:xfrm>
                <a:custGeom>
                  <a:avLst/>
                  <a:gdLst>
                    <a:gd name="T0" fmla="*/ 0 w 341"/>
                    <a:gd name="T1" fmla="*/ 333 h 340"/>
                    <a:gd name="T2" fmla="*/ 341 w 341"/>
                    <a:gd name="T3" fmla="*/ 0 h 340"/>
                    <a:gd name="T4" fmla="*/ 13 w 341"/>
                    <a:gd name="T5" fmla="*/ 340 h 340"/>
                    <a:gd name="T6" fmla="*/ 0 w 341"/>
                    <a:gd name="T7" fmla="*/ 333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1" h="340">
                      <a:moveTo>
                        <a:pt x="0" y="333"/>
                      </a:moveTo>
                      <a:lnTo>
                        <a:pt x="341" y="0"/>
                      </a:lnTo>
                      <a:lnTo>
                        <a:pt x="13" y="340"/>
                      </a:lnTo>
                      <a:lnTo>
                        <a:pt x="0" y="333"/>
                      </a:lnTo>
                      <a:close/>
                    </a:path>
                  </a:pathLst>
                </a:custGeom>
                <a:solidFill>
                  <a:srgbClr val="221F2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</a:p>
              </p:txBody>
            </p:sp>
          </p:grpSp>
        </p:grpSp>
        <p:grpSp>
          <p:nvGrpSpPr>
            <p:cNvPr id="55" name="ïṥḻiḓè"/>
            <p:cNvGrpSpPr/>
            <p:nvPr/>
          </p:nvGrpSpPr>
          <p:grpSpPr>
            <a:xfrm>
              <a:off x="673101" y="2979845"/>
              <a:ext cx="2898915" cy="1513540"/>
              <a:chOff x="4402497" y="2479508"/>
              <a:chExt cx="2898915" cy="1513540"/>
            </a:xfrm>
          </p:grpSpPr>
          <p:sp>
            <p:nvSpPr>
              <p:cNvPr id="67" name="î$ḻiḍê"/>
              <p:cNvSpPr/>
              <p:nvPr/>
            </p:nvSpPr>
            <p:spPr>
              <a:xfrm>
                <a:off x="5439638" y="2479508"/>
                <a:ext cx="826700" cy="826700"/>
              </a:xfrm>
              <a:prstGeom prst="ellips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68" name="iṩḷiḑè"/>
              <p:cNvSpPr txBox="1"/>
              <p:nvPr/>
            </p:nvSpPr>
            <p:spPr bwMode="auto">
              <a:xfrm>
                <a:off x="4402497" y="3594586"/>
                <a:ext cx="2898915" cy="39846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sz="1400" dirty="0"/>
                  <a:t>徒弟搜索平台</a:t>
                </a:r>
                <a:endParaRPr lang="zh-CN" altLang="en-US" sz="1400" dirty="0"/>
              </a:p>
            </p:txBody>
          </p:sp>
          <p:sp>
            <p:nvSpPr>
              <p:cNvPr id="77" name="ïŝľíḑé"/>
              <p:cNvSpPr/>
              <p:nvPr/>
            </p:nvSpPr>
            <p:spPr bwMode="auto">
              <a:xfrm>
                <a:off x="5628421" y="2711522"/>
                <a:ext cx="449134" cy="362670"/>
              </a:xfrm>
              <a:custGeom>
                <a:avLst/>
                <a:gdLst>
                  <a:gd name="connsiteX0" fmla="*/ 499361 w 608838"/>
                  <a:gd name="connsiteY0" fmla="*/ 285654 h 491629"/>
                  <a:gd name="connsiteX1" fmla="*/ 499361 w 608838"/>
                  <a:gd name="connsiteY1" fmla="*/ 344437 h 491629"/>
                  <a:gd name="connsiteX2" fmla="*/ 558245 w 608838"/>
                  <a:gd name="connsiteY2" fmla="*/ 344437 h 491629"/>
                  <a:gd name="connsiteX3" fmla="*/ 558245 w 608838"/>
                  <a:gd name="connsiteY3" fmla="*/ 285654 h 491629"/>
                  <a:gd name="connsiteX4" fmla="*/ 50593 w 608838"/>
                  <a:gd name="connsiteY4" fmla="*/ 285654 h 491629"/>
                  <a:gd name="connsiteX5" fmla="*/ 50593 w 608838"/>
                  <a:gd name="connsiteY5" fmla="*/ 344437 h 491629"/>
                  <a:gd name="connsiteX6" fmla="*/ 109477 w 608838"/>
                  <a:gd name="connsiteY6" fmla="*/ 344437 h 491629"/>
                  <a:gd name="connsiteX7" fmla="*/ 109477 w 608838"/>
                  <a:gd name="connsiteY7" fmla="*/ 285654 h 491629"/>
                  <a:gd name="connsiteX8" fmla="*/ 324062 w 608838"/>
                  <a:gd name="connsiteY8" fmla="*/ 265425 h 491629"/>
                  <a:gd name="connsiteX9" fmla="*/ 324062 w 608838"/>
                  <a:gd name="connsiteY9" fmla="*/ 329947 h 491629"/>
                  <a:gd name="connsiteX10" fmla="*/ 388693 w 608838"/>
                  <a:gd name="connsiteY10" fmla="*/ 329947 h 491629"/>
                  <a:gd name="connsiteX11" fmla="*/ 388693 w 608838"/>
                  <a:gd name="connsiteY11" fmla="*/ 265425 h 491629"/>
                  <a:gd name="connsiteX12" fmla="*/ 220144 w 608838"/>
                  <a:gd name="connsiteY12" fmla="*/ 265425 h 491629"/>
                  <a:gd name="connsiteX13" fmla="*/ 220144 w 608838"/>
                  <a:gd name="connsiteY13" fmla="*/ 329947 h 491629"/>
                  <a:gd name="connsiteX14" fmla="*/ 284775 w 608838"/>
                  <a:gd name="connsiteY14" fmla="*/ 329947 h 491629"/>
                  <a:gd name="connsiteX15" fmla="*/ 284775 w 608838"/>
                  <a:gd name="connsiteY15" fmla="*/ 265425 h 491629"/>
                  <a:gd name="connsiteX16" fmla="*/ 499361 w 608838"/>
                  <a:gd name="connsiteY16" fmla="*/ 191225 h 491629"/>
                  <a:gd name="connsiteX17" fmla="*/ 499361 w 608838"/>
                  <a:gd name="connsiteY17" fmla="*/ 250008 h 491629"/>
                  <a:gd name="connsiteX18" fmla="*/ 558245 w 608838"/>
                  <a:gd name="connsiteY18" fmla="*/ 250008 h 491629"/>
                  <a:gd name="connsiteX19" fmla="*/ 558245 w 608838"/>
                  <a:gd name="connsiteY19" fmla="*/ 191225 h 491629"/>
                  <a:gd name="connsiteX20" fmla="*/ 50593 w 608838"/>
                  <a:gd name="connsiteY20" fmla="*/ 191225 h 491629"/>
                  <a:gd name="connsiteX21" fmla="*/ 50593 w 608838"/>
                  <a:gd name="connsiteY21" fmla="*/ 250008 h 491629"/>
                  <a:gd name="connsiteX22" fmla="*/ 109477 w 608838"/>
                  <a:gd name="connsiteY22" fmla="*/ 250008 h 491629"/>
                  <a:gd name="connsiteX23" fmla="*/ 109477 w 608838"/>
                  <a:gd name="connsiteY23" fmla="*/ 191225 h 491629"/>
                  <a:gd name="connsiteX24" fmla="*/ 324062 w 608838"/>
                  <a:gd name="connsiteY24" fmla="*/ 161682 h 491629"/>
                  <a:gd name="connsiteX25" fmla="*/ 324062 w 608838"/>
                  <a:gd name="connsiteY25" fmla="*/ 226204 h 491629"/>
                  <a:gd name="connsiteX26" fmla="*/ 388693 w 608838"/>
                  <a:gd name="connsiteY26" fmla="*/ 226204 h 491629"/>
                  <a:gd name="connsiteX27" fmla="*/ 388693 w 608838"/>
                  <a:gd name="connsiteY27" fmla="*/ 161682 h 491629"/>
                  <a:gd name="connsiteX28" fmla="*/ 220144 w 608838"/>
                  <a:gd name="connsiteY28" fmla="*/ 161682 h 491629"/>
                  <a:gd name="connsiteX29" fmla="*/ 220144 w 608838"/>
                  <a:gd name="connsiteY29" fmla="*/ 226204 h 491629"/>
                  <a:gd name="connsiteX30" fmla="*/ 284775 w 608838"/>
                  <a:gd name="connsiteY30" fmla="*/ 226204 h 491629"/>
                  <a:gd name="connsiteX31" fmla="*/ 284775 w 608838"/>
                  <a:gd name="connsiteY31" fmla="*/ 161682 h 491629"/>
                  <a:gd name="connsiteX32" fmla="*/ 499361 w 608838"/>
                  <a:gd name="connsiteY32" fmla="*/ 96797 h 491629"/>
                  <a:gd name="connsiteX33" fmla="*/ 499361 w 608838"/>
                  <a:gd name="connsiteY33" fmla="*/ 155579 h 491629"/>
                  <a:gd name="connsiteX34" fmla="*/ 558245 w 608838"/>
                  <a:gd name="connsiteY34" fmla="*/ 155579 h 491629"/>
                  <a:gd name="connsiteX35" fmla="*/ 558245 w 608838"/>
                  <a:gd name="connsiteY35" fmla="*/ 96797 h 491629"/>
                  <a:gd name="connsiteX36" fmla="*/ 50593 w 608838"/>
                  <a:gd name="connsiteY36" fmla="*/ 96797 h 491629"/>
                  <a:gd name="connsiteX37" fmla="*/ 50593 w 608838"/>
                  <a:gd name="connsiteY37" fmla="*/ 155579 h 491629"/>
                  <a:gd name="connsiteX38" fmla="*/ 109477 w 608838"/>
                  <a:gd name="connsiteY38" fmla="*/ 155579 h 491629"/>
                  <a:gd name="connsiteX39" fmla="*/ 109477 w 608838"/>
                  <a:gd name="connsiteY39" fmla="*/ 96797 h 491629"/>
                  <a:gd name="connsiteX40" fmla="*/ 324062 w 608838"/>
                  <a:gd name="connsiteY40" fmla="*/ 57938 h 491629"/>
                  <a:gd name="connsiteX41" fmla="*/ 324062 w 608838"/>
                  <a:gd name="connsiteY41" fmla="*/ 122461 h 491629"/>
                  <a:gd name="connsiteX42" fmla="*/ 388693 w 608838"/>
                  <a:gd name="connsiteY42" fmla="*/ 122461 h 491629"/>
                  <a:gd name="connsiteX43" fmla="*/ 388693 w 608838"/>
                  <a:gd name="connsiteY43" fmla="*/ 57938 h 491629"/>
                  <a:gd name="connsiteX44" fmla="*/ 220144 w 608838"/>
                  <a:gd name="connsiteY44" fmla="*/ 57938 h 491629"/>
                  <a:gd name="connsiteX45" fmla="*/ 220144 w 608838"/>
                  <a:gd name="connsiteY45" fmla="*/ 122461 h 491629"/>
                  <a:gd name="connsiteX46" fmla="*/ 284775 w 608838"/>
                  <a:gd name="connsiteY46" fmla="*/ 122461 h 491629"/>
                  <a:gd name="connsiteX47" fmla="*/ 284775 w 608838"/>
                  <a:gd name="connsiteY47" fmla="*/ 57938 h 491629"/>
                  <a:gd name="connsiteX48" fmla="*/ 469401 w 608838"/>
                  <a:gd name="connsiteY48" fmla="*/ 44033 h 491629"/>
                  <a:gd name="connsiteX49" fmla="*/ 608838 w 608838"/>
                  <a:gd name="connsiteY49" fmla="*/ 44033 h 491629"/>
                  <a:gd name="connsiteX50" fmla="*/ 608838 w 608838"/>
                  <a:gd name="connsiteY50" fmla="*/ 491629 h 491629"/>
                  <a:gd name="connsiteX51" fmla="*/ 510950 w 608838"/>
                  <a:gd name="connsiteY51" fmla="*/ 491629 h 491629"/>
                  <a:gd name="connsiteX52" fmla="*/ 510950 w 608838"/>
                  <a:gd name="connsiteY52" fmla="*/ 391651 h 491629"/>
                  <a:gd name="connsiteX53" fmla="*/ 469401 w 608838"/>
                  <a:gd name="connsiteY53" fmla="*/ 391651 h 491629"/>
                  <a:gd name="connsiteX54" fmla="*/ 0 w 608838"/>
                  <a:gd name="connsiteY54" fmla="*/ 44033 h 491629"/>
                  <a:gd name="connsiteX55" fmla="*/ 139437 w 608838"/>
                  <a:gd name="connsiteY55" fmla="*/ 44033 h 491629"/>
                  <a:gd name="connsiteX56" fmla="*/ 139437 w 608838"/>
                  <a:gd name="connsiteY56" fmla="*/ 391651 h 491629"/>
                  <a:gd name="connsiteX57" fmla="*/ 97889 w 608838"/>
                  <a:gd name="connsiteY57" fmla="*/ 391651 h 491629"/>
                  <a:gd name="connsiteX58" fmla="*/ 97889 w 608838"/>
                  <a:gd name="connsiteY58" fmla="*/ 491629 h 491629"/>
                  <a:gd name="connsiteX59" fmla="*/ 0 w 608838"/>
                  <a:gd name="connsiteY59" fmla="*/ 491629 h 491629"/>
                  <a:gd name="connsiteX60" fmla="*/ 164558 w 608838"/>
                  <a:gd name="connsiteY60" fmla="*/ 0 h 491629"/>
                  <a:gd name="connsiteX61" fmla="*/ 444279 w 608838"/>
                  <a:gd name="connsiteY61" fmla="*/ 0 h 491629"/>
                  <a:gd name="connsiteX62" fmla="*/ 444279 w 608838"/>
                  <a:gd name="connsiteY62" fmla="*/ 491629 h 491629"/>
                  <a:gd name="connsiteX63" fmla="*/ 336781 w 608838"/>
                  <a:gd name="connsiteY63" fmla="*/ 491629 h 491629"/>
                  <a:gd name="connsiteX64" fmla="*/ 336781 w 608838"/>
                  <a:gd name="connsiteY64" fmla="*/ 381866 h 491629"/>
                  <a:gd name="connsiteX65" fmla="*/ 272056 w 608838"/>
                  <a:gd name="connsiteY65" fmla="*/ 381866 h 491629"/>
                  <a:gd name="connsiteX66" fmla="*/ 272056 w 608838"/>
                  <a:gd name="connsiteY66" fmla="*/ 491629 h 491629"/>
                  <a:gd name="connsiteX67" fmla="*/ 164558 w 608838"/>
                  <a:gd name="connsiteY67" fmla="*/ 491629 h 491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608838" h="491629">
                    <a:moveTo>
                      <a:pt x="499361" y="285654"/>
                    </a:moveTo>
                    <a:lnTo>
                      <a:pt x="499361" y="344437"/>
                    </a:lnTo>
                    <a:lnTo>
                      <a:pt x="558245" y="344437"/>
                    </a:lnTo>
                    <a:lnTo>
                      <a:pt x="558245" y="285654"/>
                    </a:lnTo>
                    <a:close/>
                    <a:moveTo>
                      <a:pt x="50593" y="285654"/>
                    </a:moveTo>
                    <a:lnTo>
                      <a:pt x="50593" y="344437"/>
                    </a:lnTo>
                    <a:lnTo>
                      <a:pt x="109477" y="344437"/>
                    </a:lnTo>
                    <a:lnTo>
                      <a:pt x="109477" y="285654"/>
                    </a:lnTo>
                    <a:close/>
                    <a:moveTo>
                      <a:pt x="324062" y="265425"/>
                    </a:moveTo>
                    <a:lnTo>
                      <a:pt x="324062" y="329947"/>
                    </a:lnTo>
                    <a:lnTo>
                      <a:pt x="388693" y="329947"/>
                    </a:lnTo>
                    <a:lnTo>
                      <a:pt x="388693" y="265425"/>
                    </a:lnTo>
                    <a:close/>
                    <a:moveTo>
                      <a:pt x="220144" y="265425"/>
                    </a:moveTo>
                    <a:lnTo>
                      <a:pt x="220144" y="329947"/>
                    </a:lnTo>
                    <a:lnTo>
                      <a:pt x="284775" y="329947"/>
                    </a:lnTo>
                    <a:lnTo>
                      <a:pt x="284775" y="265425"/>
                    </a:lnTo>
                    <a:close/>
                    <a:moveTo>
                      <a:pt x="499361" y="191225"/>
                    </a:moveTo>
                    <a:lnTo>
                      <a:pt x="499361" y="250008"/>
                    </a:lnTo>
                    <a:lnTo>
                      <a:pt x="558245" y="250008"/>
                    </a:lnTo>
                    <a:lnTo>
                      <a:pt x="558245" y="191225"/>
                    </a:lnTo>
                    <a:close/>
                    <a:moveTo>
                      <a:pt x="50593" y="191225"/>
                    </a:moveTo>
                    <a:lnTo>
                      <a:pt x="50593" y="250008"/>
                    </a:lnTo>
                    <a:lnTo>
                      <a:pt x="109477" y="250008"/>
                    </a:lnTo>
                    <a:lnTo>
                      <a:pt x="109477" y="191225"/>
                    </a:lnTo>
                    <a:close/>
                    <a:moveTo>
                      <a:pt x="324062" y="161682"/>
                    </a:moveTo>
                    <a:lnTo>
                      <a:pt x="324062" y="226204"/>
                    </a:lnTo>
                    <a:lnTo>
                      <a:pt x="388693" y="226204"/>
                    </a:lnTo>
                    <a:lnTo>
                      <a:pt x="388693" y="161682"/>
                    </a:lnTo>
                    <a:close/>
                    <a:moveTo>
                      <a:pt x="220144" y="161682"/>
                    </a:moveTo>
                    <a:lnTo>
                      <a:pt x="220144" y="226204"/>
                    </a:lnTo>
                    <a:lnTo>
                      <a:pt x="284775" y="226204"/>
                    </a:lnTo>
                    <a:lnTo>
                      <a:pt x="284775" y="161682"/>
                    </a:lnTo>
                    <a:close/>
                    <a:moveTo>
                      <a:pt x="499361" y="96797"/>
                    </a:moveTo>
                    <a:lnTo>
                      <a:pt x="499361" y="155579"/>
                    </a:lnTo>
                    <a:lnTo>
                      <a:pt x="558245" y="155579"/>
                    </a:lnTo>
                    <a:lnTo>
                      <a:pt x="558245" y="96797"/>
                    </a:lnTo>
                    <a:close/>
                    <a:moveTo>
                      <a:pt x="50593" y="96797"/>
                    </a:moveTo>
                    <a:lnTo>
                      <a:pt x="50593" y="155579"/>
                    </a:lnTo>
                    <a:lnTo>
                      <a:pt x="109477" y="155579"/>
                    </a:lnTo>
                    <a:lnTo>
                      <a:pt x="109477" y="96797"/>
                    </a:lnTo>
                    <a:close/>
                    <a:moveTo>
                      <a:pt x="324062" y="57938"/>
                    </a:moveTo>
                    <a:lnTo>
                      <a:pt x="324062" y="122461"/>
                    </a:lnTo>
                    <a:lnTo>
                      <a:pt x="388693" y="122461"/>
                    </a:lnTo>
                    <a:lnTo>
                      <a:pt x="388693" y="57938"/>
                    </a:lnTo>
                    <a:close/>
                    <a:moveTo>
                      <a:pt x="220144" y="57938"/>
                    </a:moveTo>
                    <a:lnTo>
                      <a:pt x="220144" y="122461"/>
                    </a:lnTo>
                    <a:lnTo>
                      <a:pt x="284775" y="122461"/>
                    </a:lnTo>
                    <a:lnTo>
                      <a:pt x="284775" y="57938"/>
                    </a:lnTo>
                    <a:close/>
                    <a:moveTo>
                      <a:pt x="469401" y="44033"/>
                    </a:moveTo>
                    <a:lnTo>
                      <a:pt x="608838" y="44033"/>
                    </a:lnTo>
                    <a:lnTo>
                      <a:pt x="608838" y="491629"/>
                    </a:lnTo>
                    <a:lnTo>
                      <a:pt x="510950" y="491629"/>
                    </a:lnTo>
                    <a:lnTo>
                      <a:pt x="510950" y="391651"/>
                    </a:lnTo>
                    <a:lnTo>
                      <a:pt x="469401" y="391651"/>
                    </a:lnTo>
                    <a:close/>
                    <a:moveTo>
                      <a:pt x="0" y="44033"/>
                    </a:moveTo>
                    <a:lnTo>
                      <a:pt x="139437" y="44033"/>
                    </a:lnTo>
                    <a:lnTo>
                      <a:pt x="139437" y="391651"/>
                    </a:lnTo>
                    <a:lnTo>
                      <a:pt x="97889" y="391651"/>
                    </a:lnTo>
                    <a:lnTo>
                      <a:pt x="97889" y="491629"/>
                    </a:lnTo>
                    <a:lnTo>
                      <a:pt x="0" y="491629"/>
                    </a:lnTo>
                    <a:close/>
                    <a:moveTo>
                      <a:pt x="164558" y="0"/>
                    </a:moveTo>
                    <a:lnTo>
                      <a:pt x="444279" y="0"/>
                    </a:lnTo>
                    <a:lnTo>
                      <a:pt x="444279" y="491629"/>
                    </a:lnTo>
                    <a:lnTo>
                      <a:pt x="336781" y="491629"/>
                    </a:lnTo>
                    <a:lnTo>
                      <a:pt x="336781" y="381866"/>
                    </a:lnTo>
                    <a:lnTo>
                      <a:pt x="272056" y="381866"/>
                    </a:lnTo>
                    <a:lnTo>
                      <a:pt x="272056" y="491629"/>
                    </a:lnTo>
                    <a:lnTo>
                      <a:pt x="164558" y="49162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56" name="íṧľide"/>
            <p:cNvGrpSpPr/>
            <p:nvPr/>
          </p:nvGrpSpPr>
          <p:grpSpPr>
            <a:xfrm>
              <a:off x="4274340" y="2979845"/>
              <a:ext cx="826700" cy="826700"/>
              <a:chOff x="4031329" y="2479508"/>
              <a:chExt cx="826700" cy="826700"/>
            </a:xfrm>
          </p:grpSpPr>
          <p:sp>
            <p:nvSpPr>
              <p:cNvPr id="64" name="iṥļïḋé"/>
              <p:cNvSpPr/>
              <p:nvPr/>
            </p:nvSpPr>
            <p:spPr>
              <a:xfrm>
                <a:off x="4031329" y="2479508"/>
                <a:ext cx="826700" cy="826700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65" name="iśľíḋé"/>
              <p:cNvSpPr/>
              <p:nvPr/>
            </p:nvSpPr>
            <p:spPr bwMode="auto">
              <a:xfrm>
                <a:off x="4250840" y="2641266"/>
                <a:ext cx="412306" cy="449134"/>
              </a:xfrm>
              <a:custGeom>
                <a:avLst/>
                <a:gdLst>
                  <a:gd name="connsiteX0" fmla="*/ 373273 h 605239"/>
                  <a:gd name="connsiteY0" fmla="*/ 373273 h 605239"/>
                  <a:gd name="connsiteX1" fmla="*/ 373273 h 605239"/>
                  <a:gd name="connsiteY1" fmla="*/ 373273 h 605239"/>
                  <a:gd name="connsiteX2" fmla="*/ 373273 h 605239"/>
                  <a:gd name="connsiteY2" fmla="*/ 373273 h 605239"/>
                  <a:gd name="connsiteX3" fmla="*/ 373273 h 605239"/>
                  <a:gd name="connsiteY3" fmla="*/ 373273 h 605239"/>
                  <a:gd name="connsiteX4" fmla="*/ 373273 h 605239"/>
                  <a:gd name="connsiteY4" fmla="*/ 373273 h 605239"/>
                  <a:gd name="connsiteX5" fmla="*/ 373273 h 605239"/>
                  <a:gd name="connsiteY5" fmla="*/ 373273 h 605239"/>
                  <a:gd name="connsiteX6" fmla="*/ 373273 h 605239"/>
                  <a:gd name="connsiteY6" fmla="*/ 373273 h 605239"/>
                  <a:gd name="connsiteX7" fmla="*/ 373273 h 605239"/>
                  <a:gd name="connsiteY7" fmla="*/ 373273 h 605239"/>
                  <a:gd name="connsiteX8" fmla="*/ 373273 h 605239"/>
                  <a:gd name="connsiteY8" fmla="*/ 373273 h 605239"/>
                  <a:gd name="connsiteX9" fmla="*/ 373273 h 605239"/>
                  <a:gd name="connsiteY9" fmla="*/ 373273 h 605239"/>
                  <a:gd name="connsiteX10" fmla="*/ 373273 h 605239"/>
                  <a:gd name="connsiteY10" fmla="*/ 373273 h 605239"/>
                  <a:gd name="connsiteX11" fmla="*/ 373273 h 605239"/>
                  <a:gd name="connsiteY11" fmla="*/ 373273 h 605239"/>
                  <a:gd name="connsiteX12" fmla="*/ 373273 h 605239"/>
                  <a:gd name="connsiteY12" fmla="*/ 373273 h 605239"/>
                  <a:gd name="connsiteX13" fmla="*/ 373273 h 605239"/>
                  <a:gd name="connsiteY13" fmla="*/ 373273 h 605239"/>
                  <a:gd name="connsiteX14" fmla="*/ 373273 h 605239"/>
                  <a:gd name="connsiteY14" fmla="*/ 373273 h 605239"/>
                  <a:gd name="connsiteX15" fmla="*/ 373273 h 605239"/>
                  <a:gd name="connsiteY15" fmla="*/ 373273 h 605239"/>
                  <a:gd name="connsiteX16" fmla="*/ 373273 h 605239"/>
                  <a:gd name="connsiteY16" fmla="*/ 373273 h 605239"/>
                  <a:gd name="connsiteX17" fmla="*/ 373273 h 605239"/>
                  <a:gd name="connsiteY17" fmla="*/ 373273 h 605239"/>
                  <a:gd name="connsiteX18" fmla="*/ 373273 h 605239"/>
                  <a:gd name="connsiteY18" fmla="*/ 373273 h 605239"/>
                  <a:gd name="connsiteX19" fmla="*/ 373273 h 605239"/>
                  <a:gd name="connsiteY19" fmla="*/ 373273 h 605239"/>
                  <a:gd name="connsiteX20" fmla="*/ 373273 h 605239"/>
                  <a:gd name="connsiteY20" fmla="*/ 373273 h 605239"/>
                  <a:gd name="connsiteX21" fmla="*/ 373273 h 605239"/>
                  <a:gd name="connsiteY21" fmla="*/ 373273 h 605239"/>
                  <a:gd name="connsiteX22" fmla="*/ 373273 h 605239"/>
                  <a:gd name="connsiteY22" fmla="*/ 373273 h 605239"/>
                  <a:gd name="connsiteX23" fmla="*/ 373273 h 605239"/>
                  <a:gd name="connsiteY23" fmla="*/ 373273 h 605239"/>
                  <a:gd name="connsiteX24" fmla="*/ 373273 h 605239"/>
                  <a:gd name="connsiteY24" fmla="*/ 373273 h 605239"/>
                  <a:gd name="connsiteX25" fmla="*/ 373273 h 605239"/>
                  <a:gd name="connsiteY25" fmla="*/ 373273 h 605239"/>
                  <a:gd name="connsiteX26" fmla="*/ 373273 h 605239"/>
                  <a:gd name="connsiteY26" fmla="*/ 373273 h 605239"/>
                  <a:gd name="connsiteX27" fmla="*/ 373273 h 605239"/>
                  <a:gd name="connsiteY27" fmla="*/ 373273 h 605239"/>
                  <a:gd name="connsiteX28" fmla="*/ 373273 h 605239"/>
                  <a:gd name="connsiteY28" fmla="*/ 373273 h 605239"/>
                  <a:gd name="connsiteX29" fmla="*/ 373273 h 605239"/>
                  <a:gd name="connsiteY29" fmla="*/ 373273 h 605239"/>
                  <a:gd name="connsiteX30" fmla="*/ 373273 h 605239"/>
                  <a:gd name="connsiteY30" fmla="*/ 373273 h 605239"/>
                  <a:gd name="connsiteX31" fmla="*/ 373273 h 605239"/>
                  <a:gd name="connsiteY31" fmla="*/ 373273 h 605239"/>
                  <a:gd name="connsiteX32" fmla="*/ 373273 h 605239"/>
                  <a:gd name="connsiteY32" fmla="*/ 373273 h 605239"/>
                  <a:gd name="connsiteX33" fmla="*/ 373273 h 605239"/>
                  <a:gd name="connsiteY33" fmla="*/ 373273 h 605239"/>
                  <a:gd name="connsiteX34" fmla="*/ 373273 h 605239"/>
                  <a:gd name="connsiteY34" fmla="*/ 373273 h 605239"/>
                  <a:gd name="connsiteX35" fmla="*/ 373273 h 605239"/>
                  <a:gd name="connsiteY35" fmla="*/ 373273 h 605239"/>
                  <a:gd name="connsiteX36" fmla="*/ 373273 h 605239"/>
                  <a:gd name="connsiteY36" fmla="*/ 373273 h 605239"/>
                  <a:gd name="connsiteX37" fmla="*/ 373273 h 605239"/>
                  <a:gd name="connsiteY37" fmla="*/ 373273 h 605239"/>
                  <a:gd name="connsiteX38" fmla="*/ 373273 h 605239"/>
                  <a:gd name="connsiteY38" fmla="*/ 373273 h 605239"/>
                  <a:gd name="connsiteX39" fmla="*/ 373273 h 605239"/>
                  <a:gd name="connsiteY39" fmla="*/ 373273 h 605239"/>
                  <a:gd name="connsiteX40" fmla="*/ 373273 h 605239"/>
                  <a:gd name="connsiteY40" fmla="*/ 373273 h 605239"/>
                  <a:gd name="connsiteX41" fmla="*/ 373273 h 605239"/>
                  <a:gd name="connsiteY41" fmla="*/ 373273 h 605239"/>
                  <a:gd name="connsiteX42" fmla="*/ 373273 h 605239"/>
                  <a:gd name="connsiteY42" fmla="*/ 373273 h 605239"/>
                  <a:gd name="connsiteX43" fmla="*/ 373273 h 605239"/>
                  <a:gd name="connsiteY43" fmla="*/ 373273 h 605239"/>
                  <a:gd name="connsiteX44" fmla="*/ 373273 h 605239"/>
                  <a:gd name="connsiteY44" fmla="*/ 373273 h 605239"/>
                  <a:gd name="connsiteX45" fmla="*/ 373273 h 605239"/>
                  <a:gd name="connsiteY45" fmla="*/ 373273 h 605239"/>
                  <a:gd name="connsiteX46" fmla="*/ 373273 h 605239"/>
                  <a:gd name="connsiteY46" fmla="*/ 373273 h 605239"/>
                  <a:gd name="connsiteX47" fmla="*/ 373273 h 605239"/>
                  <a:gd name="connsiteY47" fmla="*/ 373273 h 605239"/>
                  <a:gd name="connsiteX48" fmla="*/ 373273 h 605239"/>
                  <a:gd name="connsiteY48" fmla="*/ 373273 h 605239"/>
                  <a:gd name="connsiteX49" fmla="*/ 373273 h 605239"/>
                  <a:gd name="connsiteY49" fmla="*/ 373273 h 605239"/>
                  <a:gd name="connsiteX50" fmla="*/ 373273 h 605239"/>
                  <a:gd name="connsiteY50" fmla="*/ 373273 h 605239"/>
                  <a:gd name="connsiteX51" fmla="*/ 373273 h 605239"/>
                  <a:gd name="connsiteY51" fmla="*/ 373273 h 605239"/>
                  <a:gd name="connsiteX52" fmla="*/ 373273 h 605239"/>
                  <a:gd name="connsiteY52" fmla="*/ 373273 h 605239"/>
                  <a:gd name="connsiteX53" fmla="*/ 373273 h 605239"/>
                  <a:gd name="connsiteY53" fmla="*/ 373273 h 605239"/>
                  <a:gd name="connsiteX54" fmla="*/ 373273 h 605239"/>
                  <a:gd name="connsiteY54" fmla="*/ 373273 h 605239"/>
                  <a:gd name="connsiteX55" fmla="*/ 373273 h 605239"/>
                  <a:gd name="connsiteY55" fmla="*/ 373273 h 605239"/>
                  <a:gd name="connsiteX56" fmla="*/ 373273 h 605239"/>
                  <a:gd name="connsiteY56" fmla="*/ 373273 h 605239"/>
                  <a:gd name="connsiteX57" fmla="*/ 373273 h 605239"/>
                  <a:gd name="connsiteY57" fmla="*/ 373273 h 605239"/>
                  <a:gd name="connsiteX58" fmla="*/ 373273 h 605239"/>
                  <a:gd name="connsiteY58" fmla="*/ 373273 h 605239"/>
                  <a:gd name="connsiteX59" fmla="*/ 373273 h 605239"/>
                  <a:gd name="connsiteY59" fmla="*/ 373273 h 605239"/>
                  <a:gd name="connsiteX60" fmla="*/ 373273 h 605239"/>
                  <a:gd name="connsiteY60" fmla="*/ 373273 h 605239"/>
                  <a:gd name="connsiteX61" fmla="*/ 373273 h 605239"/>
                  <a:gd name="connsiteY61" fmla="*/ 373273 h 605239"/>
                  <a:gd name="connsiteX62" fmla="*/ 373273 h 605239"/>
                  <a:gd name="connsiteY62" fmla="*/ 373273 h 605239"/>
                  <a:gd name="connsiteX63" fmla="*/ 373273 h 605239"/>
                  <a:gd name="connsiteY63" fmla="*/ 373273 h 605239"/>
                  <a:gd name="connsiteX64" fmla="*/ 373273 h 605239"/>
                  <a:gd name="connsiteY64" fmla="*/ 373273 h 605239"/>
                  <a:gd name="connsiteX65" fmla="*/ 373273 h 605239"/>
                  <a:gd name="connsiteY65" fmla="*/ 373273 h 605239"/>
                  <a:gd name="connsiteX66" fmla="*/ 373273 h 605239"/>
                  <a:gd name="connsiteY66" fmla="*/ 373273 h 605239"/>
                  <a:gd name="connsiteX67" fmla="*/ 373273 h 605239"/>
                  <a:gd name="connsiteY67" fmla="*/ 373273 h 605239"/>
                  <a:gd name="connsiteX68" fmla="*/ 373273 h 605239"/>
                  <a:gd name="connsiteY68" fmla="*/ 373273 h 605239"/>
                  <a:gd name="connsiteX69" fmla="*/ 373273 h 605239"/>
                  <a:gd name="connsiteY69" fmla="*/ 373273 h 605239"/>
                  <a:gd name="connsiteX70" fmla="*/ 373273 h 605239"/>
                  <a:gd name="connsiteY70" fmla="*/ 373273 h 605239"/>
                  <a:gd name="connsiteX71" fmla="*/ 373273 h 605239"/>
                  <a:gd name="connsiteY71" fmla="*/ 373273 h 605239"/>
                  <a:gd name="connsiteX72" fmla="*/ 373273 h 605239"/>
                  <a:gd name="connsiteY72" fmla="*/ 373273 h 605239"/>
                  <a:gd name="connsiteX73" fmla="*/ 373273 h 605239"/>
                  <a:gd name="connsiteY73" fmla="*/ 373273 h 605239"/>
                  <a:gd name="connsiteX74" fmla="*/ 373273 h 605239"/>
                  <a:gd name="connsiteY74" fmla="*/ 373273 h 605239"/>
                  <a:gd name="connsiteX75" fmla="*/ 373273 h 605239"/>
                  <a:gd name="connsiteY75" fmla="*/ 373273 h 605239"/>
                  <a:gd name="connsiteX76" fmla="*/ 373273 h 605239"/>
                  <a:gd name="connsiteY76" fmla="*/ 373273 h 605239"/>
                  <a:gd name="connsiteX77" fmla="*/ 373273 h 605239"/>
                  <a:gd name="connsiteY77" fmla="*/ 373273 h 605239"/>
                  <a:gd name="connsiteX78" fmla="*/ 373273 h 605239"/>
                  <a:gd name="connsiteY78" fmla="*/ 373273 h 605239"/>
                  <a:gd name="connsiteX79" fmla="*/ 373273 h 605239"/>
                  <a:gd name="connsiteY79" fmla="*/ 373273 h 605239"/>
                  <a:gd name="connsiteX80" fmla="*/ 373273 h 605239"/>
                  <a:gd name="connsiteY80" fmla="*/ 373273 h 605239"/>
                  <a:gd name="connsiteX81" fmla="*/ 373273 h 605239"/>
                  <a:gd name="connsiteY81" fmla="*/ 373273 h 605239"/>
                  <a:gd name="connsiteX82" fmla="*/ 373273 h 605239"/>
                  <a:gd name="connsiteY82" fmla="*/ 373273 h 605239"/>
                  <a:gd name="connsiteX83" fmla="*/ 373273 h 605239"/>
                  <a:gd name="connsiteY83" fmla="*/ 373273 h 605239"/>
                  <a:gd name="connsiteX84" fmla="*/ 373273 h 605239"/>
                  <a:gd name="connsiteY84" fmla="*/ 373273 h 605239"/>
                  <a:gd name="connsiteX85" fmla="*/ 373273 h 605239"/>
                  <a:gd name="connsiteY85" fmla="*/ 373273 h 605239"/>
                  <a:gd name="connsiteX86" fmla="*/ 373273 h 605239"/>
                  <a:gd name="connsiteY86" fmla="*/ 373273 h 605239"/>
                  <a:gd name="connsiteX87" fmla="*/ 373273 h 605239"/>
                  <a:gd name="connsiteY87" fmla="*/ 373273 h 605239"/>
                  <a:gd name="connsiteX88" fmla="*/ 373273 h 605239"/>
                  <a:gd name="connsiteY88" fmla="*/ 373273 h 605239"/>
                  <a:gd name="connsiteX89" fmla="*/ 373273 h 605239"/>
                  <a:gd name="connsiteY89" fmla="*/ 373273 h 605239"/>
                  <a:gd name="connsiteX90" fmla="*/ 373273 h 605239"/>
                  <a:gd name="connsiteY90" fmla="*/ 373273 h 605239"/>
                  <a:gd name="connsiteX91" fmla="*/ 373273 h 605239"/>
                  <a:gd name="connsiteY91" fmla="*/ 373273 h 605239"/>
                  <a:gd name="connsiteX92" fmla="*/ 373273 h 605239"/>
                  <a:gd name="connsiteY92" fmla="*/ 373273 h 605239"/>
                  <a:gd name="connsiteX93" fmla="*/ 373273 h 605239"/>
                  <a:gd name="connsiteY93" fmla="*/ 373273 h 605239"/>
                  <a:gd name="connsiteX94" fmla="*/ 373273 h 605239"/>
                  <a:gd name="connsiteY94" fmla="*/ 373273 h 605239"/>
                  <a:gd name="connsiteX95" fmla="*/ 373273 h 605239"/>
                  <a:gd name="connsiteY95" fmla="*/ 373273 h 605239"/>
                  <a:gd name="connsiteX96" fmla="*/ 373273 h 605239"/>
                  <a:gd name="connsiteY96" fmla="*/ 373273 h 605239"/>
                  <a:gd name="connsiteX97" fmla="*/ 373273 h 605239"/>
                  <a:gd name="connsiteY97" fmla="*/ 373273 h 605239"/>
                  <a:gd name="connsiteX98" fmla="*/ 373273 h 605239"/>
                  <a:gd name="connsiteY98" fmla="*/ 373273 h 605239"/>
                  <a:gd name="connsiteX99" fmla="*/ 373273 h 605239"/>
                  <a:gd name="connsiteY99" fmla="*/ 373273 h 605239"/>
                  <a:gd name="connsiteX100" fmla="*/ 373273 h 605239"/>
                  <a:gd name="connsiteY100" fmla="*/ 373273 h 605239"/>
                  <a:gd name="connsiteX101" fmla="*/ 373273 h 605239"/>
                  <a:gd name="connsiteY101" fmla="*/ 373273 h 605239"/>
                  <a:gd name="connsiteX102" fmla="*/ 373273 h 605239"/>
                  <a:gd name="connsiteY102" fmla="*/ 373273 h 605239"/>
                  <a:gd name="connsiteX103" fmla="*/ 373273 h 605239"/>
                  <a:gd name="connsiteY103" fmla="*/ 373273 h 605239"/>
                  <a:gd name="connsiteX104" fmla="*/ 373273 h 605239"/>
                  <a:gd name="connsiteY104" fmla="*/ 373273 h 605239"/>
                  <a:gd name="connsiteX105" fmla="*/ 373273 h 605239"/>
                  <a:gd name="connsiteY105" fmla="*/ 373273 h 605239"/>
                  <a:gd name="connsiteX106" fmla="*/ 373273 h 605239"/>
                  <a:gd name="connsiteY106" fmla="*/ 373273 h 605239"/>
                  <a:gd name="connsiteX107" fmla="*/ 373273 h 605239"/>
                  <a:gd name="connsiteY107" fmla="*/ 373273 h 605239"/>
                  <a:gd name="connsiteX108" fmla="*/ 373273 h 605239"/>
                  <a:gd name="connsiteY108" fmla="*/ 373273 h 605239"/>
                  <a:gd name="connsiteX109" fmla="*/ 373273 h 605239"/>
                  <a:gd name="connsiteY109" fmla="*/ 373273 h 605239"/>
                  <a:gd name="connsiteX110" fmla="*/ 373273 h 605239"/>
                  <a:gd name="connsiteY110" fmla="*/ 373273 h 605239"/>
                  <a:gd name="connsiteX111" fmla="*/ 373273 h 605239"/>
                  <a:gd name="connsiteY111" fmla="*/ 373273 h 605239"/>
                  <a:gd name="connsiteX112" fmla="*/ 373273 h 605239"/>
                  <a:gd name="connsiteY112" fmla="*/ 373273 h 605239"/>
                  <a:gd name="connsiteX113" fmla="*/ 373273 h 605239"/>
                  <a:gd name="connsiteY113" fmla="*/ 373273 h 605239"/>
                  <a:gd name="connsiteX114" fmla="*/ 373273 h 605239"/>
                  <a:gd name="connsiteY114" fmla="*/ 373273 h 605239"/>
                  <a:gd name="connsiteX115" fmla="*/ 373273 h 605239"/>
                  <a:gd name="connsiteY115" fmla="*/ 373273 h 605239"/>
                  <a:gd name="connsiteX116" fmla="*/ 373273 h 605239"/>
                  <a:gd name="connsiteY116" fmla="*/ 373273 h 605239"/>
                  <a:gd name="connsiteX117" fmla="*/ 373273 h 605239"/>
                  <a:gd name="connsiteY117" fmla="*/ 373273 h 605239"/>
                  <a:gd name="connsiteX118" fmla="*/ 373273 h 605239"/>
                  <a:gd name="connsiteY118" fmla="*/ 373273 h 60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</a:cxnLst>
                <a:rect l="l" t="t" r="r" b="b"/>
                <a:pathLst>
                  <a:path w="556973" h="606722">
                    <a:moveTo>
                      <a:pt x="480190" y="505602"/>
                    </a:moveTo>
                    <a:cubicBezTo>
                      <a:pt x="522897" y="505602"/>
                      <a:pt x="556973" y="537147"/>
                      <a:pt x="556973" y="556162"/>
                    </a:cubicBezTo>
                    <a:lnTo>
                      <a:pt x="556439" y="586996"/>
                    </a:lnTo>
                    <a:cubicBezTo>
                      <a:pt x="556261" y="597925"/>
                      <a:pt x="547364" y="606722"/>
                      <a:pt x="536420" y="606722"/>
                    </a:cubicBezTo>
                    <a:lnTo>
                      <a:pt x="425206" y="606722"/>
                    </a:lnTo>
                    <a:cubicBezTo>
                      <a:pt x="414173" y="606722"/>
                      <a:pt x="405187" y="597748"/>
                      <a:pt x="405187" y="586640"/>
                    </a:cubicBezTo>
                    <a:lnTo>
                      <a:pt x="405187" y="556162"/>
                    </a:lnTo>
                    <a:cubicBezTo>
                      <a:pt x="405187" y="537147"/>
                      <a:pt x="437573" y="505602"/>
                      <a:pt x="480190" y="505602"/>
                    </a:cubicBezTo>
                    <a:close/>
                    <a:moveTo>
                      <a:pt x="277711" y="505602"/>
                    </a:moveTo>
                    <a:cubicBezTo>
                      <a:pt x="320343" y="505602"/>
                      <a:pt x="354520" y="537147"/>
                      <a:pt x="354520" y="556162"/>
                    </a:cubicBezTo>
                    <a:lnTo>
                      <a:pt x="353986" y="586996"/>
                    </a:lnTo>
                    <a:cubicBezTo>
                      <a:pt x="353808" y="597925"/>
                      <a:pt x="344908" y="606722"/>
                      <a:pt x="333960" y="606722"/>
                    </a:cubicBezTo>
                    <a:lnTo>
                      <a:pt x="222619" y="606722"/>
                    </a:lnTo>
                    <a:cubicBezTo>
                      <a:pt x="211582" y="606722"/>
                      <a:pt x="202593" y="597748"/>
                      <a:pt x="202593" y="586640"/>
                    </a:cubicBezTo>
                    <a:lnTo>
                      <a:pt x="202593" y="556162"/>
                    </a:lnTo>
                    <a:cubicBezTo>
                      <a:pt x="202593" y="537147"/>
                      <a:pt x="234990" y="505602"/>
                      <a:pt x="277711" y="505602"/>
                    </a:cubicBezTo>
                    <a:close/>
                    <a:moveTo>
                      <a:pt x="75118" y="505602"/>
                    </a:moveTo>
                    <a:cubicBezTo>
                      <a:pt x="117839" y="505602"/>
                      <a:pt x="151927" y="537147"/>
                      <a:pt x="151927" y="556162"/>
                    </a:cubicBezTo>
                    <a:lnTo>
                      <a:pt x="151393" y="586996"/>
                    </a:lnTo>
                    <a:cubicBezTo>
                      <a:pt x="151215" y="597925"/>
                      <a:pt x="142315" y="606722"/>
                      <a:pt x="131367" y="606722"/>
                    </a:cubicBezTo>
                    <a:lnTo>
                      <a:pt x="20115" y="606722"/>
                    </a:lnTo>
                    <a:cubicBezTo>
                      <a:pt x="8989" y="606722"/>
                      <a:pt x="0" y="597748"/>
                      <a:pt x="0" y="586640"/>
                    </a:cubicBezTo>
                    <a:lnTo>
                      <a:pt x="0" y="556162"/>
                    </a:lnTo>
                    <a:cubicBezTo>
                      <a:pt x="0" y="537147"/>
                      <a:pt x="32486" y="505602"/>
                      <a:pt x="75118" y="505602"/>
                    </a:cubicBezTo>
                    <a:close/>
                    <a:moveTo>
                      <a:pt x="481080" y="379219"/>
                    </a:moveTo>
                    <a:cubicBezTo>
                      <a:pt x="509043" y="379219"/>
                      <a:pt x="531711" y="401840"/>
                      <a:pt x="531711" y="429744"/>
                    </a:cubicBezTo>
                    <a:cubicBezTo>
                      <a:pt x="531711" y="457648"/>
                      <a:pt x="509043" y="480269"/>
                      <a:pt x="481080" y="480269"/>
                    </a:cubicBezTo>
                    <a:cubicBezTo>
                      <a:pt x="453117" y="480269"/>
                      <a:pt x="430449" y="457648"/>
                      <a:pt x="430449" y="429744"/>
                    </a:cubicBezTo>
                    <a:cubicBezTo>
                      <a:pt x="430449" y="401840"/>
                      <a:pt x="453117" y="379219"/>
                      <a:pt x="481080" y="379219"/>
                    </a:cubicBezTo>
                    <a:close/>
                    <a:moveTo>
                      <a:pt x="278522" y="379219"/>
                    </a:moveTo>
                    <a:cubicBezTo>
                      <a:pt x="306465" y="379219"/>
                      <a:pt x="329118" y="401840"/>
                      <a:pt x="329118" y="429744"/>
                    </a:cubicBezTo>
                    <a:cubicBezTo>
                      <a:pt x="329118" y="457648"/>
                      <a:pt x="306465" y="480269"/>
                      <a:pt x="278522" y="480269"/>
                    </a:cubicBezTo>
                    <a:cubicBezTo>
                      <a:pt x="250579" y="480269"/>
                      <a:pt x="227926" y="457648"/>
                      <a:pt x="227926" y="429744"/>
                    </a:cubicBezTo>
                    <a:cubicBezTo>
                      <a:pt x="227926" y="401840"/>
                      <a:pt x="250579" y="379219"/>
                      <a:pt x="278522" y="379219"/>
                    </a:cubicBezTo>
                    <a:close/>
                    <a:moveTo>
                      <a:pt x="76035" y="379219"/>
                    </a:moveTo>
                    <a:cubicBezTo>
                      <a:pt x="103998" y="379219"/>
                      <a:pt x="126666" y="401840"/>
                      <a:pt x="126666" y="429744"/>
                    </a:cubicBezTo>
                    <a:cubicBezTo>
                      <a:pt x="126666" y="457648"/>
                      <a:pt x="103998" y="480269"/>
                      <a:pt x="76035" y="480269"/>
                    </a:cubicBezTo>
                    <a:cubicBezTo>
                      <a:pt x="48072" y="480269"/>
                      <a:pt x="25404" y="457648"/>
                      <a:pt x="25404" y="429744"/>
                    </a:cubicBezTo>
                    <a:cubicBezTo>
                      <a:pt x="25404" y="401840"/>
                      <a:pt x="48072" y="379219"/>
                      <a:pt x="76035" y="379219"/>
                    </a:cubicBezTo>
                    <a:close/>
                    <a:moveTo>
                      <a:pt x="353886" y="80445"/>
                    </a:moveTo>
                    <a:lnTo>
                      <a:pt x="360298" y="80445"/>
                    </a:lnTo>
                    <a:cubicBezTo>
                      <a:pt x="362435" y="80445"/>
                      <a:pt x="364216" y="80712"/>
                      <a:pt x="365552" y="81424"/>
                    </a:cubicBezTo>
                    <a:cubicBezTo>
                      <a:pt x="366888" y="82136"/>
                      <a:pt x="367956" y="82936"/>
                      <a:pt x="368669" y="84004"/>
                    </a:cubicBezTo>
                    <a:cubicBezTo>
                      <a:pt x="369381" y="84982"/>
                      <a:pt x="369916" y="86139"/>
                      <a:pt x="370183" y="87206"/>
                    </a:cubicBezTo>
                    <a:cubicBezTo>
                      <a:pt x="370361" y="88363"/>
                      <a:pt x="370539" y="89341"/>
                      <a:pt x="370539" y="90142"/>
                    </a:cubicBezTo>
                    <a:cubicBezTo>
                      <a:pt x="370539" y="92277"/>
                      <a:pt x="370272" y="94145"/>
                      <a:pt x="369738" y="95569"/>
                    </a:cubicBezTo>
                    <a:cubicBezTo>
                      <a:pt x="369203" y="96992"/>
                      <a:pt x="368491" y="98149"/>
                      <a:pt x="367600" y="98949"/>
                    </a:cubicBezTo>
                    <a:cubicBezTo>
                      <a:pt x="366799" y="99750"/>
                      <a:pt x="365819" y="100373"/>
                      <a:pt x="364840" y="100728"/>
                    </a:cubicBezTo>
                    <a:cubicBezTo>
                      <a:pt x="363860" y="101084"/>
                      <a:pt x="362791" y="101262"/>
                      <a:pt x="361723" y="101262"/>
                    </a:cubicBezTo>
                    <a:lnTo>
                      <a:pt x="353886" y="101262"/>
                    </a:lnTo>
                    <a:close/>
                    <a:moveTo>
                      <a:pt x="288104" y="75802"/>
                    </a:moveTo>
                    <a:lnTo>
                      <a:pt x="288104" y="81667"/>
                    </a:lnTo>
                    <a:lnTo>
                      <a:pt x="303770" y="81667"/>
                    </a:lnTo>
                    <a:lnTo>
                      <a:pt x="303770" y="128321"/>
                    </a:lnTo>
                    <a:lnTo>
                      <a:pt x="312404" y="128321"/>
                    </a:lnTo>
                    <a:lnTo>
                      <a:pt x="312404" y="81667"/>
                    </a:lnTo>
                    <a:lnTo>
                      <a:pt x="328159" y="81667"/>
                    </a:lnTo>
                    <a:lnTo>
                      <a:pt x="328159" y="75802"/>
                    </a:lnTo>
                    <a:close/>
                    <a:moveTo>
                      <a:pt x="233896" y="75802"/>
                    </a:moveTo>
                    <a:lnTo>
                      <a:pt x="233896" y="81667"/>
                    </a:lnTo>
                    <a:lnTo>
                      <a:pt x="249562" y="81667"/>
                    </a:lnTo>
                    <a:lnTo>
                      <a:pt x="249562" y="128321"/>
                    </a:lnTo>
                    <a:lnTo>
                      <a:pt x="258196" y="128321"/>
                    </a:lnTo>
                    <a:lnTo>
                      <a:pt x="258196" y="81667"/>
                    </a:lnTo>
                    <a:lnTo>
                      <a:pt x="273951" y="81667"/>
                    </a:lnTo>
                    <a:lnTo>
                      <a:pt x="273951" y="75802"/>
                    </a:lnTo>
                    <a:close/>
                    <a:moveTo>
                      <a:pt x="183516" y="75802"/>
                    </a:moveTo>
                    <a:lnTo>
                      <a:pt x="183516" y="128321"/>
                    </a:lnTo>
                    <a:lnTo>
                      <a:pt x="192239" y="128321"/>
                    </a:lnTo>
                    <a:lnTo>
                      <a:pt x="192239" y="104683"/>
                    </a:lnTo>
                    <a:lnTo>
                      <a:pt x="215026" y="104683"/>
                    </a:lnTo>
                    <a:lnTo>
                      <a:pt x="215026" y="128321"/>
                    </a:lnTo>
                    <a:lnTo>
                      <a:pt x="223571" y="128321"/>
                    </a:lnTo>
                    <a:lnTo>
                      <a:pt x="223571" y="75802"/>
                    </a:lnTo>
                    <a:lnTo>
                      <a:pt x="215026" y="75802"/>
                    </a:lnTo>
                    <a:lnTo>
                      <a:pt x="215026" y="98818"/>
                    </a:lnTo>
                    <a:lnTo>
                      <a:pt x="192239" y="98818"/>
                    </a:lnTo>
                    <a:lnTo>
                      <a:pt x="192239" y="75802"/>
                    </a:lnTo>
                    <a:close/>
                    <a:moveTo>
                      <a:pt x="345338" y="73935"/>
                    </a:moveTo>
                    <a:lnTo>
                      <a:pt x="345338" y="126366"/>
                    </a:lnTo>
                    <a:lnTo>
                      <a:pt x="353883" y="126366"/>
                    </a:lnTo>
                    <a:lnTo>
                      <a:pt x="353883" y="107438"/>
                    </a:lnTo>
                    <a:lnTo>
                      <a:pt x="360203" y="107438"/>
                    </a:lnTo>
                    <a:cubicBezTo>
                      <a:pt x="362962" y="107438"/>
                      <a:pt x="365544" y="107083"/>
                      <a:pt x="367769" y="106283"/>
                    </a:cubicBezTo>
                    <a:cubicBezTo>
                      <a:pt x="370083" y="105394"/>
                      <a:pt x="372041" y="104328"/>
                      <a:pt x="373644" y="102817"/>
                    </a:cubicBezTo>
                    <a:cubicBezTo>
                      <a:pt x="375246" y="101306"/>
                      <a:pt x="376492" y="99529"/>
                      <a:pt x="377382" y="97396"/>
                    </a:cubicBezTo>
                    <a:cubicBezTo>
                      <a:pt x="378361" y="95264"/>
                      <a:pt x="378717" y="92775"/>
                      <a:pt x="378717" y="90109"/>
                    </a:cubicBezTo>
                    <a:cubicBezTo>
                      <a:pt x="378717" y="87621"/>
                      <a:pt x="378183" y="85400"/>
                      <a:pt x="377115" y="83356"/>
                    </a:cubicBezTo>
                    <a:cubicBezTo>
                      <a:pt x="376136" y="81312"/>
                      <a:pt x="374712" y="79623"/>
                      <a:pt x="372932" y="78201"/>
                    </a:cubicBezTo>
                    <a:cubicBezTo>
                      <a:pt x="371240" y="76779"/>
                      <a:pt x="369282" y="75713"/>
                      <a:pt x="367057" y="75002"/>
                    </a:cubicBezTo>
                    <a:cubicBezTo>
                      <a:pt x="364921" y="74291"/>
                      <a:pt x="362695" y="73935"/>
                      <a:pt x="360381" y="73935"/>
                    </a:cubicBezTo>
                    <a:close/>
                    <a:moveTo>
                      <a:pt x="177285" y="0"/>
                    </a:moveTo>
                    <a:lnTo>
                      <a:pt x="379785" y="0"/>
                    </a:lnTo>
                    <a:cubicBezTo>
                      <a:pt x="435684" y="0"/>
                      <a:pt x="481080" y="45321"/>
                      <a:pt x="481080" y="101129"/>
                    </a:cubicBezTo>
                    <a:cubicBezTo>
                      <a:pt x="481080" y="156847"/>
                      <a:pt x="435684" y="202257"/>
                      <a:pt x="379785" y="202257"/>
                    </a:cubicBezTo>
                    <a:lnTo>
                      <a:pt x="303859" y="202257"/>
                    </a:lnTo>
                    <a:lnTo>
                      <a:pt x="303859" y="227495"/>
                    </a:lnTo>
                    <a:lnTo>
                      <a:pt x="481080" y="227495"/>
                    </a:lnTo>
                    <a:cubicBezTo>
                      <a:pt x="495055" y="227495"/>
                      <a:pt x="506448" y="238781"/>
                      <a:pt x="506448" y="252732"/>
                    </a:cubicBezTo>
                    <a:lnTo>
                      <a:pt x="506448" y="303297"/>
                    </a:lnTo>
                    <a:cubicBezTo>
                      <a:pt x="506448" y="317249"/>
                      <a:pt x="495055" y="328623"/>
                      <a:pt x="481080" y="328623"/>
                    </a:cubicBezTo>
                    <a:cubicBezTo>
                      <a:pt x="467105" y="328623"/>
                      <a:pt x="455801" y="317249"/>
                      <a:pt x="455801" y="303297"/>
                    </a:cubicBezTo>
                    <a:lnTo>
                      <a:pt x="455801" y="278059"/>
                    </a:lnTo>
                    <a:lnTo>
                      <a:pt x="303859" y="278059"/>
                    </a:lnTo>
                    <a:lnTo>
                      <a:pt x="303859" y="303297"/>
                    </a:lnTo>
                    <a:cubicBezTo>
                      <a:pt x="303859" y="317249"/>
                      <a:pt x="292555" y="328623"/>
                      <a:pt x="278580" y="328623"/>
                    </a:cubicBezTo>
                    <a:cubicBezTo>
                      <a:pt x="264516" y="328623"/>
                      <a:pt x="253212" y="317249"/>
                      <a:pt x="253212" y="303297"/>
                    </a:cubicBezTo>
                    <a:lnTo>
                      <a:pt x="253212" y="278059"/>
                    </a:lnTo>
                    <a:lnTo>
                      <a:pt x="102160" y="278059"/>
                    </a:lnTo>
                    <a:lnTo>
                      <a:pt x="102160" y="303297"/>
                    </a:lnTo>
                    <a:cubicBezTo>
                      <a:pt x="102160" y="317249"/>
                      <a:pt x="90856" y="328623"/>
                      <a:pt x="76881" y="328623"/>
                    </a:cubicBezTo>
                    <a:cubicBezTo>
                      <a:pt x="62817" y="328623"/>
                      <a:pt x="51513" y="317249"/>
                      <a:pt x="51513" y="303297"/>
                    </a:cubicBezTo>
                    <a:lnTo>
                      <a:pt x="51513" y="252732"/>
                    </a:lnTo>
                    <a:cubicBezTo>
                      <a:pt x="51513" y="238781"/>
                      <a:pt x="62817" y="227495"/>
                      <a:pt x="76881" y="227495"/>
                    </a:cubicBezTo>
                    <a:lnTo>
                      <a:pt x="253212" y="227495"/>
                    </a:lnTo>
                    <a:lnTo>
                      <a:pt x="253212" y="202257"/>
                    </a:lnTo>
                    <a:lnTo>
                      <a:pt x="177285" y="202257"/>
                    </a:lnTo>
                    <a:cubicBezTo>
                      <a:pt x="121387" y="202257"/>
                      <a:pt x="75991" y="156847"/>
                      <a:pt x="75991" y="101129"/>
                    </a:cubicBezTo>
                    <a:cubicBezTo>
                      <a:pt x="75991" y="45321"/>
                      <a:pt x="121387" y="0"/>
                      <a:pt x="1772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57" name="ïŝḻïďé"/>
            <p:cNvGrpSpPr/>
            <p:nvPr/>
          </p:nvGrpSpPr>
          <p:grpSpPr>
            <a:xfrm>
              <a:off x="9655056" y="2979845"/>
              <a:ext cx="826700" cy="826700"/>
              <a:chOff x="5439638" y="2479508"/>
              <a:chExt cx="826700" cy="826700"/>
            </a:xfrm>
          </p:grpSpPr>
          <p:sp>
            <p:nvSpPr>
              <p:cNvPr id="61" name="íšḷidê"/>
              <p:cNvSpPr/>
              <p:nvPr/>
            </p:nvSpPr>
            <p:spPr>
              <a:xfrm>
                <a:off x="5439638" y="2479508"/>
                <a:ext cx="826700" cy="826700"/>
              </a:xfrm>
              <a:prstGeom prst="ellipse">
                <a:avLst/>
              </a:prstGeom>
              <a:solidFill>
                <a:srgbClr val="00B050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62" name="ïşļîḓê"/>
              <p:cNvSpPr/>
              <p:nvPr/>
            </p:nvSpPr>
            <p:spPr bwMode="auto">
              <a:xfrm>
                <a:off x="5684549" y="2668291"/>
                <a:ext cx="336872" cy="449133"/>
              </a:xfrm>
              <a:custGeom>
                <a:avLst/>
                <a:gdLst>
                  <a:gd name="T0" fmla="*/ 649 w 7781"/>
                  <a:gd name="T1" fmla="*/ 0 h 10375"/>
                  <a:gd name="T2" fmla="*/ 7132 w 7781"/>
                  <a:gd name="T3" fmla="*/ 0 h 10375"/>
                  <a:gd name="T4" fmla="*/ 7781 w 7781"/>
                  <a:gd name="T5" fmla="*/ 649 h 10375"/>
                  <a:gd name="T6" fmla="*/ 7781 w 7781"/>
                  <a:gd name="T7" fmla="*/ 9726 h 10375"/>
                  <a:gd name="T8" fmla="*/ 7132 w 7781"/>
                  <a:gd name="T9" fmla="*/ 10375 h 10375"/>
                  <a:gd name="T10" fmla="*/ 649 w 7781"/>
                  <a:gd name="T11" fmla="*/ 10375 h 10375"/>
                  <a:gd name="T12" fmla="*/ 0 w 7781"/>
                  <a:gd name="T13" fmla="*/ 9726 h 10375"/>
                  <a:gd name="T14" fmla="*/ 0 w 7781"/>
                  <a:gd name="T15" fmla="*/ 649 h 10375"/>
                  <a:gd name="T16" fmla="*/ 649 w 7781"/>
                  <a:gd name="T17" fmla="*/ 0 h 10375"/>
                  <a:gd name="T18" fmla="*/ 1297 w 7781"/>
                  <a:gd name="T19" fmla="*/ 1296 h 10375"/>
                  <a:gd name="T20" fmla="*/ 1297 w 7781"/>
                  <a:gd name="T21" fmla="*/ 8429 h 10375"/>
                  <a:gd name="T22" fmla="*/ 6485 w 7781"/>
                  <a:gd name="T23" fmla="*/ 8429 h 10375"/>
                  <a:gd name="T24" fmla="*/ 6485 w 7781"/>
                  <a:gd name="T25" fmla="*/ 1296 h 10375"/>
                  <a:gd name="T26" fmla="*/ 1297 w 7781"/>
                  <a:gd name="T27" fmla="*/ 1296 h 10375"/>
                  <a:gd name="T28" fmla="*/ 3891 w 7781"/>
                  <a:gd name="T29" fmla="*/ 8915 h 10375"/>
                  <a:gd name="T30" fmla="*/ 3405 w 7781"/>
                  <a:gd name="T31" fmla="*/ 9401 h 10375"/>
                  <a:gd name="T32" fmla="*/ 3891 w 7781"/>
                  <a:gd name="T33" fmla="*/ 9888 h 10375"/>
                  <a:gd name="T34" fmla="*/ 4377 w 7781"/>
                  <a:gd name="T35" fmla="*/ 9401 h 10375"/>
                  <a:gd name="T36" fmla="*/ 3891 w 7781"/>
                  <a:gd name="T37" fmla="*/ 8915 h 10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81" h="10375">
                    <a:moveTo>
                      <a:pt x="649" y="0"/>
                    </a:moveTo>
                    <a:lnTo>
                      <a:pt x="7132" y="0"/>
                    </a:lnTo>
                    <a:cubicBezTo>
                      <a:pt x="7490" y="0"/>
                      <a:pt x="7781" y="290"/>
                      <a:pt x="7781" y="649"/>
                    </a:cubicBezTo>
                    <a:lnTo>
                      <a:pt x="7781" y="9726"/>
                    </a:lnTo>
                    <a:cubicBezTo>
                      <a:pt x="7781" y="10084"/>
                      <a:pt x="7491" y="10375"/>
                      <a:pt x="7132" y="10375"/>
                    </a:cubicBezTo>
                    <a:lnTo>
                      <a:pt x="649" y="10375"/>
                    </a:lnTo>
                    <a:cubicBezTo>
                      <a:pt x="291" y="10375"/>
                      <a:pt x="0" y="10085"/>
                      <a:pt x="0" y="9726"/>
                    </a:cubicBezTo>
                    <a:lnTo>
                      <a:pt x="0" y="649"/>
                    </a:lnTo>
                    <a:cubicBezTo>
                      <a:pt x="1" y="290"/>
                      <a:pt x="291" y="0"/>
                      <a:pt x="649" y="0"/>
                    </a:cubicBezTo>
                    <a:close/>
                    <a:moveTo>
                      <a:pt x="1297" y="1296"/>
                    </a:moveTo>
                    <a:lnTo>
                      <a:pt x="1297" y="8429"/>
                    </a:lnTo>
                    <a:lnTo>
                      <a:pt x="6485" y="8429"/>
                    </a:lnTo>
                    <a:lnTo>
                      <a:pt x="6485" y="1296"/>
                    </a:lnTo>
                    <a:lnTo>
                      <a:pt x="1297" y="1296"/>
                    </a:lnTo>
                    <a:close/>
                    <a:moveTo>
                      <a:pt x="3891" y="8915"/>
                    </a:moveTo>
                    <a:cubicBezTo>
                      <a:pt x="3622" y="8915"/>
                      <a:pt x="3405" y="9133"/>
                      <a:pt x="3405" y="9401"/>
                    </a:cubicBezTo>
                    <a:cubicBezTo>
                      <a:pt x="3405" y="9670"/>
                      <a:pt x="3622" y="9888"/>
                      <a:pt x="3891" y="9888"/>
                    </a:cubicBezTo>
                    <a:cubicBezTo>
                      <a:pt x="4160" y="9888"/>
                      <a:pt x="4377" y="9670"/>
                      <a:pt x="4377" y="9401"/>
                    </a:cubicBezTo>
                    <a:cubicBezTo>
                      <a:pt x="4377" y="9133"/>
                      <a:pt x="4160" y="8915"/>
                      <a:pt x="3891" y="891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</p:grpSp>
      <p:sp>
        <p:nvSpPr>
          <p:cNvPr id="46" name="标题 1"/>
          <p:cNvSpPr txBox="1"/>
          <p:nvPr/>
        </p:nvSpPr>
        <p:spPr>
          <a:xfrm>
            <a:off x="5504523" y="884279"/>
            <a:ext cx="1283665" cy="243522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1200" b="0" dirty="0">
                <a:solidFill>
                  <a:schemeClr val="bg1"/>
                </a:solidFill>
              </a:rPr>
              <a:t>师徒链接形态</a:t>
            </a:r>
            <a:r>
              <a:rPr lang="en-US" altLang="zh-CN" sz="1200" b="0" dirty="0">
                <a:solidFill>
                  <a:schemeClr val="bg1"/>
                </a:solidFill>
              </a:rPr>
              <a:t>1</a:t>
            </a:r>
            <a:endParaRPr lang="zh-CN" altLang="en-US" sz="1200" b="0" dirty="0">
              <a:solidFill>
                <a:schemeClr val="bg1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3724528" y="4653778"/>
            <a:ext cx="198002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zh-CN" altLang="en-US" sz="1400" dirty="0">
                <a:solidFill>
                  <a:srgbClr val="D9AB00"/>
                </a:solidFill>
              </a:rPr>
              <a:t>客服进行师傅相关匹配</a:t>
            </a:r>
            <a:endParaRPr lang="zh-CN" altLang="en-US" sz="1400" dirty="0">
              <a:solidFill>
                <a:srgbClr val="D9AB00"/>
              </a:solidFill>
            </a:endParaRPr>
          </a:p>
        </p:txBody>
      </p:sp>
      <p:sp>
        <p:nvSpPr>
          <p:cNvPr id="50" name="iṥļïḋé"/>
          <p:cNvSpPr/>
          <p:nvPr/>
        </p:nvSpPr>
        <p:spPr>
          <a:xfrm>
            <a:off x="6969699" y="3519359"/>
            <a:ext cx="826700" cy="826700"/>
          </a:xfrm>
          <a:prstGeom prst="ellipse">
            <a:avLst/>
          </a:prstGeom>
          <a:solidFill>
            <a:srgbClr val="C0000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2" name="矩形 51"/>
          <p:cNvSpPr/>
          <p:nvPr/>
        </p:nvSpPr>
        <p:spPr>
          <a:xfrm>
            <a:off x="6244414" y="4522831"/>
            <a:ext cx="2357326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080"/>
              </a:lnSpc>
              <a:spcBef>
                <a:spcPct val="0"/>
              </a:spcBef>
            </a:pPr>
            <a:r>
              <a:rPr lang="zh-CN" altLang="en-US" sz="1400" dirty="0">
                <a:solidFill>
                  <a:srgbClr val="C00000"/>
                </a:solidFill>
              </a:rPr>
              <a:t>客服进行师傅相关匹配，客户引导好徒弟，准备好问题</a:t>
            </a:r>
            <a:endParaRPr lang="zh-CN" altLang="en-US" sz="1400" dirty="0">
              <a:solidFill>
                <a:srgbClr val="C00000"/>
              </a:solidFill>
            </a:endParaRPr>
          </a:p>
          <a:p>
            <a:pPr algn="ctr">
              <a:spcBef>
                <a:spcPct val="0"/>
              </a:spcBef>
            </a:pPr>
            <a:endParaRPr lang="zh-CN" altLang="en-US" sz="1400" dirty="0">
              <a:solidFill>
                <a:srgbClr val="C00000"/>
              </a:solidFill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9100924" y="4667535"/>
            <a:ext cx="215956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zh-CN" altLang="en-US" sz="1400" dirty="0">
                <a:solidFill>
                  <a:srgbClr val="00B050"/>
                </a:solidFill>
              </a:rPr>
              <a:t>双方进行微信或电话沟通</a:t>
            </a:r>
            <a:endParaRPr lang="zh-CN" altLang="en-US" sz="1400" dirty="0">
              <a:solidFill>
                <a:srgbClr val="00B050"/>
              </a:solidFill>
            </a:endParaRPr>
          </a:p>
        </p:txBody>
      </p:sp>
      <p:cxnSp>
        <p:nvCxnSpPr>
          <p:cNvPr id="9" name="直接箭头连接符 8"/>
          <p:cNvCxnSpPr/>
          <p:nvPr/>
        </p:nvCxnSpPr>
        <p:spPr>
          <a:xfrm>
            <a:off x="2751055" y="3956270"/>
            <a:ext cx="1293659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箭头连接符 58"/>
          <p:cNvCxnSpPr/>
          <p:nvPr/>
        </p:nvCxnSpPr>
        <p:spPr>
          <a:xfrm>
            <a:off x="5394793" y="3956270"/>
            <a:ext cx="1293659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箭头连接符 59"/>
          <p:cNvCxnSpPr/>
          <p:nvPr/>
        </p:nvCxnSpPr>
        <p:spPr>
          <a:xfrm>
            <a:off x="8070136" y="3949596"/>
            <a:ext cx="1293659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íşlïďê"/>
          <p:cNvSpPr/>
          <p:nvPr/>
        </p:nvSpPr>
        <p:spPr bwMode="gray">
          <a:xfrm>
            <a:off x="7190177" y="3746379"/>
            <a:ext cx="405173" cy="406035"/>
          </a:xfrm>
          <a:custGeom>
            <a:avLst/>
            <a:gdLst>
              <a:gd name="T0" fmla="*/ 12123 w 12728"/>
              <a:gd name="T1" fmla="*/ 2794 h 12755"/>
              <a:gd name="T2" fmla="*/ 11574 w 12728"/>
              <a:gd name="T3" fmla="*/ 3342 h 12755"/>
              <a:gd name="T4" fmla="*/ 9386 w 12728"/>
              <a:gd name="T5" fmla="*/ 1151 h 12755"/>
              <a:gd name="T6" fmla="*/ 9932 w 12728"/>
              <a:gd name="T7" fmla="*/ 605 h 12755"/>
              <a:gd name="T8" fmla="*/ 12123 w 12728"/>
              <a:gd name="T9" fmla="*/ 605 h 12755"/>
              <a:gd name="T10" fmla="*/ 12123 w 12728"/>
              <a:gd name="T11" fmla="*/ 2794 h 12755"/>
              <a:gd name="T12" fmla="*/ 10479 w 12728"/>
              <a:gd name="T13" fmla="*/ 4436 h 12755"/>
              <a:gd name="T14" fmla="*/ 7742 w 12728"/>
              <a:gd name="T15" fmla="*/ 7169 h 12755"/>
              <a:gd name="T16" fmla="*/ 3926 w 12728"/>
              <a:gd name="T17" fmla="*/ 8827 h 12755"/>
              <a:gd name="T18" fmla="*/ 5551 w 12728"/>
              <a:gd name="T19" fmla="*/ 4980 h 12755"/>
              <a:gd name="T20" fmla="*/ 8290 w 12728"/>
              <a:gd name="T21" fmla="*/ 2245 h 12755"/>
              <a:gd name="T22" fmla="*/ 10479 w 12728"/>
              <a:gd name="T23" fmla="*/ 4436 h 12755"/>
              <a:gd name="T24" fmla="*/ 4711 w 12728"/>
              <a:gd name="T25" fmla="*/ 1735 h 12755"/>
              <a:gd name="T26" fmla="*/ 2356 w 12728"/>
              <a:gd name="T27" fmla="*/ 1735 h 12755"/>
              <a:gd name="T28" fmla="*/ 1570 w 12728"/>
              <a:gd name="T29" fmla="*/ 2522 h 12755"/>
              <a:gd name="T30" fmla="*/ 1570 w 12728"/>
              <a:gd name="T31" fmla="*/ 10392 h 12755"/>
              <a:gd name="T32" fmla="*/ 2356 w 12728"/>
              <a:gd name="T33" fmla="*/ 11179 h 12755"/>
              <a:gd name="T34" fmla="*/ 10210 w 12728"/>
              <a:gd name="T35" fmla="*/ 11179 h 12755"/>
              <a:gd name="T36" fmla="*/ 10995 w 12728"/>
              <a:gd name="T37" fmla="*/ 10392 h 12755"/>
              <a:gd name="T38" fmla="*/ 10995 w 12728"/>
              <a:gd name="T39" fmla="*/ 7245 h 12755"/>
              <a:gd name="T40" fmla="*/ 11780 w 12728"/>
              <a:gd name="T41" fmla="*/ 6458 h 12755"/>
              <a:gd name="T42" fmla="*/ 12565 w 12728"/>
              <a:gd name="T43" fmla="*/ 7245 h 12755"/>
              <a:gd name="T44" fmla="*/ 12565 w 12728"/>
              <a:gd name="T45" fmla="*/ 11181 h 12755"/>
              <a:gd name="T46" fmla="*/ 10995 w 12728"/>
              <a:gd name="T47" fmla="*/ 12755 h 12755"/>
              <a:gd name="T48" fmla="*/ 1570 w 12728"/>
              <a:gd name="T49" fmla="*/ 12755 h 12755"/>
              <a:gd name="T50" fmla="*/ 0 w 12728"/>
              <a:gd name="T51" fmla="*/ 11181 h 12755"/>
              <a:gd name="T52" fmla="*/ 0 w 12728"/>
              <a:gd name="T53" fmla="*/ 1735 h 12755"/>
              <a:gd name="T54" fmla="*/ 1570 w 12728"/>
              <a:gd name="T55" fmla="*/ 161 h 12755"/>
              <a:gd name="T56" fmla="*/ 4711 w 12728"/>
              <a:gd name="T57" fmla="*/ 161 h 12755"/>
              <a:gd name="T58" fmla="*/ 5496 w 12728"/>
              <a:gd name="T59" fmla="*/ 948 h 12755"/>
              <a:gd name="T60" fmla="*/ 4711 w 12728"/>
              <a:gd name="T61" fmla="*/ 1735 h 12755"/>
              <a:gd name="T62" fmla="*/ 4711 w 12728"/>
              <a:gd name="T63" fmla="*/ 1735 h 127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2728" h="12755">
                <a:moveTo>
                  <a:pt x="12123" y="2794"/>
                </a:moveTo>
                <a:lnTo>
                  <a:pt x="11574" y="3342"/>
                </a:lnTo>
                <a:lnTo>
                  <a:pt x="9386" y="1151"/>
                </a:lnTo>
                <a:lnTo>
                  <a:pt x="9932" y="605"/>
                </a:lnTo>
                <a:cubicBezTo>
                  <a:pt x="10537" y="0"/>
                  <a:pt x="11518" y="0"/>
                  <a:pt x="12123" y="605"/>
                </a:cubicBezTo>
                <a:cubicBezTo>
                  <a:pt x="12728" y="1208"/>
                  <a:pt x="12728" y="2189"/>
                  <a:pt x="12123" y="2794"/>
                </a:cubicBezTo>
                <a:close/>
                <a:moveTo>
                  <a:pt x="10479" y="4436"/>
                </a:moveTo>
                <a:lnTo>
                  <a:pt x="7742" y="7169"/>
                </a:lnTo>
                <a:lnTo>
                  <a:pt x="3926" y="8827"/>
                </a:lnTo>
                <a:lnTo>
                  <a:pt x="5551" y="4980"/>
                </a:lnTo>
                <a:lnTo>
                  <a:pt x="8290" y="2245"/>
                </a:lnTo>
                <a:lnTo>
                  <a:pt x="10479" y="4436"/>
                </a:lnTo>
                <a:close/>
                <a:moveTo>
                  <a:pt x="4711" y="1735"/>
                </a:moveTo>
                <a:lnTo>
                  <a:pt x="2356" y="1735"/>
                </a:lnTo>
                <a:cubicBezTo>
                  <a:pt x="1921" y="1735"/>
                  <a:pt x="1570" y="2088"/>
                  <a:pt x="1570" y="2522"/>
                </a:cubicBezTo>
                <a:lnTo>
                  <a:pt x="1570" y="10392"/>
                </a:lnTo>
                <a:cubicBezTo>
                  <a:pt x="1570" y="10826"/>
                  <a:pt x="1921" y="11179"/>
                  <a:pt x="2356" y="11179"/>
                </a:cubicBezTo>
                <a:lnTo>
                  <a:pt x="10210" y="11179"/>
                </a:lnTo>
                <a:cubicBezTo>
                  <a:pt x="10644" y="11179"/>
                  <a:pt x="10995" y="10826"/>
                  <a:pt x="10995" y="10392"/>
                </a:cubicBezTo>
                <a:lnTo>
                  <a:pt x="10995" y="7245"/>
                </a:lnTo>
                <a:cubicBezTo>
                  <a:pt x="10995" y="6811"/>
                  <a:pt x="11346" y="6458"/>
                  <a:pt x="11780" y="6458"/>
                </a:cubicBezTo>
                <a:cubicBezTo>
                  <a:pt x="12214" y="6458"/>
                  <a:pt x="12565" y="6811"/>
                  <a:pt x="12565" y="7245"/>
                </a:cubicBezTo>
                <a:lnTo>
                  <a:pt x="12565" y="11181"/>
                </a:lnTo>
                <a:cubicBezTo>
                  <a:pt x="12565" y="12049"/>
                  <a:pt x="11861" y="12755"/>
                  <a:pt x="10995" y="12755"/>
                </a:cubicBezTo>
                <a:lnTo>
                  <a:pt x="1570" y="12755"/>
                </a:lnTo>
                <a:cubicBezTo>
                  <a:pt x="704" y="12755"/>
                  <a:pt x="0" y="12051"/>
                  <a:pt x="0" y="11181"/>
                </a:cubicBezTo>
                <a:lnTo>
                  <a:pt x="0" y="1735"/>
                </a:lnTo>
                <a:cubicBezTo>
                  <a:pt x="0" y="866"/>
                  <a:pt x="704" y="161"/>
                  <a:pt x="1570" y="161"/>
                </a:cubicBezTo>
                <a:lnTo>
                  <a:pt x="4711" y="161"/>
                </a:lnTo>
                <a:cubicBezTo>
                  <a:pt x="5145" y="161"/>
                  <a:pt x="5496" y="514"/>
                  <a:pt x="5496" y="948"/>
                </a:cubicBezTo>
                <a:cubicBezTo>
                  <a:pt x="5496" y="1384"/>
                  <a:pt x="5145" y="1735"/>
                  <a:pt x="4711" y="1735"/>
                </a:cubicBezTo>
                <a:close/>
                <a:moveTo>
                  <a:pt x="4711" y="1735"/>
                </a:moveTo>
                <a:close/>
              </a:path>
            </a:pathLst>
          </a:custGeom>
          <a:solidFill>
            <a:schemeClr val="bg1"/>
          </a:solidFill>
          <a:ln w="28575"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</a:p>
        </p:txBody>
      </p:sp>
      <p:sp>
        <p:nvSpPr>
          <p:cNvPr id="115" name="iṩḷiḑè"/>
          <p:cNvSpPr txBox="1"/>
          <p:nvPr/>
        </p:nvSpPr>
        <p:spPr bwMode="auto">
          <a:xfrm>
            <a:off x="5020235" y="1292652"/>
            <a:ext cx="2898915" cy="39846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sz="2400" b="1" dirty="0">
                <a:solidFill>
                  <a:schemeClr val="bg1">
                    <a:lumMod val="95000"/>
                  </a:schemeClr>
                </a:solidFill>
              </a:rPr>
              <a:t>客服介入</a:t>
            </a:r>
            <a:endParaRPr lang="zh-CN" altLang="en-US" sz="2400" b="1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70718" y="31843"/>
            <a:ext cx="10850563" cy="1028699"/>
          </a:xfrm>
        </p:spPr>
        <p:txBody>
          <a:bodyPr/>
          <a:lstStyle/>
          <a:p>
            <a:r>
              <a:rPr lang="zh-CN" altLang="en-US" dirty="0"/>
              <a:t>产品形态</a:t>
            </a:r>
            <a:endParaRPr lang="zh-CN" altLang="en-US" dirty="0"/>
          </a:p>
        </p:txBody>
      </p:sp>
      <p:grpSp>
        <p:nvGrpSpPr>
          <p:cNvPr id="47" name="217663" descr="OQAAAB+LCAAAAAAABACrVlIpqSxIVbJSCs5NLCpxyUxML0rM9SxJzVXSUfJMUbLKK83J0VFyysxLycxLdy/KLy0oVrKKjq0FALpUkis5AAAA" title="iSlide™ 版权声明  COPYRIGHT NOTICE"/>
          <p:cNvGrpSpPr>
            <a:grpSpLocks noChangeAspect="1"/>
          </p:cNvGrpSpPr>
          <p:nvPr/>
        </p:nvGrpSpPr>
        <p:grpSpPr>
          <a:xfrm>
            <a:off x="673101" y="697766"/>
            <a:ext cx="9808655" cy="4269504"/>
            <a:chOff x="673101" y="223881"/>
            <a:chExt cx="9808655" cy="4269504"/>
          </a:xfrm>
        </p:grpSpPr>
        <p:grpSp>
          <p:nvGrpSpPr>
            <p:cNvPr id="48" name="iṩḷîḓê"/>
            <p:cNvGrpSpPr/>
            <p:nvPr/>
          </p:nvGrpSpPr>
          <p:grpSpPr>
            <a:xfrm>
              <a:off x="4714349" y="223881"/>
              <a:ext cx="2763303" cy="2813518"/>
              <a:chOff x="4991666" y="223883"/>
              <a:chExt cx="2483333" cy="2528461"/>
            </a:xfrm>
          </p:grpSpPr>
          <p:sp>
            <p:nvSpPr>
              <p:cNvPr id="78" name="iṥļîďè"/>
              <p:cNvSpPr/>
              <p:nvPr/>
            </p:nvSpPr>
            <p:spPr bwMode="auto">
              <a:xfrm>
                <a:off x="6010392" y="1436290"/>
                <a:ext cx="1075897" cy="1142994"/>
              </a:xfrm>
              <a:custGeom>
                <a:avLst/>
                <a:gdLst>
                  <a:gd name="T0" fmla="*/ 163 w 270"/>
                  <a:gd name="T1" fmla="*/ 37 h 287"/>
                  <a:gd name="T2" fmla="*/ 227 w 270"/>
                  <a:gd name="T3" fmla="*/ 267 h 287"/>
                  <a:gd name="T4" fmla="*/ 245 w 270"/>
                  <a:gd name="T5" fmla="*/ 278 h 287"/>
                  <a:gd name="T6" fmla="*/ 258 w 270"/>
                  <a:gd name="T7" fmla="*/ 276 h 287"/>
                  <a:gd name="T8" fmla="*/ 268 w 270"/>
                  <a:gd name="T9" fmla="*/ 259 h 287"/>
                  <a:gd name="T10" fmla="*/ 202 w 270"/>
                  <a:gd name="T11" fmla="*/ 17 h 287"/>
                  <a:gd name="T12" fmla="*/ 162 w 270"/>
                  <a:gd name="T13" fmla="*/ 17 h 287"/>
                  <a:gd name="T14" fmla="*/ 140 w 270"/>
                  <a:gd name="T15" fmla="*/ 0 h 287"/>
                  <a:gd name="T16" fmla="*/ 140 w 270"/>
                  <a:gd name="T17" fmla="*/ 0 h 287"/>
                  <a:gd name="T18" fmla="*/ 118 w 270"/>
                  <a:gd name="T19" fmla="*/ 17 h 287"/>
                  <a:gd name="T20" fmla="*/ 78 w 270"/>
                  <a:gd name="T21" fmla="*/ 17 h 287"/>
                  <a:gd name="T22" fmla="*/ 2 w 270"/>
                  <a:gd name="T23" fmla="*/ 266 h 287"/>
                  <a:gd name="T24" fmla="*/ 13 w 270"/>
                  <a:gd name="T25" fmla="*/ 283 h 287"/>
                  <a:gd name="T26" fmla="*/ 25 w 270"/>
                  <a:gd name="T27" fmla="*/ 285 h 287"/>
                  <a:gd name="T28" fmla="*/ 44 w 270"/>
                  <a:gd name="T29" fmla="*/ 274 h 287"/>
                  <a:gd name="T30" fmla="*/ 117 w 270"/>
                  <a:gd name="T31" fmla="*/ 30 h 287"/>
                  <a:gd name="T32" fmla="*/ 117 w 270"/>
                  <a:gd name="T33" fmla="*/ 191 h 287"/>
                  <a:gd name="T34" fmla="*/ 140 w 270"/>
                  <a:gd name="T35" fmla="*/ 214 h 287"/>
                  <a:gd name="T36" fmla="*/ 140 w 270"/>
                  <a:gd name="T37" fmla="*/ 214 h 287"/>
                  <a:gd name="T38" fmla="*/ 163 w 270"/>
                  <a:gd name="T39" fmla="*/ 191 h 287"/>
                  <a:gd name="T40" fmla="*/ 163 w 270"/>
                  <a:gd name="T41" fmla="*/ 37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0" h="287">
                    <a:moveTo>
                      <a:pt x="163" y="37"/>
                    </a:moveTo>
                    <a:cubicBezTo>
                      <a:pt x="227" y="267"/>
                      <a:pt x="227" y="267"/>
                      <a:pt x="227" y="267"/>
                    </a:cubicBezTo>
                    <a:cubicBezTo>
                      <a:pt x="229" y="275"/>
                      <a:pt x="237" y="280"/>
                      <a:pt x="245" y="278"/>
                    </a:cubicBezTo>
                    <a:cubicBezTo>
                      <a:pt x="258" y="276"/>
                      <a:pt x="258" y="276"/>
                      <a:pt x="258" y="276"/>
                    </a:cubicBezTo>
                    <a:cubicBezTo>
                      <a:pt x="266" y="274"/>
                      <a:pt x="270" y="267"/>
                      <a:pt x="268" y="259"/>
                    </a:cubicBezTo>
                    <a:cubicBezTo>
                      <a:pt x="202" y="17"/>
                      <a:pt x="202" y="17"/>
                      <a:pt x="202" y="17"/>
                    </a:cubicBezTo>
                    <a:cubicBezTo>
                      <a:pt x="162" y="17"/>
                      <a:pt x="162" y="17"/>
                      <a:pt x="162" y="17"/>
                    </a:cubicBezTo>
                    <a:cubicBezTo>
                      <a:pt x="160" y="8"/>
                      <a:pt x="151" y="0"/>
                      <a:pt x="140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0" y="0"/>
                      <a:pt x="121" y="8"/>
                      <a:pt x="118" y="17"/>
                    </a:cubicBezTo>
                    <a:cubicBezTo>
                      <a:pt x="78" y="17"/>
                      <a:pt x="78" y="17"/>
                      <a:pt x="78" y="17"/>
                    </a:cubicBezTo>
                    <a:cubicBezTo>
                      <a:pt x="2" y="266"/>
                      <a:pt x="2" y="266"/>
                      <a:pt x="2" y="266"/>
                    </a:cubicBezTo>
                    <a:cubicBezTo>
                      <a:pt x="0" y="274"/>
                      <a:pt x="5" y="282"/>
                      <a:pt x="13" y="283"/>
                    </a:cubicBezTo>
                    <a:cubicBezTo>
                      <a:pt x="25" y="285"/>
                      <a:pt x="25" y="285"/>
                      <a:pt x="25" y="285"/>
                    </a:cubicBezTo>
                    <a:cubicBezTo>
                      <a:pt x="33" y="287"/>
                      <a:pt x="42" y="282"/>
                      <a:pt x="44" y="274"/>
                    </a:cubicBezTo>
                    <a:cubicBezTo>
                      <a:pt x="117" y="30"/>
                      <a:pt x="117" y="30"/>
                      <a:pt x="117" y="30"/>
                    </a:cubicBezTo>
                    <a:cubicBezTo>
                      <a:pt x="117" y="191"/>
                      <a:pt x="117" y="191"/>
                      <a:pt x="117" y="191"/>
                    </a:cubicBezTo>
                    <a:cubicBezTo>
                      <a:pt x="117" y="204"/>
                      <a:pt x="128" y="214"/>
                      <a:pt x="140" y="214"/>
                    </a:cubicBezTo>
                    <a:cubicBezTo>
                      <a:pt x="140" y="214"/>
                      <a:pt x="140" y="214"/>
                      <a:pt x="140" y="214"/>
                    </a:cubicBezTo>
                    <a:cubicBezTo>
                      <a:pt x="153" y="214"/>
                      <a:pt x="163" y="204"/>
                      <a:pt x="163" y="191"/>
                    </a:cubicBezTo>
                    <a:lnTo>
                      <a:pt x="163" y="37"/>
                    </a:lnTo>
                    <a:close/>
                  </a:path>
                </a:pathLst>
              </a:custGeom>
              <a:solidFill>
                <a:srgbClr val="FEE3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80" name="ïšḻîḑe"/>
              <p:cNvSpPr/>
              <p:nvPr/>
            </p:nvSpPr>
            <p:spPr bwMode="auto">
              <a:xfrm>
                <a:off x="6477770" y="1591312"/>
                <a:ext cx="182787" cy="83296"/>
              </a:xfrm>
              <a:custGeom>
                <a:avLst/>
                <a:gdLst>
                  <a:gd name="T0" fmla="*/ 0 w 79"/>
                  <a:gd name="T1" fmla="*/ 0 h 36"/>
                  <a:gd name="T2" fmla="*/ 0 w 79"/>
                  <a:gd name="T3" fmla="*/ 36 h 36"/>
                  <a:gd name="T4" fmla="*/ 79 w 79"/>
                  <a:gd name="T5" fmla="*/ 33 h 36"/>
                  <a:gd name="T6" fmla="*/ 79 w 79"/>
                  <a:gd name="T7" fmla="*/ 0 h 36"/>
                  <a:gd name="T8" fmla="*/ 0 w 79"/>
                  <a:gd name="T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" h="36">
                    <a:moveTo>
                      <a:pt x="0" y="0"/>
                    </a:moveTo>
                    <a:lnTo>
                      <a:pt x="0" y="36"/>
                    </a:lnTo>
                    <a:lnTo>
                      <a:pt x="79" y="33"/>
                    </a:lnTo>
                    <a:lnTo>
                      <a:pt x="7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BA3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81" name="iṥlîḑé"/>
              <p:cNvSpPr/>
              <p:nvPr/>
            </p:nvSpPr>
            <p:spPr bwMode="auto">
              <a:xfrm>
                <a:off x="6665183" y="1591312"/>
                <a:ext cx="194355" cy="78668"/>
              </a:xfrm>
              <a:custGeom>
                <a:avLst/>
                <a:gdLst>
                  <a:gd name="T0" fmla="*/ 0 w 84"/>
                  <a:gd name="T1" fmla="*/ 0 h 34"/>
                  <a:gd name="T2" fmla="*/ 75 w 84"/>
                  <a:gd name="T3" fmla="*/ 0 h 34"/>
                  <a:gd name="T4" fmla="*/ 84 w 84"/>
                  <a:gd name="T5" fmla="*/ 33 h 34"/>
                  <a:gd name="T6" fmla="*/ 10 w 84"/>
                  <a:gd name="T7" fmla="*/ 34 h 34"/>
                  <a:gd name="T8" fmla="*/ 0 w 84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34">
                    <a:moveTo>
                      <a:pt x="0" y="0"/>
                    </a:moveTo>
                    <a:lnTo>
                      <a:pt x="75" y="0"/>
                    </a:lnTo>
                    <a:lnTo>
                      <a:pt x="84" y="33"/>
                    </a:lnTo>
                    <a:lnTo>
                      <a:pt x="10" y="3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BA3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84" name="iṩlïḍè"/>
              <p:cNvSpPr/>
              <p:nvPr/>
            </p:nvSpPr>
            <p:spPr bwMode="auto">
              <a:xfrm>
                <a:off x="5543013" y="223883"/>
                <a:ext cx="1931986" cy="1372057"/>
              </a:xfrm>
              <a:custGeom>
                <a:avLst/>
                <a:gdLst>
                  <a:gd name="T0" fmla="*/ 33 w 484"/>
                  <a:gd name="T1" fmla="*/ 0 h 344"/>
                  <a:gd name="T2" fmla="*/ 451 w 484"/>
                  <a:gd name="T3" fmla="*/ 0 h 344"/>
                  <a:gd name="T4" fmla="*/ 484 w 484"/>
                  <a:gd name="T5" fmla="*/ 33 h 344"/>
                  <a:gd name="T6" fmla="*/ 484 w 484"/>
                  <a:gd name="T7" fmla="*/ 311 h 344"/>
                  <a:gd name="T8" fmla="*/ 451 w 484"/>
                  <a:gd name="T9" fmla="*/ 344 h 344"/>
                  <a:gd name="T10" fmla="*/ 33 w 484"/>
                  <a:gd name="T11" fmla="*/ 344 h 344"/>
                  <a:gd name="T12" fmla="*/ 0 w 484"/>
                  <a:gd name="T13" fmla="*/ 311 h 344"/>
                  <a:gd name="T14" fmla="*/ 0 w 484"/>
                  <a:gd name="T15" fmla="*/ 33 h 344"/>
                  <a:gd name="T16" fmla="*/ 33 w 484"/>
                  <a:gd name="T17" fmla="*/ 0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4" h="344">
                    <a:moveTo>
                      <a:pt x="33" y="0"/>
                    </a:moveTo>
                    <a:cubicBezTo>
                      <a:pt x="451" y="0"/>
                      <a:pt x="451" y="0"/>
                      <a:pt x="451" y="0"/>
                    </a:cubicBezTo>
                    <a:cubicBezTo>
                      <a:pt x="469" y="0"/>
                      <a:pt x="484" y="15"/>
                      <a:pt x="484" y="33"/>
                    </a:cubicBezTo>
                    <a:cubicBezTo>
                      <a:pt x="484" y="311"/>
                      <a:pt x="484" y="311"/>
                      <a:pt x="484" y="311"/>
                    </a:cubicBezTo>
                    <a:cubicBezTo>
                      <a:pt x="484" y="329"/>
                      <a:pt x="469" y="344"/>
                      <a:pt x="451" y="344"/>
                    </a:cubicBezTo>
                    <a:cubicBezTo>
                      <a:pt x="33" y="344"/>
                      <a:pt x="33" y="344"/>
                      <a:pt x="33" y="344"/>
                    </a:cubicBezTo>
                    <a:cubicBezTo>
                      <a:pt x="15" y="344"/>
                      <a:pt x="0" y="329"/>
                      <a:pt x="0" y="311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15"/>
                      <a:pt x="15" y="0"/>
                      <a:pt x="33" y="0"/>
                    </a:cubicBezTo>
                    <a:close/>
                  </a:path>
                </a:pathLst>
              </a:custGeom>
              <a:solidFill>
                <a:srgbClr val="DABD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85" name="îsḻíďe"/>
              <p:cNvSpPr/>
              <p:nvPr/>
            </p:nvSpPr>
            <p:spPr bwMode="auto">
              <a:xfrm>
                <a:off x="5603171" y="223883"/>
                <a:ext cx="1871828" cy="1328095"/>
              </a:xfrm>
              <a:custGeom>
                <a:avLst/>
                <a:gdLst>
                  <a:gd name="T0" fmla="*/ 32 w 469"/>
                  <a:gd name="T1" fmla="*/ 0 h 333"/>
                  <a:gd name="T2" fmla="*/ 437 w 469"/>
                  <a:gd name="T3" fmla="*/ 0 h 333"/>
                  <a:gd name="T4" fmla="*/ 469 w 469"/>
                  <a:gd name="T5" fmla="*/ 32 h 333"/>
                  <a:gd name="T6" fmla="*/ 469 w 469"/>
                  <a:gd name="T7" fmla="*/ 301 h 333"/>
                  <a:gd name="T8" fmla="*/ 437 w 469"/>
                  <a:gd name="T9" fmla="*/ 333 h 333"/>
                  <a:gd name="T10" fmla="*/ 32 w 469"/>
                  <a:gd name="T11" fmla="*/ 333 h 333"/>
                  <a:gd name="T12" fmla="*/ 0 w 469"/>
                  <a:gd name="T13" fmla="*/ 301 h 333"/>
                  <a:gd name="T14" fmla="*/ 0 w 469"/>
                  <a:gd name="T15" fmla="*/ 32 h 333"/>
                  <a:gd name="T16" fmla="*/ 32 w 469"/>
                  <a:gd name="T17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9" h="333">
                    <a:moveTo>
                      <a:pt x="32" y="0"/>
                    </a:moveTo>
                    <a:cubicBezTo>
                      <a:pt x="437" y="0"/>
                      <a:pt x="437" y="0"/>
                      <a:pt x="437" y="0"/>
                    </a:cubicBezTo>
                    <a:cubicBezTo>
                      <a:pt x="455" y="0"/>
                      <a:pt x="469" y="14"/>
                      <a:pt x="469" y="32"/>
                    </a:cubicBezTo>
                    <a:cubicBezTo>
                      <a:pt x="469" y="301"/>
                      <a:pt x="469" y="301"/>
                      <a:pt x="469" y="301"/>
                    </a:cubicBezTo>
                    <a:cubicBezTo>
                      <a:pt x="469" y="318"/>
                      <a:pt x="455" y="333"/>
                      <a:pt x="437" y="333"/>
                    </a:cubicBezTo>
                    <a:cubicBezTo>
                      <a:pt x="32" y="333"/>
                      <a:pt x="32" y="333"/>
                      <a:pt x="32" y="333"/>
                    </a:cubicBezTo>
                    <a:cubicBezTo>
                      <a:pt x="14" y="333"/>
                      <a:pt x="0" y="318"/>
                      <a:pt x="0" y="301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lose/>
                  </a:path>
                </a:pathLst>
              </a:custGeom>
              <a:solidFill>
                <a:srgbClr val="FEE3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87" name="ïṧlíḋè"/>
              <p:cNvSpPr/>
              <p:nvPr/>
            </p:nvSpPr>
            <p:spPr bwMode="auto">
              <a:xfrm>
                <a:off x="5699404" y="288668"/>
                <a:ext cx="1689040" cy="1193897"/>
              </a:xfrm>
              <a:custGeom>
                <a:avLst/>
                <a:gdLst>
                  <a:gd name="T0" fmla="*/ 29 w 423"/>
                  <a:gd name="T1" fmla="*/ 0 h 300"/>
                  <a:gd name="T2" fmla="*/ 394 w 423"/>
                  <a:gd name="T3" fmla="*/ 0 h 300"/>
                  <a:gd name="T4" fmla="*/ 423 w 423"/>
                  <a:gd name="T5" fmla="*/ 29 h 300"/>
                  <a:gd name="T6" fmla="*/ 423 w 423"/>
                  <a:gd name="T7" fmla="*/ 271 h 300"/>
                  <a:gd name="T8" fmla="*/ 394 w 423"/>
                  <a:gd name="T9" fmla="*/ 300 h 300"/>
                  <a:gd name="T10" fmla="*/ 29 w 423"/>
                  <a:gd name="T11" fmla="*/ 300 h 300"/>
                  <a:gd name="T12" fmla="*/ 0 w 423"/>
                  <a:gd name="T13" fmla="*/ 271 h 300"/>
                  <a:gd name="T14" fmla="*/ 0 w 423"/>
                  <a:gd name="T15" fmla="*/ 29 h 300"/>
                  <a:gd name="T16" fmla="*/ 29 w 423"/>
                  <a:gd name="T17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3" h="300">
                    <a:moveTo>
                      <a:pt x="29" y="0"/>
                    </a:moveTo>
                    <a:cubicBezTo>
                      <a:pt x="394" y="0"/>
                      <a:pt x="394" y="0"/>
                      <a:pt x="394" y="0"/>
                    </a:cubicBezTo>
                    <a:cubicBezTo>
                      <a:pt x="410" y="0"/>
                      <a:pt x="423" y="13"/>
                      <a:pt x="423" y="29"/>
                    </a:cubicBezTo>
                    <a:cubicBezTo>
                      <a:pt x="423" y="271"/>
                      <a:pt x="423" y="271"/>
                      <a:pt x="423" y="271"/>
                    </a:cubicBezTo>
                    <a:cubicBezTo>
                      <a:pt x="423" y="287"/>
                      <a:pt x="410" y="300"/>
                      <a:pt x="394" y="300"/>
                    </a:cubicBezTo>
                    <a:cubicBezTo>
                      <a:pt x="29" y="300"/>
                      <a:pt x="29" y="300"/>
                      <a:pt x="29" y="300"/>
                    </a:cubicBezTo>
                    <a:cubicBezTo>
                      <a:pt x="13" y="300"/>
                      <a:pt x="0" y="287"/>
                      <a:pt x="0" y="271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lose/>
                  </a:path>
                </a:pathLst>
              </a:custGeom>
              <a:solidFill>
                <a:srgbClr val="5252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8" name="îṥḷïdê"/>
              <p:cNvSpPr/>
              <p:nvPr/>
            </p:nvSpPr>
            <p:spPr bwMode="auto">
              <a:xfrm>
                <a:off x="5686465" y="279413"/>
                <a:ext cx="1702923" cy="1214721"/>
              </a:xfrm>
              <a:custGeom>
                <a:avLst/>
                <a:gdLst>
                  <a:gd name="T0" fmla="*/ 31 w 427"/>
                  <a:gd name="T1" fmla="*/ 0 h 305"/>
                  <a:gd name="T2" fmla="*/ 396 w 427"/>
                  <a:gd name="T3" fmla="*/ 0 h 305"/>
                  <a:gd name="T4" fmla="*/ 418 w 427"/>
                  <a:gd name="T5" fmla="*/ 9 h 305"/>
                  <a:gd name="T6" fmla="*/ 427 w 427"/>
                  <a:gd name="T7" fmla="*/ 31 h 305"/>
                  <a:gd name="T8" fmla="*/ 427 w 427"/>
                  <a:gd name="T9" fmla="*/ 273 h 305"/>
                  <a:gd name="T10" fmla="*/ 418 w 427"/>
                  <a:gd name="T11" fmla="*/ 295 h 305"/>
                  <a:gd name="T12" fmla="*/ 396 w 427"/>
                  <a:gd name="T13" fmla="*/ 305 h 305"/>
                  <a:gd name="T14" fmla="*/ 31 w 427"/>
                  <a:gd name="T15" fmla="*/ 305 h 305"/>
                  <a:gd name="T16" fmla="*/ 9 w 427"/>
                  <a:gd name="T17" fmla="*/ 295 h 305"/>
                  <a:gd name="T18" fmla="*/ 0 w 427"/>
                  <a:gd name="T19" fmla="*/ 273 h 305"/>
                  <a:gd name="T20" fmla="*/ 0 w 427"/>
                  <a:gd name="T21" fmla="*/ 31 h 305"/>
                  <a:gd name="T22" fmla="*/ 9 w 427"/>
                  <a:gd name="T23" fmla="*/ 9 h 305"/>
                  <a:gd name="T24" fmla="*/ 31 w 427"/>
                  <a:gd name="T25" fmla="*/ 0 h 305"/>
                  <a:gd name="T26" fmla="*/ 396 w 427"/>
                  <a:gd name="T27" fmla="*/ 4 h 305"/>
                  <a:gd name="T28" fmla="*/ 31 w 427"/>
                  <a:gd name="T29" fmla="*/ 4 h 305"/>
                  <a:gd name="T30" fmla="*/ 12 w 427"/>
                  <a:gd name="T31" fmla="*/ 12 h 305"/>
                  <a:gd name="T32" fmla="*/ 5 w 427"/>
                  <a:gd name="T33" fmla="*/ 31 h 305"/>
                  <a:gd name="T34" fmla="*/ 5 w 427"/>
                  <a:gd name="T35" fmla="*/ 273 h 305"/>
                  <a:gd name="T36" fmla="*/ 12 w 427"/>
                  <a:gd name="T37" fmla="*/ 292 h 305"/>
                  <a:gd name="T38" fmla="*/ 31 w 427"/>
                  <a:gd name="T39" fmla="*/ 300 h 305"/>
                  <a:gd name="T40" fmla="*/ 396 w 427"/>
                  <a:gd name="T41" fmla="*/ 300 h 305"/>
                  <a:gd name="T42" fmla="*/ 415 w 427"/>
                  <a:gd name="T43" fmla="*/ 292 h 305"/>
                  <a:gd name="T44" fmla="*/ 423 w 427"/>
                  <a:gd name="T45" fmla="*/ 273 h 305"/>
                  <a:gd name="T46" fmla="*/ 423 w 427"/>
                  <a:gd name="T47" fmla="*/ 31 h 305"/>
                  <a:gd name="T48" fmla="*/ 415 w 427"/>
                  <a:gd name="T49" fmla="*/ 12 h 305"/>
                  <a:gd name="T50" fmla="*/ 396 w 427"/>
                  <a:gd name="T51" fmla="*/ 4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27" h="305">
                    <a:moveTo>
                      <a:pt x="31" y="0"/>
                    </a:moveTo>
                    <a:cubicBezTo>
                      <a:pt x="396" y="0"/>
                      <a:pt x="396" y="0"/>
                      <a:pt x="396" y="0"/>
                    </a:cubicBezTo>
                    <a:cubicBezTo>
                      <a:pt x="405" y="0"/>
                      <a:pt x="413" y="3"/>
                      <a:pt x="418" y="9"/>
                    </a:cubicBezTo>
                    <a:cubicBezTo>
                      <a:pt x="424" y="15"/>
                      <a:pt x="427" y="22"/>
                      <a:pt x="427" y="31"/>
                    </a:cubicBezTo>
                    <a:cubicBezTo>
                      <a:pt x="427" y="273"/>
                      <a:pt x="427" y="273"/>
                      <a:pt x="427" y="273"/>
                    </a:cubicBezTo>
                    <a:cubicBezTo>
                      <a:pt x="427" y="282"/>
                      <a:pt x="424" y="290"/>
                      <a:pt x="418" y="295"/>
                    </a:cubicBezTo>
                    <a:cubicBezTo>
                      <a:pt x="413" y="301"/>
                      <a:pt x="405" y="305"/>
                      <a:pt x="396" y="305"/>
                    </a:cubicBezTo>
                    <a:cubicBezTo>
                      <a:pt x="31" y="305"/>
                      <a:pt x="31" y="305"/>
                      <a:pt x="31" y="305"/>
                    </a:cubicBezTo>
                    <a:cubicBezTo>
                      <a:pt x="23" y="305"/>
                      <a:pt x="15" y="301"/>
                      <a:pt x="9" y="295"/>
                    </a:cubicBezTo>
                    <a:cubicBezTo>
                      <a:pt x="3" y="290"/>
                      <a:pt x="0" y="282"/>
                      <a:pt x="0" y="273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22"/>
                      <a:pt x="3" y="15"/>
                      <a:pt x="9" y="9"/>
                    </a:cubicBezTo>
                    <a:cubicBezTo>
                      <a:pt x="15" y="3"/>
                      <a:pt x="23" y="0"/>
                      <a:pt x="31" y="0"/>
                    </a:cubicBezTo>
                    <a:close/>
                    <a:moveTo>
                      <a:pt x="396" y="4"/>
                    </a:moveTo>
                    <a:cubicBezTo>
                      <a:pt x="31" y="4"/>
                      <a:pt x="31" y="4"/>
                      <a:pt x="31" y="4"/>
                    </a:cubicBezTo>
                    <a:cubicBezTo>
                      <a:pt x="24" y="4"/>
                      <a:pt x="17" y="7"/>
                      <a:pt x="12" y="12"/>
                    </a:cubicBezTo>
                    <a:cubicBezTo>
                      <a:pt x="8" y="17"/>
                      <a:pt x="5" y="24"/>
                      <a:pt x="5" y="31"/>
                    </a:cubicBezTo>
                    <a:cubicBezTo>
                      <a:pt x="5" y="273"/>
                      <a:pt x="5" y="273"/>
                      <a:pt x="5" y="273"/>
                    </a:cubicBezTo>
                    <a:cubicBezTo>
                      <a:pt x="5" y="281"/>
                      <a:pt x="8" y="287"/>
                      <a:pt x="12" y="292"/>
                    </a:cubicBezTo>
                    <a:cubicBezTo>
                      <a:pt x="17" y="297"/>
                      <a:pt x="24" y="300"/>
                      <a:pt x="31" y="300"/>
                    </a:cubicBezTo>
                    <a:cubicBezTo>
                      <a:pt x="396" y="300"/>
                      <a:pt x="396" y="300"/>
                      <a:pt x="396" y="300"/>
                    </a:cubicBezTo>
                    <a:cubicBezTo>
                      <a:pt x="403" y="300"/>
                      <a:pt x="410" y="297"/>
                      <a:pt x="415" y="292"/>
                    </a:cubicBezTo>
                    <a:cubicBezTo>
                      <a:pt x="420" y="287"/>
                      <a:pt x="423" y="281"/>
                      <a:pt x="423" y="273"/>
                    </a:cubicBezTo>
                    <a:cubicBezTo>
                      <a:pt x="423" y="31"/>
                      <a:pt x="423" y="31"/>
                      <a:pt x="423" y="31"/>
                    </a:cubicBezTo>
                    <a:cubicBezTo>
                      <a:pt x="423" y="24"/>
                      <a:pt x="420" y="17"/>
                      <a:pt x="415" y="12"/>
                    </a:cubicBezTo>
                    <a:cubicBezTo>
                      <a:pt x="410" y="7"/>
                      <a:pt x="403" y="4"/>
                      <a:pt x="396" y="4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91" name="ïŝḷíḍe"/>
              <p:cNvSpPr/>
              <p:nvPr/>
            </p:nvSpPr>
            <p:spPr bwMode="auto">
              <a:xfrm>
                <a:off x="6959031" y="1436290"/>
                <a:ext cx="256827" cy="50903"/>
              </a:xfrm>
              <a:custGeom>
                <a:avLst/>
                <a:gdLst>
                  <a:gd name="T0" fmla="*/ 4 w 64"/>
                  <a:gd name="T1" fmla="*/ 0 h 13"/>
                  <a:gd name="T2" fmla="*/ 61 w 64"/>
                  <a:gd name="T3" fmla="*/ 0 h 13"/>
                  <a:gd name="T4" fmla="*/ 63 w 64"/>
                  <a:gd name="T5" fmla="*/ 1 h 13"/>
                  <a:gd name="T6" fmla="*/ 63 w 64"/>
                  <a:gd name="T7" fmla="*/ 1 h 13"/>
                  <a:gd name="T8" fmla="*/ 64 w 64"/>
                  <a:gd name="T9" fmla="*/ 4 h 13"/>
                  <a:gd name="T10" fmla="*/ 64 w 64"/>
                  <a:gd name="T11" fmla="*/ 10 h 13"/>
                  <a:gd name="T12" fmla="*/ 63 w 64"/>
                  <a:gd name="T13" fmla="*/ 12 h 13"/>
                  <a:gd name="T14" fmla="*/ 63 w 64"/>
                  <a:gd name="T15" fmla="*/ 12 h 13"/>
                  <a:gd name="T16" fmla="*/ 61 w 64"/>
                  <a:gd name="T17" fmla="*/ 13 h 13"/>
                  <a:gd name="T18" fmla="*/ 4 w 64"/>
                  <a:gd name="T19" fmla="*/ 13 h 13"/>
                  <a:gd name="T20" fmla="*/ 2 w 64"/>
                  <a:gd name="T21" fmla="*/ 12 h 13"/>
                  <a:gd name="T22" fmla="*/ 2 w 64"/>
                  <a:gd name="T23" fmla="*/ 12 h 13"/>
                  <a:gd name="T24" fmla="*/ 0 w 64"/>
                  <a:gd name="T25" fmla="*/ 10 h 13"/>
                  <a:gd name="T26" fmla="*/ 0 w 64"/>
                  <a:gd name="T27" fmla="*/ 4 h 13"/>
                  <a:gd name="T28" fmla="*/ 2 w 64"/>
                  <a:gd name="T29" fmla="*/ 1 h 13"/>
                  <a:gd name="T30" fmla="*/ 2 w 64"/>
                  <a:gd name="T31" fmla="*/ 1 h 13"/>
                  <a:gd name="T32" fmla="*/ 4 w 64"/>
                  <a:gd name="T33" fmla="*/ 0 h 13"/>
                  <a:gd name="T34" fmla="*/ 61 w 64"/>
                  <a:gd name="T35" fmla="*/ 1 h 13"/>
                  <a:gd name="T36" fmla="*/ 4 w 64"/>
                  <a:gd name="T37" fmla="*/ 1 h 13"/>
                  <a:gd name="T38" fmla="*/ 2 w 64"/>
                  <a:gd name="T39" fmla="*/ 2 h 13"/>
                  <a:gd name="T40" fmla="*/ 2 w 64"/>
                  <a:gd name="T41" fmla="*/ 2 h 13"/>
                  <a:gd name="T42" fmla="*/ 1 w 64"/>
                  <a:gd name="T43" fmla="*/ 4 h 13"/>
                  <a:gd name="T44" fmla="*/ 1 w 64"/>
                  <a:gd name="T45" fmla="*/ 10 h 13"/>
                  <a:gd name="T46" fmla="*/ 2 w 64"/>
                  <a:gd name="T47" fmla="*/ 12 h 13"/>
                  <a:gd name="T48" fmla="*/ 2 w 64"/>
                  <a:gd name="T49" fmla="*/ 12 h 13"/>
                  <a:gd name="T50" fmla="*/ 4 w 64"/>
                  <a:gd name="T51" fmla="*/ 13 h 13"/>
                  <a:gd name="T52" fmla="*/ 61 w 64"/>
                  <a:gd name="T53" fmla="*/ 13 h 13"/>
                  <a:gd name="T54" fmla="*/ 63 w 64"/>
                  <a:gd name="T55" fmla="*/ 12 h 13"/>
                  <a:gd name="T56" fmla="*/ 63 w 64"/>
                  <a:gd name="T57" fmla="*/ 12 h 13"/>
                  <a:gd name="T58" fmla="*/ 63 w 64"/>
                  <a:gd name="T59" fmla="*/ 10 h 13"/>
                  <a:gd name="T60" fmla="*/ 63 w 64"/>
                  <a:gd name="T61" fmla="*/ 4 h 13"/>
                  <a:gd name="T62" fmla="*/ 63 w 64"/>
                  <a:gd name="T63" fmla="*/ 2 h 13"/>
                  <a:gd name="T64" fmla="*/ 63 w 64"/>
                  <a:gd name="T65" fmla="*/ 2 h 13"/>
                  <a:gd name="T66" fmla="*/ 61 w 64"/>
                  <a:gd name="T6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4" h="13">
                    <a:moveTo>
                      <a:pt x="4" y="0"/>
                    </a:moveTo>
                    <a:cubicBezTo>
                      <a:pt x="61" y="0"/>
                      <a:pt x="61" y="0"/>
                      <a:pt x="61" y="0"/>
                    </a:cubicBezTo>
                    <a:cubicBezTo>
                      <a:pt x="62" y="0"/>
                      <a:pt x="63" y="0"/>
                      <a:pt x="63" y="1"/>
                    </a:cubicBezTo>
                    <a:cubicBezTo>
                      <a:pt x="63" y="1"/>
                      <a:pt x="63" y="1"/>
                      <a:pt x="63" y="1"/>
                    </a:cubicBezTo>
                    <a:cubicBezTo>
                      <a:pt x="64" y="2"/>
                      <a:pt x="64" y="3"/>
                      <a:pt x="64" y="4"/>
                    </a:cubicBezTo>
                    <a:cubicBezTo>
                      <a:pt x="64" y="10"/>
                      <a:pt x="64" y="10"/>
                      <a:pt x="64" y="10"/>
                    </a:cubicBezTo>
                    <a:cubicBezTo>
                      <a:pt x="64" y="11"/>
                      <a:pt x="64" y="12"/>
                      <a:pt x="63" y="12"/>
                    </a:cubicBezTo>
                    <a:cubicBezTo>
                      <a:pt x="63" y="12"/>
                      <a:pt x="63" y="12"/>
                      <a:pt x="63" y="12"/>
                    </a:cubicBezTo>
                    <a:cubicBezTo>
                      <a:pt x="63" y="13"/>
                      <a:pt x="62" y="13"/>
                      <a:pt x="61" y="13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3" y="13"/>
                      <a:pt x="2" y="13"/>
                      <a:pt x="2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3" y="0"/>
                      <a:pt x="4" y="0"/>
                    </a:cubicBezTo>
                    <a:close/>
                    <a:moveTo>
                      <a:pt x="61" y="1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1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1" y="3"/>
                      <a:pt x="1" y="4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1"/>
                      <a:pt x="2" y="11"/>
                      <a:pt x="2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3" y="12"/>
                      <a:pt x="3" y="13"/>
                      <a:pt x="4" y="13"/>
                    </a:cubicBezTo>
                    <a:cubicBezTo>
                      <a:pt x="61" y="13"/>
                      <a:pt x="61" y="13"/>
                      <a:pt x="61" y="13"/>
                    </a:cubicBezTo>
                    <a:cubicBezTo>
                      <a:pt x="61" y="13"/>
                      <a:pt x="62" y="12"/>
                      <a:pt x="63" y="12"/>
                    </a:cubicBezTo>
                    <a:cubicBezTo>
                      <a:pt x="63" y="12"/>
                      <a:pt x="63" y="12"/>
                      <a:pt x="63" y="12"/>
                    </a:cubicBezTo>
                    <a:cubicBezTo>
                      <a:pt x="63" y="11"/>
                      <a:pt x="63" y="11"/>
                      <a:pt x="63" y="10"/>
                    </a:cubicBezTo>
                    <a:cubicBezTo>
                      <a:pt x="63" y="4"/>
                      <a:pt x="63" y="4"/>
                      <a:pt x="63" y="4"/>
                    </a:cubicBezTo>
                    <a:cubicBezTo>
                      <a:pt x="63" y="3"/>
                      <a:pt x="63" y="2"/>
                      <a:pt x="63" y="2"/>
                    </a:cubicBezTo>
                    <a:cubicBezTo>
                      <a:pt x="63" y="2"/>
                      <a:pt x="63" y="2"/>
                      <a:pt x="63" y="2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</a:path>
                </a:pathLst>
              </a:custGeom>
              <a:solidFill>
                <a:srgbClr val="D2D4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92" name="iṧľîḓe"/>
              <p:cNvSpPr/>
              <p:nvPr/>
            </p:nvSpPr>
            <p:spPr bwMode="auto">
              <a:xfrm>
                <a:off x="6269532" y="1595940"/>
                <a:ext cx="194355" cy="83296"/>
              </a:xfrm>
              <a:custGeom>
                <a:avLst/>
                <a:gdLst>
                  <a:gd name="T0" fmla="*/ 84 w 84"/>
                  <a:gd name="T1" fmla="*/ 0 h 36"/>
                  <a:gd name="T2" fmla="*/ 10 w 84"/>
                  <a:gd name="T3" fmla="*/ 0 h 36"/>
                  <a:gd name="T4" fmla="*/ 0 w 84"/>
                  <a:gd name="T5" fmla="*/ 34 h 36"/>
                  <a:gd name="T6" fmla="*/ 74 w 84"/>
                  <a:gd name="T7" fmla="*/ 36 h 36"/>
                  <a:gd name="T8" fmla="*/ 84 w 84"/>
                  <a:gd name="T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36">
                    <a:moveTo>
                      <a:pt x="84" y="0"/>
                    </a:moveTo>
                    <a:lnTo>
                      <a:pt x="10" y="0"/>
                    </a:lnTo>
                    <a:lnTo>
                      <a:pt x="0" y="34"/>
                    </a:lnTo>
                    <a:lnTo>
                      <a:pt x="74" y="36"/>
                    </a:lnTo>
                    <a:lnTo>
                      <a:pt x="84" y="0"/>
                    </a:lnTo>
                    <a:close/>
                  </a:path>
                </a:pathLst>
              </a:custGeom>
              <a:solidFill>
                <a:srgbClr val="BBA3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95" name="iṡ1íďé"/>
              <p:cNvSpPr/>
              <p:nvPr/>
            </p:nvSpPr>
            <p:spPr bwMode="auto">
              <a:xfrm>
                <a:off x="6963658" y="1436290"/>
                <a:ext cx="252200" cy="50903"/>
              </a:xfrm>
              <a:custGeom>
                <a:avLst/>
                <a:gdLst>
                  <a:gd name="T0" fmla="*/ 3 w 63"/>
                  <a:gd name="T1" fmla="*/ 0 h 13"/>
                  <a:gd name="T2" fmla="*/ 60 w 63"/>
                  <a:gd name="T3" fmla="*/ 0 h 13"/>
                  <a:gd name="T4" fmla="*/ 63 w 63"/>
                  <a:gd name="T5" fmla="*/ 3 h 13"/>
                  <a:gd name="T6" fmla="*/ 63 w 63"/>
                  <a:gd name="T7" fmla="*/ 9 h 13"/>
                  <a:gd name="T8" fmla="*/ 60 w 63"/>
                  <a:gd name="T9" fmla="*/ 13 h 13"/>
                  <a:gd name="T10" fmla="*/ 3 w 63"/>
                  <a:gd name="T11" fmla="*/ 13 h 13"/>
                  <a:gd name="T12" fmla="*/ 0 w 63"/>
                  <a:gd name="T13" fmla="*/ 9 h 13"/>
                  <a:gd name="T14" fmla="*/ 0 w 63"/>
                  <a:gd name="T15" fmla="*/ 3 h 13"/>
                  <a:gd name="T16" fmla="*/ 3 w 63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13">
                    <a:moveTo>
                      <a:pt x="3" y="0"/>
                    </a:moveTo>
                    <a:cubicBezTo>
                      <a:pt x="60" y="0"/>
                      <a:pt x="60" y="0"/>
                      <a:pt x="60" y="0"/>
                    </a:cubicBezTo>
                    <a:cubicBezTo>
                      <a:pt x="61" y="0"/>
                      <a:pt x="63" y="1"/>
                      <a:pt x="63" y="3"/>
                    </a:cubicBezTo>
                    <a:cubicBezTo>
                      <a:pt x="63" y="9"/>
                      <a:pt x="63" y="9"/>
                      <a:pt x="63" y="9"/>
                    </a:cubicBezTo>
                    <a:cubicBezTo>
                      <a:pt x="63" y="11"/>
                      <a:pt x="61" y="13"/>
                      <a:pt x="60" y="13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1" y="13"/>
                      <a:pt x="0" y="11"/>
                      <a:pt x="0" y="9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grpSp>
            <p:nvGrpSpPr>
              <p:cNvPr id="110" name="îśḷïḍè"/>
              <p:cNvGrpSpPr/>
              <p:nvPr/>
            </p:nvGrpSpPr>
            <p:grpSpPr>
              <a:xfrm>
                <a:off x="4991666" y="997617"/>
                <a:ext cx="1460649" cy="1754727"/>
                <a:chOff x="4717002" y="1052207"/>
                <a:chExt cx="1735317" cy="2084693"/>
              </a:xfrm>
            </p:grpSpPr>
            <p:sp>
              <p:nvSpPr>
                <p:cNvPr id="111" name="íŝḻïďê"/>
                <p:cNvSpPr/>
                <p:nvPr/>
              </p:nvSpPr>
              <p:spPr bwMode="auto">
                <a:xfrm>
                  <a:off x="4717002" y="1538095"/>
                  <a:ext cx="1078209" cy="1598805"/>
                </a:xfrm>
                <a:custGeom>
                  <a:avLst/>
                  <a:gdLst>
                    <a:gd name="T0" fmla="*/ 121 w 270"/>
                    <a:gd name="T1" fmla="*/ 0 h 401"/>
                    <a:gd name="T2" fmla="*/ 117 w 270"/>
                    <a:gd name="T3" fmla="*/ 10 h 401"/>
                    <a:gd name="T4" fmla="*/ 116 w 270"/>
                    <a:gd name="T5" fmla="*/ 10 h 401"/>
                    <a:gd name="T6" fmla="*/ 128 w 270"/>
                    <a:gd name="T7" fmla="*/ 101 h 401"/>
                    <a:gd name="T8" fmla="*/ 115 w 270"/>
                    <a:gd name="T9" fmla="*/ 121 h 401"/>
                    <a:gd name="T10" fmla="*/ 101 w 270"/>
                    <a:gd name="T11" fmla="*/ 101 h 401"/>
                    <a:gd name="T12" fmla="*/ 112 w 270"/>
                    <a:gd name="T13" fmla="*/ 10 h 401"/>
                    <a:gd name="T14" fmla="*/ 112 w 270"/>
                    <a:gd name="T15" fmla="*/ 10 h 401"/>
                    <a:gd name="T16" fmla="*/ 108 w 270"/>
                    <a:gd name="T17" fmla="*/ 0 h 401"/>
                    <a:gd name="T18" fmla="*/ 40 w 270"/>
                    <a:gd name="T19" fmla="*/ 17 h 401"/>
                    <a:gd name="T20" fmla="*/ 39 w 270"/>
                    <a:gd name="T21" fmla="*/ 18 h 401"/>
                    <a:gd name="T22" fmla="*/ 35 w 270"/>
                    <a:gd name="T23" fmla="*/ 20 h 401"/>
                    <a:gd name="T24" fmla="*/ 33 w 270"/>
                    <a:gd name="T25" fmla="*/ 23 h 401"/>
                    <a:gd name="T26" fmla="*/ 31 w 270"/>
                    <a:gd name="T27" fmla="*/ 26 h 401"/>
                    <a:gd name="T28" fmla="*/ 30 w 270"/>
                    <a:gd name="T29" fmla="*/ 29 h 401"/>
                    <a:gd name="T30" fmla="*/ 29 w 270"/>
                    <a:gd name="T31" fmla="*/ 31 h 401"/>
                    <a:gd name="T32" fmla="*/ 2 w 270"/>
                    <a:gd name="T33" fmla="*/ 172 h 401"/>
                    <a:gd name="T34" fmla="*/ 15 w 270"/>
                    <a:gd name="T35" fmla="*/ 195 h 401"/>
                    <a:gd name="T36" fmla="*/ 19 w 270"/>
                    <a:gd name="T37" fmla="*/ 196 h 401"/>
                    <a:gd name="T38" fmla="*/ 35 w 270"/>
                    <a:gd name="T39" fmla="*/ 180 h 401"/>
                    <a:gd name="T40" fmla="*/ 60 w 270"/>
                    <a:gd name="T41" fmla="*/ 50 h 401"/>
                    <a:gd name="T42" fmla="*/ 66 w 270"/>
                    <a:gd name="T43" fmla="*/ 48 h 401"/>
                    <a:gd name="T44" fmla="*/ 66 w 270"/>
                    <a:gd name="T45" fmla="*/ 182 h 401"/>
                    <a:gd name="T46" fmla="*/ 53 w 270"/>
                    <a:gd name="T47" fmla="*/ 375 h 401"/>
                    <a:gd name="T48" fmla="*/ 72 w 270"/>
                    <a:gd name="T49" fmla="*/ 401 h 401"/>
                    <a:gd name="T50" fmla="*/ 73 w 270"/>
                    <a:gd name="T51" fmla="*/ 401 h 401"/>
                    <a:gd name="T52" fmla="*/ 94 w 270"/>
                    <a:gd name="T53" fmla="*/ 379 h 401"/>
                    <a:gd name="T54" fmla="*/ 106 w 270"/>
                    <a:gd name="T55" fmla="*/ 204 h 401"/>
                    <a:gd name="T56" fmla="*/ 114 w 270"/>
                    <a:gd name="T57" fmla="*/ 206 h 401"/>
                    <a:gd name="T58" fmla="*/ 123 w 270"/>
                    <a:gd name="T59" fmla="*/ 204 h 401"/>
                    <a:gd name="T60" fmla="*/ 135 w 270"/>
                    <a:gd name="T61" fmla="*/ 379 h 401"/>
                    <a:gd name="T62" fmla="*/ 155 w 270"/>
                    <a:gd name="T63" fmla="*/ 401 h 401"/>
                    <a:gd name="T64" fmla="*/ 157 w 270"/>
                    <a:gd name="T65" fmla="*/ 401 h 401"/>
                    <a:gd name="T66" fmla="*/ 176 w 270"/>
                    <a:gd name="T67" fmla="*/ 375 h 401"/>
                    <a:gd name="T68" fmla="*/ 162 w 270"/>
                    <a:gd name="T69" fmla="*/ 182 h 401"/>
                    <a:gd name="T70" fmla="*/ 162 w 270"/>
                    <a:gd name="T71" fmla="*/ 48 h 401"/>
                    <a:gd name="T72" fmla="*/ 177 w 270"/>
                    <a:gd name="T73" fmla="*/ 54 h 401"/>
                    <a:gd name="T74" fmla="*/ 184 w 270"/>
                    <a:gd name="T75" fmla="*/ 56 h 401"/>
                    <a:gd name="T76" fmla="*/ 234 w 270"/>
                    <a:gd name="T77" fmla="*/ 75 h 401"/>
                    <a:gd name="T78" fmla="*/ 245 w 270"/>
                    <a:gd name="T79" fmla="*/ 80 h 401"/>
                    <a:gd name="T80" fmla="*/ 251 w 270"/>
                    <a:gd name="T81" fmla="*/ 81 h 401"/>
                    <a:gd name="T82" fmla="*/ 267 w 270"/>
                    <a:gd name="T83" fmla="*/ 54 h 401"/>
                    <a:gd name="T84" fmla="*/ 245 w 270"/>
                    <a:gd name="T85" fmla="*/ 77 h 401"/>
                    <a:gd name="T86" fmla="*/ 234 w 270"/>
                    <a:gd name="T87" fmla="*/ 72 h 401"/>
                    <a:gd name="T88" fmla="*/ 261 w 270"/>
                    <a:gd name="T89" fmla="*/ 45 h 401"/>
                    <a:gd name="T90" fmla="*/ 256 w 270"/>
                    <a:gd name="T91" fmla="*/ 43 h 401"/>
                    <a:gd name="T92" fmla="*/ 234 w 270"/>
                    <a:gd name="T93" fmla="*/ 35 h 401"/>
                    <a:gd name="T94" fmla="*/ 184 w 270"/>
                    <a:gd name="T95" fmla="*/ 18 h 401"/>
                    <a:gd name="T96" fmla="*/ 121 w 270"/>
                    <a:gd name="T97" fmla="*/ 0 h 4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270" h="401">
                      <a:moveTo>
                        <a:pt x="121" y="0"/>
                      </a:moveTo>
                      <a:cubicBezTo>
                        <a:pt x="117" y="10"/>
                        <a:pt x="117" y="10"/>
                        <a:pt x="117" y="10"/>
                      </a:cubicBezTo>
                      <a:cubicBezTo>
                        <a:pt x="116" y="10"/>
                        <a:pt x="116" y="10"/>
                        <a:pt x="116" y="10"/>
                      </a:cubicBezTo>
                      <a:cubicBezTo>
                        <a:pt x="128" y="101"/>
                        <a:pt x="128" y="101"/>
                        <a:pt x="128" y="101"/>
                      </a:cubicBezTo>
                      <a:cubicBezTo>
                        <a:pt x="115" y="121"/>
                        <a:pt x="115" y="121"/>
                        <a:pt x="115" y="121"/>
                      </a:cubicBezTo>
                      <a:cubicBezTo>
                        <a:pt x="101" y="101"/>
                        <a:pt x="101" y="101"/>
                        <a:pt x="101" y="101"/>
                      </a:cubicBezTo>
                      <a:cubicBezTo>
                        <a:pt x="112" y="10"/>
                        <a:pt x="112" y="10"/>
                        <a:pt x="112" y="10"/>
                      </a:cubicBezTo>
                      <a:cubicBezTo>
                        <a:pt x="112" y="10"/>
                        <a:pt x="112" y="10"/>
                        <a:pt x="112" y="1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76" y="2"/>
                        <a:pt x="42" y="16"/>
                        <a:pt x="40" y="17"/>
                      </a:cubicBezTo>
                      <a:cubicBezTo>
                        <a:pt x="40" y="17"/>
                        <a:pt x="39" y="18"/>
                        <a:pt x="39" y="18"/>
                      </a:cubicBezTo>
                      <a:cubicBezTo>
                        <a:pt x="37" y="19"/>
                        <a:pt x="36" y="19"/>
                        <a:pt x="35" y="20"/>
                      </a:cubicBezTo>
                      <a:cubicBezTo>
                        <a:pt x="35" y="21"/>
                        <a:pt x="34" y="22"/>
                        <a:pt x="33" y="23"/>
                      </a:cubicBezTo>
                      <a:cubicBezTo>
                        <a:pt x="32" y="23"/>
                        <a:pt x="32" y="25"/>
                        <a:pt x="31" y="26"/>
                      </a:cubicBezTo>
                      <a:cubicBezTo>
                        <a:pt x="31" y="27"/>
                        <a:pt x="30" y="28"/>
                        <a:pt x="30" y="29"/>
                      </a:cubicBezTo>
                      <a:cubicBezTo>
                        <a:pt x="30" y="30"/>
                        <a:pt x="29" y="30"/>
                        <a:pt x="29" y="31"/>
                      </a:cubicBezTo>
                      <a:cubicBezTo>
                        <a:pt x="2" y="172"/>
                        <a:pt x="2" y="172"/>
                        <a:pt x="2" y="172"/>
                      </a:cubicBezTo>
                      <a:cubicBezTo>
                        <a:pt x="0" y="182"/>
                        <a:pt x="6" y="193"/>
                        <a:pt x="15" y="195"/>
                      </a:cubicBezTo>
                      <a:cubicBezTo>
                        <a:pt x="16" y="195"/>
                        <a:pt x="17" y="196"/>
                        <a:pt x="19" y="196"/>
                      </a:cubicBezTo>
                      <a:cubicBezTo>
                        <a:pt x="26" y="196"/>
                        <a:pt x="33" y="189"/>
                        <a:pt x="35" y="180"/>
                      </a:cubicBezTo>
                      <a:cubicBezTo>
                        <a:pt x="60" y="50"/>
                        <a:pt x="60" y="50"/>
                        <a:pt x="60" y="50"/>
                      </a:cubicBezTo>
                      <a:cubicBezTo>
                        <a:pt x="62" y="50"/>
                        <a:pt x="64" y="49"/>
                        <a:pt x="66" y="48"/>
                      </a:cubicBezTo>
                      <a:cubicBezTo>
                        <a:pt x="66" y="182"/>
                        <a:pt x="66" y="182"/>
                        <a:pt x="66" y="182"/>
                      </a:cubicBezTo>
                      <a:cubicBezTo>
                        <a:pt x="53" y="375"/>
                        <a:pt x="53" y="375"/>
                        <a:pt x="53" y="375"/>
                      </a:cubicBezTo>
                      <a:cubicBezTo>
                        <a:pt x="52" y="388"/>
                        <a:pt x="60" y="400"/>
                        <a:pt x="72" y="401"/>
                      </a:cubicBezTo>
                      <a:cubicBezTo>
                        <a:pt x="72" y="401"/>
                        <a:pt x="73" y="401"/>
                        <a:pt x="73" y="401"/>
                      </a:cubicBezTo>
                      <a:cubicBezTo>
                        <a:pt x="84" y="401"/>
                        <a:pt x="93" y="391"/>
                        <a:pt x="94" y="379"/>
                      </a:cubicBezTo>
                      <a:cubicBezTo>
                        <a:pt x="106" y="204"/>
                        <a:pt x="106" y="204"/>
                        <a:pt x="106" y="204"/>
                      </a:cubicBezTo>
                      <a:cubicBezTo>
                        <a:pt x="109" y="206"/>
                        <a:pt x="111" y="206"/>
                        <a:pt x="114" y="206"/>
                      </a:cubicBezTo>
                      <a:cubicBezTo>
                        <a:pt x="117" y="206"/>
                        <a:pt x="120" y="206"/>
                        <a:pt x="123" y="204"/>
                      </a:cubicBezTo>
                      <a:cubicBezTo>
                        <a:pt x="135" y="379"/>
                        <a:pt x="135" y="379"/>
                        <a:pt x="135" y="379"/>
                      </a:cubicBezTo>
                      <a:cubicBezTo>
                        <a:pt x="136" y="391"/>
                        <a:pt x="145" y="401"/>
                        <a:pt x="155" y="401"/>
                      </a:cubicBezTo>
                      <a:cubicBezTo>
                        <a:pt x="156" y="401"/>
                        <a:pt x="156" y="401"/>
                        <a:pt x="157" y="401"/>
                      </a:cubicBezTo>
                      <a:cubicBezTo>
                        <a:pt x="168" y="400"/>
                        <a:pt x="177" y="388"/>
                        <a:pt x="176" y="375"/>
                      </a:cubicBezTo>
                      <a:cubicBezTo>
                        <a:pt x="162" y="182"/>
                        <a:pt x="162" y="182"/>
                        <a:pt x="162" y="182"/>
                      </a:cubicBezTo>
                      <a:cubicBezTo>
                        <a:pt x="162" y="48"/>
                        <a:pt x="162" y="48"/>
                        <a:pt x="162" y="48"/>
                      </a:cubicBezTo>
                      <a:cubicBezTo>
                        <a:pt x="167" y="50"/>
                        <a:pt x="172" y="52"/>
                        <a:pt x="177" y="54"/>
                      </a:cubicBezTo>
                      <a:cubicBezTo>
                        <a:pt x="179" y="55"/>
                        <a:pt x="182" y="55"/>
                        <a:pt x="184" y="56"/>
                      </a:cubicBezTo>
                      <a:cubicBezTo>
                        <a:pt x="234" y="75"/>
                        <a:pt x="234" y="75"/>
                        <a:pt x="234" y="75"/>
                      </a:cubicBezTo>
                      <a:cubicBezTo>
                        <a:pt x="238" y="77"/>
                        <a:pt x="242" y="78"/>
                        <a:pt x="245" y="80"/>
                      </a:cubicBezTo>
                      <a:cubicBezTo>
                        <a:pt x="247" y="80"/>
                        <a:pt x="249" y="81"/>
                        <a:pt x="251" y="81"/>
                      </a:cubicBezTo>
                      <a:cubicBezTo>
                        <a:pt x="264" y="81"/>
                        <a:pt x="270" y="66"/>
                        <a:pt x="267" y="54"/>
                      </a:cubicBezTo>
                      <a:cubicBezTo>
                        <a:pt x="245" y="77"/>
                        <a:pt x="245" y="77"/>
                        <a:pt x="245" y="77"/>
                      </a:cubicBezTo>
                      <a:cubicBezTo>
                        <a:pt x="234" y="72"/>
                        <a:pt x="234" y="72"/>
                        <a:pt x="234" y="72"/>
                      </a:cubicBezTo>
                      <a:cubicBezTo>
                        <a:pt x="261" y="45"/>
                        <a:pt x="261" y="45"/>
                        <a:pt x="261" y="45"/>
                      </a:cubicBezTo>
                      <a:cubicBezTo>
                        <a:pt x="259" y="44"/>
                        <a:pt x="258" y="43"/>
                        <a:pt x="256" y="43"/>
                      </a:cubicBezTo>
                      <a:cubicBezTo>
                        <a:pt x="234" y="35"/>
                        <a:pt x="234" y="35"/>
                        <a:pt x="234" y="35"/>
                      </a:cubicBezTo>
                      <a:cubicBezTo>
                        <a:pt x="184" y="18"/>
                        <a:pt x="184" y="18"/>
                        <a:pt x="184" y="18"/>
                      </a:cubicBezTo>
                      <a:cubicBezTo>
                        <a:pt x="156" y="9"/>
                        <a:pt x="129" y="1"/>
                        <a:pt x="121" y="0"/>
                      </a:cubicBezTo>
                      <a:close/>
                    </a:path>
                  </a:pathLst>
                </a:custGeom>
                <a:solidFill>
                  <a:srgbClr val="52525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</a:p>
              </p:txBody>
            </p:sp>
            <p:sp>
              <p:nvSpPr>
                <p:cNvPr id="112" name="ïṧlïďe"/>
                <p:cNvSpPr/>
                <p:nvPr/>
              </p:nvSpPr>
              <p:spPr bwMode="auto">
                <a:xfrm>
                  <a:off x="5043242" y="1193346"/>
                  <a:ext cx="256827" cy="310043"/>
                </a:xfrm>
                <a:prstGeom prst="ellipse">
                  <a:avLst/>
                </a:prstGeom>
                <a:solidFill>
                  <a:srgbClr val="52525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7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</a:p>
              </p:txBody>
            </p:sp>
            <p:sp>
              <p:nvSpPr>
                <p:cNvPr id="113" name="ïśľíďé"/>
                <p:cNvSpPr/>
                <p:nvPr/>
              </p:nvSpPr>
              <p:spPr bwMode="auto">
                <a:xfrm>
                  <a:off x="5663328" y="1052207"/>
                  <a:ext cx="788991" cy="786676"/>
                </a:xfrm>
                <a:custGeom>
                  <a:avLst/>
                  <a:gdLst>
                    <a:gd name="T0" fmla="*/ 0 w 341"/>
                    <a:gd name="T1" fmla="*/ 333 h 340"/>
                    <a:gd name="T2" fmla="*/ 341 w 341"/>
                    <a:gd name="T3" fmla="*/ 0 h 340"/>
                    <a:gd name="T4" fmla="*/ 13 w 341"/>
                    <a:gd name="T5" fmla="*/ 340 h 340"/>
                    <a:gd name="T6" fmla="*/ 0 w 341"/>
                    <a:gd name="T7" fmla="*/ 333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1" h="340">
                      <a:moveTo>
                        <a:pt x="0" y="333"/>
                      </a:moveTo>
                      <a:lnTo>
                        <a:pt x="341" y="0"/>
                      </a:lnTo>
                      <a:lnTo>
                        <a:pt x="13" y="340"/>
                      </a:lnTo>
                      <a:lnTo>
                        <a:pt x="0" y="333"/>
                      </a:lnTo>
                      <a:close/>
                    </a:path>
                  </a:pathLst>
                </a:custGeom>
                <a:solidFill>
                  <a:srgbClr val="221F2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</a:p>
              </p:txBody>
            </p:sp>
          </p:grpSp>
        </p:grpSp>
        <p:grpSp>
          <p:nvGrpSpPr>
            <p:cNvPr id="55" name="ïṥḻiḓè"/>
            <p:cNvGrpSpPr/>
            <p:nvPr/>
          </p:nvGrpSpPr>
          <p:grpSpPr>
            <a:xfrm>
              <a:off x="673101" y="2979845"/>
              <a:ext cx="2898915" cy="1513540"/>
              <a:chOff x="4402497" y="2479508"/>
              <a:chExt cx="2898915" cy="1513540"/>
            </a:xfrm>
          </p:grpSpPr>
          <p:sp>
            <p:nvSpPr>
              <p:cNvPr id="67" name="î$ḻiḍê"/>
              <p:cNvSpPr/>
              <p:nvPr/>
            </p:nvSpPr>
            <p:spPr>
              <a:xfrm>
                <a:off x="5439638" y="2479508"/>
                <a:ext cx="826700" cy="826700"/>
              </a:xfrm>
              <a:prstGeom prst="ellips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68" name="iṩḷiḑè"/>
              <p:cNvSpPr txBox="1"/>
              <p:nvPr/>
            </p:nvSpPr>
            <p:spPr bwMode="auto">
              <a:xfrm>
                <a:off x="4402497" y="3594586"/>
                <a:ext cx="2898915" cy="39846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sz="1400" dirty="0"/>
                  <a:t>徒弟搜索平台</a:t>
                </a:r>
                <a:endParaRPr lang="zh-CN" altLang="en-US" sz="1400" dirty="0"/>
              </a:p>
            </p:txBody>
          </p:sp>
          <p:sp>
            <p:nvSpPr>
              <p:cNvPr id="77" name="ïŝľíḑé"/>
              <p:cNvSpPr/>
              <p:nvPr/>
            </p:nvSpPr>
            <p:spPr bwMode="auto">
              <a:xfrm>
                <a:off x="5628421" y="2711522"/>
                <a:ext cx="449134" cy="362670"/>
              </a:xfrm>
              <a:custGeom>
                <a:avLst/>
                <a:gdLst>
                  <a:gd name="connsiteX0" fmla="*/ 499361 w 608838"/>
                  <a:gd name="connsiteY0" fmla="*/ 285654 h 491629"/>
                  <a:gd name="connsiteX1" fmla="*/ 499361 w 608838"/>
                  <a:gd name="connsiteY1" fmla="*/ 344437 h 491629"/>
                  <a:gd name="connsiteX2" fmla="*/ 558245 w 608838"/>
                  <a:gd name="connsiteY2" fmla="*/ 344437 h 491629"/>
                  <a:gd name="connsiteX3" fmla="*/ 558245 w 608838"/>
                  <a:gd name="connsiteY3" fmla="*/ 285654 h 491629"/>
                  <a:gd name="connsiteX4" fmla="*/ 50593 w 608838"/>
                  <a:gd name="connsiteY4" fmla="*/ 285654 h 491629"/>
                  <a:gd name="connsiteX5" fmla="*/ 50593 w 608838"/>
                  <a:gd name="connsiteY5" fmla="*/ 344437 h 491629"/>
                  <a:gd name="connsiteX6" fmla="*/ 109477 w 608838"/>
                  <a:gd name="connsiteY6" fmla="*/ 344437 h 491629"/>
                  <a:gd name="connsiteX7" fmla="*/ 109477 w 608838"/>
                  <a:gd name="connsiteY7" fmla="*/ 285654 h 491629"/>
                  <a:gd name="connsiteX8" fmla="*/ 324062 w 608838"/>
                  <a:gd name="connsiteY8" fmla="*/ 265425 h 491629"/>
                  <a:gd name="connsiteX9" fmla="*/ 324062 w 608838"/>
                  <a:gd name="connsiteY9" fmla="*/ 329947 h 491629"/>
                  <a:gd name="connsiteX10" fmla="*/ 388693 w 608838"/>
                  <a:gd name="connsiteY10" fmla="*/ 329947 h 491629"/>
                  <a:gd name="connsiteX11" fmla="*/ 388693 w 608838"/>
                  <a:gd name="connsiteY11" fmla="*/ 265425 h 491629"/>
                  <a:gd name="connsiteX12" fmla="*/ 220144 w 608838"/>
                  <a:gd name="connsiteY12" fmla="*/ 265425 h 491629"/>
                  <a:gd name="connsiteX13" fmla="*/ 220144 w 608838"/>
                  <a:gd name="connsiteY13" fmla="*/ 329947 h 491629"/>
                  <a:gd name="connsiteX14" fmla="*/ 284775 w 608838"/>
                  <a:gd name="connsiteY14" fmla="*/ 329947 h 491629"/>
                  <a:gd name="connsiteX15" fmla="*/ 284775 w 608838"/>
                  <a:gd name="connsiteY15" fmla="*/ 265425 h 491629"/>
                  <a:gd name="connsiteX16" fmla="*/ 499361 w 608838"/>
                  <a:gd name="connsiteY16" fmla="*/ 191225 h 491629"/>
                  <a:gd name="connsiteX17" fmla="*/ 499361 w 608838"/>
                  <a:gd name="connsiteY17" fmla="*/ 250008 h 491629"/>
                  <a:gd name="connsiteX18" fmla="*/ 558245 w 608838"/>
                  <a:gd name="connsiteY18" fmla="*/ 250008 h 491629"/>
                  <a:gd name="connsiteX19" fmla="*/ 558245 w 608838"/>
                  <a:gd name="connsiteY19" fmla="*/ 191225 h 491629"/>
                  <a:gd name="connsiteX20" fmla="*/ 50593 w 608838"/>
                  <a:gd name="connsiteY20" fmla="*/ 191225 h 491629"/>
                  <a:gd name="connsiteX21" fmla="*/ 50593 w 608838"/>
                  <a:gd name="connsiteY21" fmla="*/ 250008 h 491629"/>
                  <a:gd name="connsiteX22" fmla="*/ 109477 w 608838"/>
                  <a:gd name="connsiteY22" fmla="*/ 250008 h 491629"/>
                  <a:gd name="connsiteX23" fmla="*/ 109477 w 608838"/>
                  <a:gd name="connsiteY23" fmla="*/ 191225 h 491629"/>
                  <a:gd name="connsiteX24" fmla="*/ 324062 w 608838"/>
                  <a:gd name="connsiteY24" fmla="*/ 161682 h 491629"/>
                  <a:gd name="connsiteX25" fmla="*/ 324062 w 608838"/>
                  <a:gd name="connsiteY25" fmla="*/ 226204 h 491629"/>
                  <a:gd name="connsiteX26" fmla="*/ 388693 w 608838"/>
                  <a:gd name="connsiteY26" fmla="*/ 226204 h 491629"/>
                  <a:gd name="connsiteX27" fmla="*/ 388693 w 608838"/>
                  <a:gd name="connsiteY27" fmla="*/ 161682 h 491629"/>
                  <a:gd name="connsiteX28" fmla="*/ 220144 w 608838"/>
                  <a:gd name="connsiteY28" fmla="*/ 161682 h 491629"/>
                  <a:gd name="connsiteX29" fmla="*/ 220144 w 608838"/>
                  <a:gd name="connsiteY29" fmla="*/ 226204 h 491629"/>
                  <a:gd name="connsiteX30" fmla="*/ 284775 w 608838"/>
                  <a:gd name="connsiteY30" fmla="*/ 226204 h 491629"/>
                  <a:gd name="connsiteX31" fmla="*/ 284775 w 608838"/>
                  <a:gd name="connsiteY31" fmla="*/ 161682 h 491629"/>
                  <a:gd name="connsiteX32" fmla="*/ 499361 w 608838"/>
                  <a:gd name="connsiteY32" fmla="*/ 96797 h 491629"/>
                  <a:gd name="connsiteX33" fmla="*/ 499361 w 608838"/>
                  <a:gd name="connsiteY33" fmla="*/ 155579 h 491629"/>
                  <a:gd name="connsiteX34" fmla="*/ 558245 w 608838"/>
                  <a:gd name="connsiteY34" fmla="*/ 155579 h 491629"/>
                  <a:gd name="connsiteX35" fmla="*/ 558245 w 608838"/>
                  <a:gd name="connsiteY35" fmla="*/ 96797 h 491629"/>
                  <a:gd name="connsiteX36" fmla="*/ 50593 w 608838"/>
                  <a:gd name="connsiteY36" fmla="*/ 96797 h 491629"/>
                  <a:gd name="connsiteX37" fmla="*/ 50593 w 608838"/>
                  <a:gd name="connsiteY37" fmla="*/ 155579 h 491629"/>
                  <a:gd name="connsiteX38" fmla="*/ 109477 w 608838"/>
                  <a:gd name="connsiteY38" fmla="*/ 155579 h 491629"/>
                  <a:gd name="connsiteX39" fmla="*/ 109477 w 608838"/>
                  <a:gd name="connsiteY39" fmla="*/ 96797 h 491629"/>
                  <a:gd name="connsiteX40" fmla="*/ 324062 w 608838"/>
                  <a:gd name="connsiteY40" fmla="*/ 57938 h 491629"/>
                  <a:gd name="connsiteX41" fmla="*/ 324062 w 608838"/>
                  <a:gd name="connsiteY41" fmla="*/ 122461 h 491629"/>
                  <a:gd name="connsiteX42" fmla="*/ 388693 w 608838"/>
                  <a:gd name="connsiteY42" fmla="*/ 122461 h 491629"/>
                  <a:gd name="connsiteX43" fmla="*/ 388693 w 608838"/>
                  <a:gd name="connsiteY43" fmla="*/ 57938 h 491629"/>
                  <a:gd name="connsiteX44" fmla="*/ 220144 w 608838"/>
                  <a:gd name="connsiteY44" fmla="*/ 57938 h 491629"/>
                  <a:gd name="connsiteX45" fmla="*/ 220144 w 608838"/>
                  <a:gd name="connsiteY45" fmla="*/ 122461 h 491629"/>
                  <a:gd name="connsiteX46" fmla="*/ 284775 w 608838"/>
                  <a:gd name="connsiteY46" fmla="*/ 122461 h 491629"/>
                  <a:gd name="connsiteX47" fmla="*/ 284775 w 608838"/>
                  <a:gd name="connsiteY47" fmla="*/ 57938 h 491629"/>
                  <a:gd name="connsiteX48" fmla="*/ 469401 w 608838"/>
                  <a:gd name="connsiteY48" fmla="*/ 44033 h 491629"/>
                  <a:gd name="connsiteX49" fmla="*/ 608838 w 608838"/>
                  <a:gd name="connsiteY49" fmla="*/ 44033 h 491629"/>
                  <a:gd name="connsiteX50" fmla="*/ 608838 w 608838"/>
                  <a:gd name="connsiteY50" fmla="*/ 491629 h 491629"/>
                  <a:gd name="connsiteX51" fmla="*/ 510950 w 608838"/>
                  <a:gd name="connsiteY51" fmla="*/ 491629 h 491629"/>
                  <a:gd name="connsiteX52" fmla="*/ 510950 w 608838"/>
                  <a:gd name="connsiteY52" fmla="*/ 391651 h 491629"/>
                  <a:gd name="connsiteX53" fmla="*/ 469401 w 608838"/>
                  <a:gd name="connsiteY53" fmla="*/ 391651 h 491629"/>
                  <a:gd name="connsiteX54" fmla="*/ 0 w 608838"/>
                  <a:gd name="connsiteY54" fmla="*/ 44033 h 491629"/>
                  <a:gd name="connsiteX55" fmla="*/ 139437 w 608838"/>
                  <a:gd name="connsiteY55" fmla="*/ 44033 h 491629"/>
                  <a:gd name="connsiteX56" fmla="*/ 139437 w 608838"/>
                  <a:gd name="connsiteY56" fmla="*/ 391651 h 491629"/>
                  <a:gd name="connsiteX57" fmla="*/ 97889 w 608838"/>
                  <a:gd name="connsiteY57" fmla="*/ 391651 h 491629"/>
                  <a:gd name="connsiteX58" fmla="*/ 97889 w 608838"/>
                  <a:gd name="connsiteY58" fmla="*/ 491629 h 491629"/>
                  <a:gd name="connsiteX59" fmla="*/ 0 w 608838"/>
                  <a:gd name="connsiteY59" fmla="*/ 491629 h 491629"/>
                  <a:gd name="connsiteX60" fmla="*/ 164558 w 608838"/>
                  <a:gd name="connsiteY60" fmla="*/ 0 h 491629"/>
                  <a:gd name="connsiteX61" fmla="*/ 444279 w 608838"/>
                  <a:gd name="connsiteY61" fmla="*/ 0 h 491629"/>
                  <a:gd name="connsiteX62" fmla="*/ 444279 w 608838"/>
                  <a:gd name="connsiteY62" fmla="*/ 491629 h 491629"/>
                  <a:gd name="connsiteX63" fmla="*/ 336781 w 608838"/>
                  <a:gd name="connsiteY63" fmla="*/ 491629 h 491629"/>
                  <a:gd name="connsiteX64" fmla="*/ 336781 w 608838"/>
                  <a:gd name="connsiteY64" fmla="*/ 381866 h 491629"/>
                  <a:gd name="connsiteX65" fmla="*/ 272056 w 608838"/>
                  <a:gd name="connsiteY65" fmla="*/ 381866 h 491629"/>
                  <a:gd name="connsiteX66" fmla="*/ 272056 w 608838"/>
                  <a:gd name="connsiteY66" fmla="*/ 491629 h 491629"/>
                  <a:gd name="connsiteX67" fmla="*/ 164558 w 608838"/>
                  <a:gd name="connsiteY67" fmla="*/ 491629 h 491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608838" h="491629">
                    <a:moveTo>
                      <a:pt x="499361" y="285654"/>
                    </a:moveTo>
                    <a:lnTo>
                      <a:pt x="499361" y="344437"/>
                    </a:lnTo>
                    <a:lnTo>
                      <a:pt x="558245" y="344437"/>
                    </a:lnTo>
                    <a:lnTo>
                      <a:pt x="558245" y="285654"/>
                    </a:lnTo>
                    <a:close/>
                    <a:moveTo>
                      <a:pt x="50593" y="285654"/>
                    </a:moveTo>
                    <a:lnTo>
                      <a:pt x="50593" y="344437"/>
                    </a:lnTo>
                    <a:lnTo>
                      <a:pt x="109477" y="344437"/>
                    </a:lnTo>
                    <a:lnTo>
                      <a:pt x="109477" y="285654"/>
                    </a:lnTo>
                    <a:close/>
                    <a:moveTo>
                      <a:pt x="324062" y="265425"/>
                    </a:moveTo>
                    <a:lnTo>
                      <a:pt x="324062" y="329947"/>
                    </a:lnTo>
                    <a:lnTo>
                      <a:pt x="388693" y="329947"/>
                    </a:lnTo>
                    <a:lnTo>
                      <a:pt x="388693" y="265425"/>
                    </a:lnTo>
                    <a:close/>
                    <a:moveTo>
                      <a:pt x="220144" y="265425"/>
                    </a:moveTo>
                    <a:lnTo>
                      <a:pt x="220144" y="329947"/>
                    </a:lnTo>
                    <a:lnTo>
                      <a:pt x="284775" y="329947"/>
                    </a:lnTo>
                    <a:lnTo>
                      <a:pt x="284775" y="265425"/>
                    </a:lnTo>
                    <a:close/>
                    <a:moveTo>
                      <a:pt x="499361" y="191225"/>
                    </a:moveTo>
                    <a:lnTo>
                      <a:pt x="499361" y="250008"/>
                    </a:lnTo>
                    <a:lnTo>
                      <a:pt x="558245" y="250008"/>
                    </a:lnTo>
                    <a:lnTo>
                      <a:pt x="558245" y="191225"/>
                    </a:lnTo>
                    <a:close/>
                    <a:moveTo>
                      <a:pt x="50593" y="191225"/>
                    </a:moveTo>
                    <a:lnTo>
                      <a:pt x="50593" y="250008"/>
                    </a:lnTo>
                    <a:lnTo>
                      <a:pt x="109477" y="250008"/>
                    </a:lnTo>
                    <a:lnTo>
                      <a:pt x="109477" y="191225"/>
                    </a:lnTo>
                    <a:close/>
                    <a:moveTo>
                      <a:pt x="324062" y="161682"/>
                    </a:moveTo>
                    <a:lnTo>
                      <a:pt x="324062" y="226204"/>
                    </a:lnTo>
                    <a:lnTo>
                      <a:pt x="388693" y="226204"/>
                    </a:lnTo>
                    <a:lnTo>
                      <a:pt x="388693" y="161682"/>
                    </a:lnTo>
                    <a:close/>
                    <a:moveTo>
                      <a:pt x="220144" y="161682"/>
                    </a:moveTo>
                    <a:lnTo>
                      <a:pt x="220144" y="226204"/>
                    </a:lnTo>
                    <a:lnTo>
                      <a:pt x="284775" y="226204"/>
                    </a:lnTo>
                    <a:lnTo>
                      <a:pt x="284775" y="161682"/>
                    </a:lnTo>
                    <a:close/>
                    <a:moveTo>
                      <a:pt x="499361" y="96797"/>
                    </a:moveTo>
                    <a:lnTo>
                      <a:pt x="499361" y="155579"/>
                    </a:lnTo>
                    <a:lnTo>
                      <a:pt x="558245" y="155579"/>
                    </a:lnTo>
                    <a:lnTo>
                      <a:pt x="558245" y="96797"/>
                    </a:lnTo>
                    <a:close/>
                    <a:moveTo>
                      <a:pt x="50593" y="96797"/>
                    </a:moveTo>
                    <a:lnTo>
                      <a:pt x="50593" y="155579"/>
                    </a:lnTo>
                    <a:lnTo>
                      <a:pt x="109477" y="155579"/>
                    </a:lnTo>
                    <a:lnTo>
                      <a:pt x="109477" y="96797"/>
                    </a:lnTo>
                    <a:close/>
                    <a:moveTo>
                      <a:pt x="324062" y="57938"/>
                    </a:moveTo>
                    <a:lnTo>
                      <a:pt x="324062" y="122461"/>
                    </a:lnTo>
                    <a:lnTo>
                      <a:pt x="388693" y="122461"/>
                    </a:lnTo>
                    <a:lnTo>
                      <a:pt x="388693" y="57938"/>
                    </a:lnTo>
                    <a:close/>
                    <a:moveTo>
                      <a:pt x="220144" y="57938"/>
                    </a:moveTo>
                    <a:lnTo>
                      <a:pt x="220144" y="122461"/>
                    </a:lnTo>
                    <a:lnTo>
                      <a:pt x="284775" y="122461"/>
                    </a:lnTo>
                    <a:lnTo>
                      <a:pt x="284775" y="57938"/>
                    </a:lnTo>
                    <a:close/>
                    <a:moveTo>
                      <a:pt x="469401" y="44033"/>
                    </a:moveTo>
                    <a:lnTo>
                      <a:pt x="608838" y="44033"/>
                    </a:lnTo>
                    <a:lnTo>
                      <a:pt x="608838" y="491629"/>
                    </a:lnTo>
                    <a:lnTo>
                      <a:pt x="510950" y="491629"/>
                    </a:lnTo>
                    <a:lnTo>
                      <a:pt x="510950" y="391651"/>
                    </a:lnTo>
                    <a:lnTo>
                      <a:pt x="469401" y="391651"/>
                    </a:lnTo>
                    <a:close/>
                    <a:moveTo>
                      <a:pt x="0" y="44033"/>
                    </a:moveTo>
                    <a:lnTo>
                      <a:pt x="139437" y="44033"/>
                    </a:lnTo>
                    <a:lnTo>
                      <a:pt x="139437" y="391651"/>
                    </a:lnTo>
                    <a:lnTo>
                      <a:pt x="97889" y="391651"/>
                    </a:lnTo>
                    <a:lnTo>
                      <a:pt x="97889" y="491629"/>
                    </a:lnTo>
                    <a:lnTo>
                      <a:pt x="0" y="491629"/>
                    </a:lnTo>
                    <a:close/>
                    <a:moveTo>
                      <a:pt x="164558" y="0"/>
                    </a:moveTo>
                    <a:lnTo>
                      <a:pt x="444279" y="0"/>
                    </a:lnTo>
                    <a:lnTo>
                      <a:pt x="444279" y="491629"/>
                    </a:lnTo>
                    <a:lnTo>
                      <a:pt x="336781" y="491629"/>
                    </a:lnTo>
                    <a:lnTo>
                      <a:pt x="336781" y="381866"/>
                    </a:lnTo>
                    <a:lnTo>
                      <a:pt x="272056" y="381866"/>
                    </a:lnTo>
                    <a:lnTo>
                      <a:pt x="272056" y="491629"/>
                    </a:lnTo>
                    <a:lnTo>
                      <a:pt x="164558" y="49162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56" name="íṧľide"/>
            <p:cNvGrpSpPr/>
            <p:nvPr/>
          </p:nvGrpSpPr>
          <p:grpSpPr>
            <a:xfrm>
              <a:off x="4274340" y="2979845"/>
              <a:ext cx="826700" cy="826700"/>
              <a:chOff x="4031329" y="2479508"/>
              <a:chExt cx="826700" cy="826700"/>
            </a:xfrm>
          </p:grpSpPr>
          <p:sp>
            <p:nvSpPr>
              <p:cNvPr id="64" name="iṥļïḋé"/>
              <p:cNvSpPr/>
              <p:nvPr/>
            </p:nvSpPr>
            <p:spPr>
              <a:xfrm>
                <a:off x="4031329" y="2479508"/>
                <a:ext cx="826700" cy="826700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65" name="iśľíḋé"/>
              <p:cNvSpPr/>
              <p:nvPr/>
            </p:nvSpPr>
            <p:spPr bwMode="auto">
              <a:xfrm>
                <a:off x="4250840" y="2641266"/>
                <a:ext cx="412306" cy="449134"/>
              </a:xfrm>
              <a:custGeom>
                <a:avLst/>
                <a:gdLst>
                  <a:gd name="connsiteX0" fmla="*/ 373273 h 605239"/>
                  <a:gd name="connsiteY0" fmla="*/ 373273 h 605239"/>
                  <a:gd name="connsiteX1" fmla="*/ 373273 h 605239"/>
                  <a:gd name="connsiteY1" fmla="*/ 373273 h 605239"/>
                  <a:gd name="connsiteX2" fmla="*/ 373273 h 605239"/>
                  <a:gd name="connsiteY2" fmla="*/ 373273 h 605239"/>
                  <a:gd name="connsiteX3" fmla="*/ 373273 h 605239"/>
                  <a:gd name="connsiteY3" fmla="*/ 373273 h 605239"/>
                  <a:gd name="connsiteX4" fmla="*/ 373273 h 605239"/>
                  <a:gd name="connsiteY4" fmla="*/ 373273 h 605239"/>
                  <a:gd name="connsiteX5" fmla="*/ 373273 h 605239"/>
                  <a:gd name="connsiteY5" fmla="*/ 373273 h 605239"/>
                  <a:gd name="connsiteX6" fmla="*/ 373273 h 605239"/>
                  <a:gd name="connsiteY6" fmla="*/ 373273 h 605239"/>
                  <a:gd name="connsiteX7" fmla="*/ 373273 h 605239"/>
                  <a:gd name="connsiteY7" fmla="*/ 373273 h 605239"/>
                  <a:gd name="connsiteX8" fmla="*/ 373273 h 605239"/>
                  <a:gd name="connsiteY8" fmla="*/ 373273 h 605239"/>
                  <a:gd name="connsiteX9" fmla="*/ 373273 h 605239"/>
                  <a:gd name="connsiteY9" fmla="*/ 373273 h 605239"/>
                  <a:gd name="connsiteX10" fmla="*/ 373273 h 605239"/>
                  <a:gd name="connsiteY10" fmla="*/ 373273 h 605239"/>
                  <a:gd name="connsiteX11" fmla="*/ 373273 h 605239"/>
                  <a:gd name="connsiteY11" fmla="*/ 373273 h 605239"/>
                  <a:gd name="connsiteX12" fmla="*/ 373273 h 605239"/>
                  <a:gd name="connsiteY12" fmla="*/ 373273 h 605239"/>
                  <a:gd name="connsiteX13" fmla="*/ 373273 h 605239"/>
                  <a:gd name="connsiteY13" fmla="*/ 373273 h 605239"/>
                  <a:gd name="connsiteX14" fmla="*/ 373273 h 605239"/>
                  <a:gd name="connsiteY14" fmla="*/ 373273 h 605239"/>
                  <a:gd name="connsiteX15" fmla="*/ 373273 h 605239"/>
                  <a:gd name="connsiteY15" fmla="*/ 373273 h 605239"/>
                  <a:gd name="connsiteX16" fmla="*/ 373273 h 605239"/>
                  <a:gd name="connsiteY16" fmla="*/ 373273 h 605239"/>
                  <a:gd name="connsiteX17" fmla="*/ 373273 h 605239"/>
                  <a:gd name="connsiteY17" fmla="*/ 373273 h 605239"/>
                  <a:gd name="connsiteX18" fmla="*/ 373273 h 605239"/>
                  <a:gd name="connsiteY18" fmla="*/ 373273 h 605239"/>
                  <a:gd name="connsiteX19" fmla="*/ 373273 h 605239"/>
                  <a:gd name="connsiteY19" fmla="*/ 373273 h 605239"/>
                  <a:gd name="connsiteX20" fmla="*/ 373273 h 605239"/>
                  <a:gd name="connsiteY20" fmla="*/ 373273 h 605239"/>
                  <a:gd name="connsiteX21" fmla="*/ 373273 h 605239"/>
                  <a:gd name="connsiteY21" fmla="*/ 373273 h 605239"/>
                  <a:gd name="connsiteX22" fmla="*/ 373273 h 605239"/>
                  <a:gd name="connsiteY22" fmla="*/ 373273 h 605239"/>
                  <a:gd name="connsiteX23" fmla="*/ 373273 h 605239"/>
                  <a:gd name="connsiteY23" fmla="*/ 373273 h 605239"/>
                  <a:gd name="connsiteX24" fmla="*/ 373273 h 605239"/>
                  <a:gd name="connsiteY24" fmla="*/ 373273 h 605239"/>
                  <a:gd name="connsiteX25" fmla="*/ 373273 h 605239"/>
                  <a:gd name="connsiteY25" fmla="*/ 373273 h 605239"/>
                  <a:gd name="connsiteX26" fmla="*/ 373273 h 605239"/>
                  <a:gd name="connsiteY26" fmla="*/ 373273 h 605239"/>
                  <a:gd name="connsiteX27" fmla="*/ 373273 h 605239"/>
                  <a:gd name="connsiteY27" fmla="*/ 373273 h 605239"/>
                  <a:gd name="connsiteX28" fmla="*/ 373273 h 605239"/>
                  <a:gd name="connsiteY28" fmla="*/ 373273 h 605239"/>
                  <a:gd name="connsiteX29" fmla="*/ 373273 h 605239"/>
                  <a:gd name="connsiteY29" fmla="*/ 373273 h 605239"/>
                  <a:gd name="connsiteX30" fmla="*/ 373273 h 605239"/>
                  <a:gd name="connsiteY30" fmla="*/ 373273 h 605239"/>
                  <a:gd name="connsiteX31" fmla="*/ 373273 h 605239"/>
                  <a:gd name="connsiteY31" fmla="*/ 373273 h 605239"/>
                  <a:gd name="connsiteX32" fmla="*/ 373273 h 605239"/>
                  <a:gd name="connsiteY32" fmla="*/ 373273 h 605239"/>
                  <a:gd name="connsiteX33" fmla="*/ 373273 h 605239"/>
                  <a:gd name="connsiteY33" fmla="*/ 373273 h 605239"/>
                  <a:gd name="connsiteX34" fmla="*/ 373273 h 605239"/>
                  <a:gd name="connsiteY34" fmla="*/ 373273 h 605239"/>
                  <a:gd name="connsiteX35" fmla="*/ 373273 h 605239"/>
                  <a:gd name="connsiteY35" fmla="*/ 373273 h 605239"/>
                  <a:gd name="connsiteX36" fmla="*/ 373273 h 605239"/>
                  <a:gd name="connsiteY36" fmla="*/ 373273 h 605239"/>
                  <a:gd name="connsiteX37" fmla="*/ 373273 h 605239"/>
                  <a:gd name="connsiteY37" fmla="*/ 373273 h 605239"/>
                  <a:gd name="connsiteX38" fmla="*/ 373273 h 605239"/>
                  <a:gd name="connsiteY38" fmla="*/ 373273 h 605239"/>
                  <a:gd name="connsiteX39" fmla="*/ 373273 h 605239"/>
                  <a:gd name="connsiteY39" fmla="*/ 373273 h 605239"/>
                  <a:gd name="connsiteX40" fmla="*/ 373273 h 605239"/>
                  <a:gd name="connsiteY40" fmla="*/ 373273 h 605239"/>
                  <a:gd name="connsiteX41" fmla="*/ 373273 h 605239"/>
                  <a:gd name="connsiteY41" fmla="*/ 373273 h 605239"/>
                  <a:gd name="connsiteX42" fmla="*/ 373273 h 605239"/>
                  <a:gd name="connsiteY42" fmla="*/ 373273 h 605239"/>
                  <a:gd name="connsiteX43" fmla="*/ 373273 h 605239"/>
                  <a:gd name="connsiteY43" fmla="*/ 373273 h 605239"/>
                  <a:gd name="connsiteX44" fmla="*/ 373273 h 605239"/>
                  <a:gd name="connsiteY44" fmla="*/ 373273 h 605239"/>
                  <a:gd name="connsiteX45" fmla="*/ 373273 h 605239"/>
                  <a:gd name="connsiteY45" fmla="*/ 373273 h 605239"/>
                  <a:gd name="connsiteX46" fmla="*/ 373273 h 605239"/>
                  <a:gd name="connsiteY46" fmla="*/ 373273 h 605239"/>
                  <a:gd name="connsiteX47" fmla="*/ 373273 h 605239"/>
                  <a:gd name="connsiteY47" fmla="*/ 373273 h 605239"/>
                  <a:gd name="connsiteX48" fmla="*/ 373273 h 605239"/>
                  <a:gd name="connsiteY48" fmla="*/ 373273 h 605239"/>
                  <a:gd name="connsiteX49" fmla="*/ 373273 h 605239"/>
                  <a:gd name="connsiteY49" fmla="*/ 373273 h 605239"/>
                  <a:gd name="connsiteX50" fmla="*/ 373273 h 605239"/>
                  <a:gd name="connsiteY50" fmla="*/ 373273 h 605239"/>
                  <a:gd name="connsiteX51" fmla="*/ 373273 h 605239"/>
                  <a:gd name="connsiteY51" fmla="*/ 373273 h 605239"/>
                  <a:gd name="connsiteX52" fmla="*/ 373273 h 605239"/>
                  <a:gd name="connsiteY52" fmla="*/ 373273 h 605239"/>
                  <a:gd name="connsiteX53" fmla="*/ 373273 h 605239"/>
                  <a:gd name="connsiteY53" fmla="*/ 373273 h 605239"/>
                  <a:gd name="connsiteX54" fmla="*/ 373273 h 605239"/>
                  <a:gd name="connsiteY54" fmla="*/ 373273 h 605239"/>
                  <a:gd name="connsiteX55" fmla="*/ 373273 h 605239"/>
                  <a:gd name="connsiteY55" fmla="*/ 373273 h 605239"/>
                  <a:gd name="connsiteX56" fmla="*/ 373273 h 605239"/>
                  <a:gd name="connsiteY56" fmla="*/ 373273 h 605239"/>
                  <a:gd name="connsiteX57" fmla="*/ 373273 h 605239"/>
                  <a:gd name="connsiteY57" fmla="*/ 373273 h 605239"/>
                  <a:gd name="connsiteX58" fmla="*/ 373273 h 605239"/>
                  <a:gd name="connsiteY58" fmla="*/ 373273 h 605239"/>
                  <a:gd name="connsiteX59" fmla="*/ 373273 h 605239"/>
                  <a:gd name="connsiteY59" fmla="*/ 373273 h 605239"/>
                  <a:gd name="connsiteX60" fmla="*/ 373273 h 605239"/>
                  <a:gd name="connsiteY60" fmla="*/ 373273 h 605239"/>
                  <a:gd name="connsiteX61" fmla="*/ 373273 h 605239"/>
                  <a:gd name="connsiteY61" fmla="*/ 373273 h 605239"/>
                  <a:gd name="connsiteX62" fmla="*/ 373273 h 605239"/>
                  <a:gd name="connsiteY62" fmla="*/ 373273 h 605239"/>
                  <a:gd name="connsiteX63" fmla="*/ 373273 h 605239"/>
                  <a:gd name="connsiteY63" fmla="*/ 373273 h 605239"/>
                  <a:gd name="connsiteX64" fmla="*/ 373273 h 605239"/>
                  <a:gd name="connsiteY64" fmla="*/ 373273 h 605239"/>
                  <a:gd name="connsiteX65" fmla="*/ 373273 h 605239"/>
                  <a:gd name="connsiteY65" fmla="*/ 373273 h 605239"/>
                  <a:gd name="connsiteX66" fmla="*/ 373273 h 605239"/>
                  <a:gd name="connsiteY66" fmla="*/ 373273 h 605239"/>
                  <a:gd name="connsiteX67" fmla="*/ 373273 h 605239"/>
                  <a:gd name="connsiteY67" fmla="*/ 373273 h 605239"/>
                  <a:gd name="connsiteX68" fmla="*/ 373273 h 605239"/>
                  <a:gd name="connsiteY68" fmla="*/ 373273 h 605239"/>
                  <a:gd name="connsiteX69" fmla="*/ 373273 h 605239"/>
                  <a:gd name="connsiteY69" fmla="*/ 373273 h 605239"/>
                  <a:gd name="connsiteX70" fmla="*/ 373273 h 605239"/>
                  <a:gd name="connsiteY70" fmla="*/ 373273 h 605239"/>
                  <a:gd name="connsiteX71" fmla="*/ 373273 h 605239"/>
                  <a:gd name="connsiteY71" fmla="*/ 373273 h 605239"/>
                  <a:gd name="connsiteX72" fmla="*/ 373273 h 605239"/>
                  <a:gd name="connsiteY72" fmla="*/ 373273 h 605239"/>
                  <a:gd name="connsiteX73" fmla="*/ 373273 h 605239"/>
                  <a:gd name="connsiteY73" fmla="*/ 373273 h 605239"/>
                  <a:gd name="connsiteX74" fmla="*/ 373273 h 605239"/>
                  <a:gd name="connsiteY74" fmla="*/ 373273 h 605239"/>
                  <a:gd name="connsiteX75" fmla="*/ 373273 h 605239"/>
                  <a:gd name="connsiteY75" fmla="*/ 373273 h 605239"/>
                  <a:gd name="connsiteX76" fmla="*/ 373273 h 605239"/>
                  <a:gd name="connsiteY76" fmla="*/ 373273 h 605239"/>
                  <a:gd name="connsiteX77" fmla="*/ 373273 h 605239"/>
                  <a:gd name="connsiteY77" fmla="*/ 373273 h 605239"/>
                  <a:gd name="connsiteX78" fmla="*/ 373273 h 605239"/>
                  <a:gd name="connsiteY78" fmla="*/ 373273 h 605239"/>
                  <a:gd name="connsiteX79" fmla="*/ 373273 h 605239"/>
                  <a:gd name="connsiteY79" fmla="*/ 373273 h 605239"/>
                  <a:gd name="connsiteX80" fmla="*/ 373273 h 605239"/>
                  <a:gd name="connsiteY80" fmla="*/ 373273 h 605239"/>
                  <a:gd name="connsiteX81" fmla="*/ 373273 h 605239"/>
                  <a:gd name="connsiteY81" fmla="*/ 373273 h 605239"/>
                  <a:gd name="connsiteX82" fmla="*/ 373273 h 605239"/>
                  <a:gd name="connsiteY82" fmla="*/ 373273 h 605239"/>
                  <a:gd name="connsiteX83" fmla="*/ 373273 h 605239"/>
                  <a:gd name="connsiteY83" fmla="*/ 373273 h 605239"/>
                  <a:gd name="connsiteX84" fmla="*/ 373273 h 605239"/>
                  <a:gd name="connsiteY84" fmla="*/ 373273 h 605239"/>
                  <a:gd name="connsiteX85" fmla="*/ 373273 h 605239"/>
                  <a:gd name="connsiteY85" fmla="*/ 373273 h 605239"/>
                  <a:gd name="connsiteX86" fmla="*/ 373273 h 605239"/>
                  <a:gd name="connsiteY86" fmla="*/ 373273 h 605239"/>
                  <a:gd name="connsiteX87" fmla="*/ 373273 h 605239"/>
                  <a:gd name="connsiteY87" fmla="*/ 373273 h 605239"/>
                  <a:gd name="connsiteX88" fmla="*/ 373273 h 605239"/>
                  <a:gd name="connsiteY88" fmla="*/ 373273 h 605239"/>
                  <a:gd name="connsiteX89" fmla="*/ 373273 h 605239"/>
                  <a:gd name="connsiteY89" fmla="*/ 373273 h 605239"/>
                  <a:gd name="connsiteX90" fmla="*/ 373273 h 605239"/>
                  <a:gd name="connsiteY90" fmla="*/ 373273 h 605239"/>
                  <a:gd name="connsiteX91" fmla="*/ 373273 h 605239"/>
                  <a:gd name="connsiteY91" fmla="*/ 373273 h 605239"/>
                  <a:gd name="connsiteX92" fmla="*/ 373273 h 605239"/>
                  <a:gd name="connsiteY92" fmla="*/ 373273 h 605239"/>
                  <a:gd name="connsiteX93" fmla="*/ 373273 h 605239"/>
                  <a:gd name="connsiteY93" fmla="*/ 373273 h 605239"/>
                  <a:gd name="connsiteX94" fmla="*/ 373273 h 605239"/>
                  <a:gd name="connsiteY94" fmla="*/ 373273 h 605239"/>
                  <a:gd name="connsiteX95" fmla="*/ 373273 h 605239"/>
                  <a:gd name="connsiteY95" fmla="*/ 373273 h 605239"/>
                  <a:gd name="connsiteX96" fmla="*/ 373273 h 605239"/>
                  <a:gd name="connsiteY96" fmla="*/ 373273 h 605239"/>
                  <a:gd name="connsiteX97" fmla="*/ 373273 h 605239"/>
                  <a:gd name="connsiteY97" fmla="*/ 373273 h 605239"/>
                  <a:gd name="connsiteX98" fmla="*/ 373273 h 605239"/>
                  <a:gd name="connsiteY98" fmla="*/ 373273 h 605239"/>
                  <a:gd name="connsiteX99" fmla="*/ 373273 h 605239"/>
                  <a:gd name="connsiteY99" fmla="*/ 373273 h 605239"/>
                  <a:gd name="connsiteX100" fmla="*/ 373273 h 605239"/>
                  <a:gd name="connsiteY100" fmla="*/ 373273 h 605239"/>
                  <a:gd name="connsiteX101" fmla="*/ 373273 h 605239"/>
                  <a:gd name="connsiteY101" fmla="*/ 373273 h 605239"/>
                  <a:gd name="connsiteX102" fmla="*/ 373273 h 605239"/>
                  <a:gd name="connsiteY102" fmla="*/ 373273 h 605239"/>
                  <a:gd name="connsiteX103" fmla="*/ 373273 h 605239"/>
                  <a:gd name="connsiteY103" fmla="*/ 373273 h 605239"/>
                  <a:gd name="connsiteX104" fmla="*/ 373273 h 605239"/>
                  <a:gd name="connsiteY104" fmla="*/ 373273 h 605239"/>
                  <a:gd name="connsiteX105" fmla="*/ 373273 h 605239"/>
                  <a:gd name="connsiteY105" fmla="*/ 373273 h 605239"/>
                  <a:gd name="connsiteX106" fmla="*/ 373273 h 605239"/>
                  <a:gd name="connsiteY106" fmla="*/ 373273 h 605239"/>
                  <a:gd name="connsiteX107" fmla="*/ 373273 h 605239"/>
                  <a:gd name="connsiteY107" fmla="*/ 373273 h 605239"/>
                  <a:gd name="connsiteX108" fmla="*/ 373273 h 605239"/>
                  <a:gd name="connsiteY108" fmla="*/ 373273 h 605239"/>
                  <a:gd name="connsiteX109" fmla="*/ 373273 h 605239"/>
                  <a:gd name="connsiteY109" fmla="*/ 373273 h 605239"/>
                  <a:gd name="connsiteX110" fmla="*/ 373273 h 605239"/>
                  <a:gd name="connsiteY110" fmla="*/ 373273 h 605239"/>
                  <a:gd name="connsiteX111" fmla="*/ 373273 h 605239"/>
                  <a:gd name="connsiteY111" fmla="*/ 373273 h 605239"/>
                  <a:gd name="connsiteX112" fmla="*/ 373273 h 605239"/>
                  <a:gd name="connsiteY112" fmla="*/ 373273 h 605239"/>
                  <a:gd name="connsiteX113" fmla="*/ 373273 h 605239"/>
                  <a:gd name="connsiteY113" fmla="*/ 373273 h 605239"/>
                  <a:gd name="connsiteX114" fmla="*/ 373273 h 605239"/>
                  <a:gd name="connsiteY114" fmla="*/ 373273 h 605239"/>
                  <a:gd name="connsiteX115" fmla="*/ 373273 h 605239"/>
                  <a:gd name="connsiteY115" fmla="*/ 373273 h 605239"/>
                  <a:gd name="connsiteX116" fmla="*/ 373273 h 605239"/>
                  <a:gd name="connsiteY116" fmla="*/ 373273 h 605239"/>
                  <a:gd name="connsiteX117" fmla="*/ 373273 h 605239"/>
                  <a:gd name="connsiteY117" fmla="*/ 373273 h 605239"/>
                  <a:gd name="connsiteX118" fmla="*/ 373273 h 605239"/>
                  <a:gd name="connsiteY118" fmla="*/ 373273 h 60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</a:cxnLst>
                <a:rect l="l" t="t" r="r" b="b"/>
                <a:pathLst>
                  <a:path w="556973" h="606722">
                    <a:moveTo>
                      <a:pt x="480190" y="505602"/>
                    </a:moveTo>
                    <a:cubicBezTo>
                      <a:pt x="522897" y="505602"/>
                      <a:pt x="556973" y="537147"/>
                      <a:pt x="556973" y="556162"/>
                    </a:cubicBezTo>
                    <a:lnTo>
                      <a:pt x="556439" y="586996"/>
                    </a:lnTo>
                    <a:cubicBezTo>
                      <a:pt x="556261" y="597925"/>
                      <a:pt x="547364" y="606722"/>
                      <a:pt x="536420" y="606722"/>
                    </a:cubicBezTo>
                    <a:lnTo>
                      <a:pt x="425206" y="606722"/>
                    </a:lnTo>
                    <a:cubicBezTo>
                      <a:pt x="414173" y="606722"/>
                      <a:pt x="405187" y="597748"/>
                      <a:pt x="405187" y="586640"/>
                    </a:cubicBezTo>
                    <a:lnTo>
                      <a:pt x="405187" y="556162"/>
                    </a:lnTo>
                    <a:cubicBezTo>
                      <a:pt x="405187" y="537147"/>
                      <a:pt x="437573" y="505602"/>
                      <a:pt x="480190" y="505602"/>
                    </a:cubicBezTo>
                    <a:close/>
                    <a:moveTo>
                      <a:pt x="277711" y="505602"/>
                    </a:moveTo>
                    <a:cubicBezTo>
                      <a:pt x="320343" y="505602"/>
                      <a:pt x="354520" y="537147"/>
                      <a:pt x="354520" y="556162"/>
                    </a:cubicBezTo>
                    <a:lnTo>
                      <a:pt x="353986" y="586996"/>
                    </a:lnTo>
                    <a:cubicBezTo>
                      <a:pt x="353808" y="597925"/>
                      <a:pt x="344908" y="606722"/>
                      <a:pt x="333960" y="606722"/>
                    </a:cubicBezTo>
                    <a:lnTo>
                      <a:pt x="222619" y="606722"/>
                    </a:lnTo>
                    <a:cubicBezTo>
                      <a:pt x="211582" y="606722"/>
                      <a:pt x="202593" y="597748"/>
                      <a:pt x="202593" y="586640"/>
                    </a:cubicBezTo>
                    <a:lnTo>
                      <a:pt x="202593" y="556162"/>
                    </a:lnTo>
                    <a:cubicBezTo>
                      <a:pt x="202593" y="537147"/>
                      <a:pt x="234990" y="505602"/>
                      <a:pt x="277711" y="505602"/>
                    </a:cubicBezTo>
                    <a:close/>
                    <a:moveTo>
                      <a:pt x="75118" y="505602"/>
                    </a:moveTo>
                    <a:cubicBezTo>
                      <a:pt x="117839" y="505602"/>
                      <a:pt x="151927" y="537147"/>
                      <a:pt x="151927" y="556162"/>
                    </a:cubicBezTo>
                    <a:lnTo>
                      <a:pt x="151393" y="586996"/>
                    </a:lnTo>
                    <a:cubicBezTo>
                      <a:pt x="151215" y="597925"/>
                      <a:pt x="142315" y="606722"/>
                      <a:pt x="131367" y="606722"/>
                    </a:cubicBezTo>
                    <a:lnTo>
                      <a:pt x="20115" y="606722"/>
                    </a:lnTo>
                    <a:cubicBezTo>
                      <a:pt x="8989" y="606722"/>
                      <a:pt x="0" y="597748"/>
                      <a:pt x="0" y="586640"/>
                    </a:cubicBezTo>
                    <a:lnTo>
                      <a:pt x="0" y="556162"/>
                    </a:lnTo>
                    <a:cubicBezTo>
                      <a:pt x="0" y="537147"/>
                      <a:pt x="32486" y="505602"/>
                      <a:pt x="75118" y="505602"/>
                    </a:cubicBezTo>
                    <a:close/>
                    <a:moveTo>
                      <a:pt x="481080" y="379219"/>
                    </a:moveTo>
                    <a:cubicBezTo>
                      <a:pt x="509043" y="379219"/>
                      <a:pt x="531711" y="401840"/>
                      <a:pt x="531711" y="429744"/>
                    </a:cubicBezTo>
                    <a:cubicBezTo>
                      <a:pt x="531711" y="457648"/>
                      <a:pt x="509043" y="480269"/>
                      <a:pt x="481080" y="480269"/>
                    </a:cubicBezTo>
                    <a:cubicBezTo>
                      <a:pt x="453117" y="480269"/>
                      <a:pt x="430449" y="457648"/>
                      <a:pt x="430449" y="429744"/>
                    </a:cubicBezTo>
                    <a:cubicBezTo>
                      <a:pt x="430449" y="401840"/>
                      <a:pt x="453117" y="379219"/>
                      <a:pt x="481080" y="379219"/>
                    </a:cubicBezTo>
                    <a:close/>
                    <a:moveTo>
                      <a:pt x="278522" y="379219"/>
                    </a:moveTo>
                    <a:cubicBezTo>
                      <a:pt x="306465" y="379219"/>
                      <a:pt x="329118" y="401840"/>
                      <a:pt x="329118" y="429744"/>
                    </a:cubicBezTo>
                    <a:cubicBezTo>
                      <a:pt x="329118" y="457648"/>
                      <a:pt x="306465" y="480269"/>
                      <a:pt x="278522" y="480269"/>
                    </a:cubicBezTo>
                    <a:cubicBezTo>
                      <a:pt x="250579" y="480269"/>
                      <a:pt x="227926" y="457648"/>
                      <a:pt x="227926" y="429744"/>
                    </a:cubicBezTo>
                    <a:cubicBezTo>
                      <a:pt x="227926" y="401840"/>
                      <a:pt x="250579" y="379219"/>
                      <a:pt x="278522" y="379219"/>
                    </a:cubicBezTo>
                    <a:close/>
                    <a:moveTo>
                      <a:pt x="76035" y="379219"/>
                    </a:moveTo>
                    <a:cubicBezTo>
                      <a:pt x="103998" y="379219"/>
                      <a:pt x="126666" y="401840"/>
                      <a:pt x="126666" y="429744"/>
                    </a:cubicBezTo>
                    <a:cubicBezTo>
                      <a:pt x="126666" y="457648"/>
                      <a:pt x="103998" y="480269"/>
                      <a:pt x="76035" y="480269"/>
                    </a:cubicBezTo>
                    <a:cubicBezTo>
                      <a:pt x="48072" y="480269"/>
                      <a:pt x="25404" y="457648"/>
                      <a:pt x="25404" y="429744"/>
                    </a:cubicBezTo>
                    <a:cubicBezTo>
                      <a:pt x="25404" y="401840"/>
                      <a:pt x="48072" y="379219"/>
                      <a:pt x="76035" y="379219"/>
                    </a:cubicBezTo>
                    <a:close/>
                    <a:moveTo>
                      <a:pt x="353886" y="80445"/>
                    </a:moveTo>
                    <a:lnTo>
                      <a:pt x="360298" y="80445"/>
                    </a:lnTo>
                    <a:cubicBezTo>
                      <a:pt x="362435" y="80445"/>
                      <a:pt x="364216" y="80712"/>
                      <a:pt x="365552" y="81424"/>
                    </a:cubicBezTo>
                    <a:cubicBezTo>
                      <a:pt x="366888" y="82136"/>
                      <a:pt x="367956" y="82936"/>
                      <a:pt x="368669" y="84004"/>
                    </a:cubicBezTo>
                    <a:cubicBezTo>
                      <a:pt x="369381" y="84982"/>
                      <a:pt x="369916" y="86139"/>
                      <a:pt x="370183" y="87206"/>
                    </a:cubicBezTo>
                    <a:cubicBezTo>
                      <a:pt x="370361" y="88363"/>
                      <a:pt x="370539" y="89341"/>
                      <a:pt x="370539" y="90142"/>
                    </a:cubicBezTo>
                    <a:cubicBezTo>
                      <a:pt x="370539" y="92277"/>
                      <a:pt x="370272" y="94145"/>
                      <a:pt x="369738" y="95569"/>
                    </a:cubicBezTo>
                    <a:cubicBezTo>
                      <a:pt x="369203" y="96992"/>
                      <a:pt x="368491" y="98149"/>
                      <a:pt x="367600" y="98949"/>
                    </a:cubicBezTo>
                    <a:cubicBezTo>
                      <a:pt x="366799" y="99750"/>
                      <a:pt x="365819" y="100373"/>
                      <a:pt x="364840" y="100728"/>
                    </a:cubicBezTo>
                    <a:cubicBezTo>
                      <a:pt x="363860" y="101084"/>
                      <a:pt x="362791" y="101262"/>
                      <a:pt x="361723" y="101262"/>
                    </a:cubicBezTo>
                    <a:lnTo>
                      <a:pt x="353886" y="101262"/>
                    </a:lnTo>
                    <a:close/>
                    <a:moveTo>
                      <a:pt x="288104" y="75802"/>
                    </a:moveTo>
                    <a:lnTo>
                      <a:pt x="288104" y="81667"/>
                    </a:lnTo>
                    <a:lnTo>
                      <a:pt x="303770" y="81667"/>
                    </a:lnTo>
                    <a:lnTo>
                      <a:pt x="303770" y="128321"/>
                    </a:lnTo>
                    <a:lnTo>
                      <a:pt x="312404" y="128321"/>
                    </a:lnTo>
                    <a:lnTo>
                      <a:pt x="312404" y="81667"/>
                    </a:lnTo>
                    <a:lnTo>
                      <a:pt x="328159" y="81667"/>
                    </a:lnTo>
                    <a:lnTo>
                      <a:pt x="328159" y="75802"/>
                    </a:lnTo>
                    <a:close/>
                    <a:moveTo>
                      <a:pt x="233896" y="75802"/>
                    </a:moveTo>
                    <a:lnTo>
                      <a:pt x="233896" y="81667"/>
                    </a:lnTo>
                    <a:lnTo>
                      <a:pt x="249562" y="81667"/>
                    </a:lnTo>
                    <a:lnTo>
                      <a:pt x="249562" y="128321"/>
                    </a:lnTo>
                    <a:lnTo>
                      <a:pt x="258196" y="128321"/>
                    </a:lnTo>
                    <a:lnTo>
                      <a:pt x="258196" y="81667"/>
                    </a:lnTo>
                    <a:lnTo>
                      <a:pt x="273951" y="81667"/>
                    </a:lnTo>
                    <a:lnTo>
                      <a:pt x="273951" y="75802"/>
                    </a:lnTo>
                    <a:close/>
                    <a:moveTo>
                      <a:pt x="183516" y="75802"/>
                    </a:moveTo>
                    <a:lnTo>
                      <a:pt x="183516" y="128321"/>
                    </a:lnTo>
                    <a:lnTo>
                      <a:pt x="192239" y="128321"/>
                    </a:lnTo>
                    <a:lnTo>
                      <a:pt x="192239" y="104683"/>
                    </a:lnTo>
                    <a:lnTo>
                      <a:pt x="215026" y="104683"/>
                    </a:lnTo>
                    <a:lnTo>
                      <a:pt x="215026" y="128321"/>
                    </a:lnTo>
                    <a:lnTo>
                      <a:pt x="223571" y="128321"/>
                    </a:lnTo>
                    <a:lnTo>
                      <a:pt x="223571" y="75802"/>
                    </a:lnTo>
                    <a:lnTo>
                      <a:pt x="215026" y="75802"/>
                    </a:lnTo>
                    <a:lnTo>
                      <a:pt x="215026" y="98818"/>
                    </a:lnTo>
                    <a:lnTo>
                      <a:pt x="192239" y="98818"/>
                    </a:lnTo>
                    <a:lnTo>
                      <a:pt x="192239" y="75802"/>
                    </a:lnTo>
                    <a:close/>
                    <a:moveTo>
                      <a:pt x="345338" y="73935"/>
                    </a:moveTo>
                    <a:lnTo>
                      <a:pt x="345338" y="126366"/>
                    </a:lnTo>
                    <a:lnTo>
                      <a:pt x="353883" y="126366"/>
                    </a:lnTo>
                    <a:lnTo>
                      <a:pt x="353883" y="107438"/>
                    </a:lnTo>
                    <a:lnTo>
                      <a:pt x="360203" y="107438"/>
                    </a:lnTo>
                    <a:cubicBezTo>
                      <a:pt x="362962" y="107438"/>
                      <a:pt x="365544" y="107083"/>
                      <a:pt x="367769" y="106283"/>
                    </a:cubicBezTo>
                    <a:cubicBezTo>
                      <a:pt x="370083" y="105394"/>
                      <a:pt x="372041" y="104328"/>
                      <a:pt x="373644" y="102817"/>
                    </a:cubicBezTo>
                    <a:cubicBezTo>
                      <a:pt x="375246" y="101306"/>
                      <a:pt x="376492" y="99529"/>
                      <a:pt x="377382" y="97396"/>
                    </a:cubicBezTo>
                    <a:cubicBezTo>
                      <a:pt x="378361" y="95264"/>
                      <a:pt x="378717" y="92775"/>
                      <a:pt x="378717" y="90109"/>
                    </a:cubicBezTo>
                    <a:cubicBezTo>
                      <a:pt x="378717" y="87621"/>
                      <a:pt x="378183" y="85400"/>
                      <a:pt x="377115" y="83356"/>
                    </a:cubicBezTo>
                    <a:cubicBezTo>
                      <a:pt x="376136" y="81312"/>
                      <a:pt x="374712" y="79623"/>
                      <a:pt x="372932" y="78201"/>
                    </a:cubicBezTo>
                    <a:cubicBezTo>
                      <a:pt x="371240" y="76779"/>
                      <a:pt x="369282" y="75713"/>
                      <a:pt x="367057" y="75002"/>
                    </a:cubicBezTo>
                    <a:cubicBezTo>
                      <a:pt x="364921" y="74291"/>
                      <a:pt x="362695" y="73935"/>
                      <a:pt x="360381" y="73935"/>
                    </a:cubicBezTo>
                    <a:close/>
                    <a:moveTo>
                      <a:pt x="177285" y="0"/>
                    </a:moveTo>
                    <a:lnTo>
                      <a:pt x="379785" y="0"/>
                    </a:lnTo>
                    <a:cubicBezTo>
                      <a:pt x="435684" y="0"/>
                      <a:pt x="481080" y="45321"/>
                      <a:pt x="481080" y="101129"/>
                    </a:cubicBezTo>
                    <a:cubicBezTo>
                      <a:pt x="481080" y="156847"/>
                      <a:pt x="435684" y="202257"/>
                      <a:pt x="379785" y="202257"/>
                    </a:cubicBezTo>
                    <a:lnTo>
                      <a:pt x="303859" y="202257"/>
                    </a:lnTo>
                    <a:lnTo>
                      <a:pt x="303859" y="227495"/>
                    </a:lnTo>
                    <a:lnTo>
                      <a:pt x="481080" y="227495"/>
                    </a:lnTo>
                    <a:cubicBezTo>
                      <a:pt x="495055" y="227495"/>
                      <a:pt x="506448" y="238781"/>
                      <a:pt x="506448" y="252732"/>
                    </a:cubicBezTo>
                    <a:lnTo>
                      <a:pt x="506448" y="303297"/>
                    </a:lnTo>
                    <a:cubicBezTo>
                      <a:pt x="506448" y="317249"/>
                      <a:pt x="495055" y="328623"/>
                      <a:pt x="481080" y="328623"/>
                    </a:cubicBezTo>
                    <a:cubicBezTo>
                      <a:pt x="467105" y="328623"/>
                      <a:pt x="455801" y="317249"/>
                      <a:pt x="455801" y="303297"/>
                    </a:cubicBezTo>
                    <a:lnTo>
                      <a:pt x="455801" y="278059"/>
                    </a:lnTo>
                    <a:lnTo>
                      <a:pt x="303859" y="278059"/>
                    </a:lnTo>
                    <a:lnTo>
                      <a:pt x="303859" y="303297"/>
                    </a:lnTo>
                    <a:cubicBezTo>
                      <a:pt x="303859" y="317249"/>
                      <a:pt x="292555" y="328623"/>
                      <a:pt x="278580" y="328623"/>
                    </a:cubicBezTo>
                    <a:cubicBezTo>
                      <a:pt x="264516" y="328623"/>
                      <a:pt x="253212" y="317249"/>
                      <a:pt x="253212" y="303297"/>
                    </a:cubicBezTo>
                    <a:lnTo>
                      <a:pt x="253212" y="278059"/>
                    </a:lnTo>
                    <a:lnTo>
                      <a:pt x="102160" y="278059"/>
                    </a:lnTo>
                    <a:lnTo>
                      <a:pt x="102160" y="303297"/>
                    </a:lnTo>
                    <a:cubicBezTo>
                      <a:pt x="102160" y="317249"/>
                      <a:pt x="90856" y="328623"/>
                      <a:pt x="76881" y="328623"/>
                    </a:cubicBezTo>
                    <a:cubicBezTo>
                      <a:pt x="62817" y="328623"/>
                      <a:pt x="51513" y="317249"/>
                      <a:pt x="51513" y="303297"/>
                    </a:cubicBezTo>
                    <a:lnTo>
                      <a:pt x="51513" y="252732"/>
                    </a:lnTo>
                    <a:cubicBezTo>
                      <a:pt x="51513" y="238781"/>
                      <a:pt x="62817" y="227495"/>
                      <a:pt x="76881" y="227495"/>
                    </a:cubicBezTo>
                    <a:lnTo>
                      <a:pt x="253212" y="227495"/>
                    </a:lnTo>
                    <a:lnTo>
                      <a:pt x="253212" y="202257"/>
                    </a:lnTo>
                    <a:lnTo>
                      <a:pt x="177285" y="202257"/>
                    </a:lnTo>
                    <a:cubicBezTo>
                      <a:pt x="121387" y="202257"/>
                      <a:pt x="75991" y="156847"/>
                      <a:pt x="75991" y="101129"/>
                    </a:cubicBezTo>
                    <a:cubicBezTo>
                      <a:pt x="75991" y="45321"/>
                      <a:pt x="121387" y="0"/>
                      <a:pt x="1772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57" name="ïŝḻïďé"/>
            <p:cNvGrpSpPr/>
            <p:nvPr/>
          </p:nvGrpSpPr>
          <p:grpSpPr>
            <a:xfrm>
              <a:off x="9655056" y="2979845"/>
              <a:ext cx="826700" cy="826700"/>
              <a:chOff x="5439638" y="2479508"/>
              <a:chExt cx="826700" cy="826700"/>
            </a:xfrm>
          </p:grpSpPr>
          <p:sp>
            <p:nvSpPr>
              <p:cNvPr id="61" name="íšḷidê"/>
              <p:cNvSpPr/>
              <p:nvPr/>
            </p:nvSpPr>
            <p:spPr>
              <a:xfrm>
                <a:off x="5439638" y="2479508"/>
                <a:ext cx="826700" cy="826700"/>
              </a:xfrm>
              <a:prstGeom prst="ellipse">
                <a:avLst/>
              </a:prstGeom>
              <a:solidFill>
                <a:srgbClr val="00B050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62" name="ïşļîḓê"/>
              <p:cNvSpPr/>
              <p:nvPr/>
            </p:nvSpPr>
            <p:spPr bwMode="auto">
              <a:xfrm>
                <a:off x="5684549" y="2668291"/>
                <a:ext cx="336872" cy="449133"/>
              </a:xfrm>
              <a:custGeom>
                <a:avLst/>
                <a:gdLst>
                  <a:gd name="T0" fmla="*/ 649 w 7781"/>
                  <a:gd name="T1" fmla="*/ 0 h 10375"/>
                  <a:gd name="T2" fmla="*/ 7132 w 7781"/>
                  <a:gd name="T3" fmla="*/ 0 h 10375"/>
                  <a:gd name="T4" fmla="*/ 7781 w 7781"/>
                  <a:gd name="T5" fmla="*/ 649 h 10375"/>
                  <a:gd name="T6" fmla="*/ 7781 w 7781"/>
                  <a:gd name="T7" fmla="*/ 9726 h 10375"/>
                  <a:gd name="T8" fmla="*/ 7132 w 7781"/>
                  <a:gd name="T9" fmla="*/ 10375 h 10375"/>
                  <a:gd name="T10" fmla="*/ 649 w 7781"/>
                  <a:gd name="T11" fmla="*/ 10375 h 10375"/>
                  <a:gd name="T12" fmla="*/ 0 w 7781"/>
                  <a:gd name="T13" fmla="*/ 9726 h 10375"/>
                  <a:gd name="T14" fmla="*/ 0 w 7781"/>
                  <a:gd name="T15" fmla="*/ 649 h 10375"/>
                  <a:gd name="T16" fmla="*/ 649 w 7781"/>
                  <a:gd name="T17" fmla="*/ 0 h 10375"/>
                  <a:gd name="T18" fmla="*/ 1297 w 7781"/>
                  <a:gd name="T19" fmla="*/ 1296 h 10375"/>
                  <a:gd name="T20" fmla="*/ 1297 w 7781"/>
                  <a:gd name="T21" fmla="*/ 8429 h 10375"/>
                  <a:gd name="T22" fmla="*/ 6485 w 7781"/>
                  <a:gd name="T23" fmla="*/ 8429 h 10375"/>
                  <a:gd name="T24" fmla="*/ 6485 w 7781"/>
                  <a:gd name="T25" fmla="*/ 1296 h 10375"/>
                  <a:gd name="T26" fmla="*/ 1297 w 7781"/>
                  <a:gd name="T27" fmla="*/ 1296 h 10375"/>
                  <a:gd name="T28" fmla="*/ 3891 w 7781"/>
                  <a:gd name="T29" fmla="*/ 8915 h 10375"/>
                  <a:gd name="T30" fmla="*/ 3405 w 7781"/>
                  <a:gd name="T31" fmla="*/ 9401 h 10375"/>
                  <a:gd name="T32" fmla="*/ 3891 w 7781"/>
                  <a:gd name="T33" fmla="*/ 9888 h 10375"/>
                  <a:gd name="T34" fmla="*/ 4377 w 7781"/>
                  <a:gd name="T35" fmla="*/ 9401 h 10375"/>
                  <a:gd name="T36" fmla="*/ 3891 w 7781"/>
                  <a:gd name="T37" fmla="*/ 8915 h 10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81" h="10375">
                    <a:moveTo>
                      <a:pt x="649" y="0"/>
                    </a:moveTo>
                    <a:lnTo>
                      <a:pt x="7132" y="0"/>
                    </a:lnTo>
                    <a:cubicBezTo>
                      <a:pt x="7490" y="0"/>
                      <a:pt x="7781" y="290"/>
                      <a:pt x="7781" y="649"/>
                    </a:cubicBezTo>
                    <a:lnTo>
                      <a:pt x="7781" y="9726"/>
                    </a:lnTo>
                    <a:cubicBezTo>
                      <a:pt x="7781" y="10084"/>
                      <a:pt x="7491" y="10375"/>
                      <a:pt x="7132" y="10375"/>
                    </a:cubicBezTo>
                    <a:lnTo>
                      <a:pt x="649" y="10375"/>
                    </a:lnTo>
                    <a:cubicBezTo>
                      <a:pt x="291" y="10375"/>
                      <a:pt x="0" y="10085"/>
                      <a:pt x="0" y="9726"/>
                    </a:cubicBezTo>
                    <a:lnTo>
                      <a:pt x="0" y="649"/>
                    </a:lnTo>
                    <a:cubicBezTo>
                      <a:pt x="1" y="290"/>
                      <a:pt x="291" y="0"/>
                      <a:pt x="649" y="0"/>
                    </a:cubicBezTo>
                    <a:close/>
                    <a:moveTo>
                      <a:pt x="1297" y="1296"/>
                    </a:moveTo>
                    <a:lnTo>
                      <a:pt x="1297" y="8429"/>
                    </a:lnTo>
                    <a:lnTo>
                      <a:pt x="6485" y="8429"/>
                    </a:lnTo>
                    <a:lnTo>
                      <a:pt x="6485" y="1296"/>
                    </a:lnTo>
                    <a:lnTo>
                      <a:pt x="1297" y="1296"/>
                    </a:lnTo>
                    <a:close/>
                    <a:moveTo>
                      <a:pt x="3891" y="8915"/>
                    </a:moveTo>
                    <a:cubicBezTo>
                      <a:pt x="3622" y="8915"/>
                      <a:pt x="3405" y="9133"/>
                      <a:pt x="3405" y="9401"/>
                    </a:cubicBezTo>
                    <a:cubicBezTo>
                      <a:pt x="3405" y="9670"/>
                      <a:pt x="3622" y="9888"/>
                      <a:pt x="3891" y="9888"/>
                    </a:cubicBezTo>
                    <a:cubicBezTo>
                      <a:pt x="4160" y="9888"/>
                      <a:pt x="4377" y="9670"/>
                      <a:pt x="4377" y="9401"/>
                    </a:cubicBezTo>
                    <a:cubicBezTo>
                      <a:pt x="4377" y="9133"/>
                      <a:pt x="4160" y="8915"/>
                      <a:pt x="3891" y="891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</p:grpSp>
      <p:sp>
        <p:nvSpPr>
          <p:cNvPr id="50" name="iṥļïḋé"/>
          <p:cNvSpPr/>
          <p:nvPr/>
        </p:nvSpPr>
        <p:spPr>
          <a:xfrm>
            <a:off x="6969699" y="3465973"/>
            <a:ext cx="826700" cy="826700"/>
          </a:xfrm>
          <a:prstGeom prst="ellipse">
            <a:avLst/>
          </a:prstGeom>
          <a:solidFill>
            <a:srgbClr val="C0000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/>
          </a:p>
        </p:txBody>
      </p:sp>
      <p:cxnSp>
        <p:nvCxnSpPr>
          <p:cNvPr id="9" name="直接箭头连接符 8"/>
          <p:cNvCxnSpPr/>
          <p:nvPr/>
        </p:nvCxnSpPr>
        <p:spPr>
          <a:xfrm>
            <a:off x="2751055" y="3902884"/>
            <a:ext cx="1293659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箭头连接符 58"/>
          <p:cNvCxnSpPr/>
          <p:nvPr/>
        </p:nvCxnSpPr>
        <p:spPr>
          <a:xfrm>
            <a:off x="5394793" y="3902884"/>
            <a:ext cx="1293659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箭头连接符 59"/>
          <p:cNvCxnSpPr/>
          <p:nvPr/>
        </p:nvCxnSpPr>
        <p:spPr>
          <a:xfrm>
            <a:off x="8070136" y="3896210"/>
            <a:ext cx="1293659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íşlïďê"/>
          <p:cNvSpPr/>
          <p:nvPr/>
        </p:nvSpPr>
        <p:spPr bwMode="gray">
          <a:xfrm>
            <a:off x="7190177" y="3692993"/>
            <a:ext cx="405173" cy="406035"/>
          </a:xfrm>
          <a:custGeom>
            <a:avLst/>
            <a:gdLst>
              <a:gd name="T0" fmla="*/ 12123 w 12728"/>
              <a:gd name="T1" fmla="*/ 2794 h 12755"/>
              <a:gd name="T2" fmla="*/ 11574 w 12728"/>
              <a:gd name="T3" fmla="*/ 3342 h 12755"/>
              <a:gd name="T4" fmla="*/ 9386 w 12728"/>
              <a:gd name="T5" fmla="*/ 1151 h 12755"/>
              <a:gd name="T6" fmla="*/ 9932 w 12728"/>
              <a:gd name="T7" fmla="*/ 605 h 12755"/>
              <a:gd name="T8" fmla="*/ 12123 w 12728"/>
              <a:gd name="T9" fmla="*/ 605 h 12755"/>
              <a:gd name="T10" fmla="*/ 12123 w 12728"/>
              <a:gd name="T11" fmla="*/ 2794 h 12755"/>
              <a:gd name="T12" fmla="*/ 10479 w 12728"/>
              <a:gd name="T13" fmla="*/ 4436 h 12755"/>
              <a:gd name="T14" fmla="*/ 7742 w 12728"/>
              <a:gd name="T15" fmla="*/ 7169 h 12755"/>
              <a:gd name="T16" fmla="*/ 3926 w 12728"/>
              <a:gd name="T17" fmla="*/ 8827 h 12755"/>
              <a:gd name="T18" fmla="*/ 5551 w 12728"/>
              <a:gd name="T19" fmla="*/ 4980 h 12755"/>
              <a:gd name="T20" fmla="*/ 8290 w 12728"/>
              <a:gd name="T21" fmla="*/ 2245 h 12755"/>
              <a:gd name="T22" fmla="*/ 10479 w 12728"/>
              <a:gd name="T23" fmla="*/ 4436 h 12755"/>
              <a:gd name="T24" fmla="*/ 4711 w 12728"/>
              <a:gd name="T25" fmla="*/ 1735 h 12755"/>
              <a:gd name="T26" fmla="*/ 2356 w 12728"/>
              <a:gd name="T27" fmla="*/ 1735 h 12755"/>
              <a:gd name="T28" fmla="*/ 1570 w 12728"/>
              <a:gd name="T29" fmla="*/ 2522 h 12755"/>
              <a:gd name="T30" fmla="*/ 1570 w 12728"/>
              <a:gd name="T31" fmla="*/ 10392 h 12755"/>
              <a:gd name="T32" fmla="*/ 2356 w 12728"/>
              <a:gd name="T33" fmla="*/ 11179 h 12755"/>
              <a:gd name="T34" fmla="*/ 10210 w 12728"/>
              <a:gd name="T35" fmla="*/ 11179 h 12755"/>
              <a:gd name="T36" fmla="*/ 10995 w 12728"/>
              <a:gd name="T37" fmla="*/ 10392 h 12755"/>
              <a:gd name="T38" fmla="*/ 10995 w 12728"/>
              <a:gd name="T39" fmla="*/ 7245 h 12755"/>
              <a:gd name="T40" fmla="*/ 11780 w 12728"/>
              <a:gd name="T41" fmla="*/ 6458 h 12755"/>
              <a:gd name="T42" fmla="*/ 12565 w 12728"/>
              <a:gd name="T43" fmla="*/ 7245 h 12755"/>
              <a:gd name="T44" fmla="*/ 12565 w 12728"/>
              <a:gd name="T45" fmla="*/ 11181 h 12755"/>
              <a:gd name="T46" fmla="*/ 10995 w 12728"/>
              <a:gd name="T47" fmla="*/ 12755 h 12755"/>
              <a:gd name="T48" fmla="*/ 1570 w 12728"/>
              <a:gd name="T49" fmla="*/ 12755 h 12755"/>
              <a:gd name="T50" fmla="*/ 0 w 12728"/>
              <a:gd name="T51" fmla="*/ 11181 h 12755"/>
              <a:gd name="T52" fmla="*/ 0 w 12728"/>
              <a:gd name="T53" fmla="*/ 1735 h 12755"/>
              <a:gd name="T54" fmla="*/ 1570 w 12728"/>
              <a:gd name="T55" fmla="*/ 161 h 12755"/>
              <a:gd name="T56" fmla="*/ 4711 w 12728"/>
              <a:gd name="T57" fmla="*/ 161 h 12755"/>
              <a:gd name="T58" fmla="*/ 5496 w 12728"/>
              <a:gd name="T59" fmla="*/ 948 h 12755"/>
              <a:gd name="T60" fmla="*/ 4711 w 12728"/>
              <a:gd name="T61" fmla="*/ 1735 h 12755"/>
              <a:gd name="T62" fmla="*/ 4711 w 12728"/>
              <a:gd name="T63" fmla="*/ 1735 h 127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2728" h="12755">
                <a:moveTo>
                  <a:pt x="12123" y="2794"/>
                </a:moveTo>
                <a:lnTo>
                  <a:pt x="11574" y="3342"/>
                </a:lnTo>
                <a:lnTo>
                  <a:pt x="9386" y="1151"/>
                </a:lnTo>
                <a:lnTo>
                  <a:pt x="9932" y="605"/>
                </a:lnTo>
                <a:cubicBezTo>
                  <a:pt x="10537" y="0"/>
                  <a:pt x="11518" y="0"/>
                  <a:pt x="12123" y="605"/>
                </a:cubicBezTo>
                <a:cubicBezTo>
                  <a:pt x="12728" y="1208"/>
                  <a:pt x="12728" y="2189"/>
                  <a:pt x="12123" y="2794"/>
                </a:cubicBezTo>
                <a:close/>
                <a:moveTo>
                  <a:pt x="10479" y="4436"/>
                </a:moveTo>
                <a:lnTo>
                  <a:pt x="7742" y="7169"/>
                </a:lnTo>
                <a:lnTo>
                  <a:pt x="3926" y="8827"/>
                </a:lnTo>
                <a:lnTo>
                  <a:pt x="5551" y="4980"/>
                </a:lnTo>
                <a:lnTo>
                  <a:pt x="8290" y="2245"/>
                </a:lnTo>
                <a:lnTo>
                  <a:pt x="10479" y="4436"/>
                </a:lnTo>
                <a:close/>
                <a:moveTo>
                  <a:pt x="4711" y="1735"/>
                </a:moveTo>
                <a:lnTo>
                  <a:pt x="2356" y="1735"/>
                </a:lnTo>
                <a:cubicBezTo>
                  <a:pt x="1921" y="1735"/>
                  <a:pt x="1570" y="2088"/>
                  <a:pt x="1570" y="2522"/>
                </a:cubicBezTo>
                <a:lnTo>
                  <a:pt x="1570" y="10392"/>
                </a:lnTo>
                <a:cubicBezTo>
                  <a:pt x="1570" y="10826"/>
                  <a:pt x="1921" y="11179"/>
                  <a:pt x="2356" y="11179"/>
                </a:cubicBezTo>
                <a:lnTo>
                  <a:pt x="10210" y="11179"/>
                </a:lnTo>
                <a:cubicBezTo>
                  <a:pt x="10644" y="11179"/>
                  <a:pt x="10995" y="10826"/>
                  <a:pt x="10995" y="10392"/>
                </a:cubicBezTo>
                <a:lnTo>
                  <a:pt x="10995" y="7245"/>
                </a:lnTo>
                <a:cubicBezTo>
                  <a:pt x="10995" y="6811"/>
                  <a:pt x="11346" y="6458"/>
                  <a:pt x="11780" y="6458"/>
                </a:cubicBezTo>
                <a:cubicBezTo>
                  <a:pt x="12214" y="6458"/>
                  <a:pt x="12565" y="6811"/>
                  <a:pt x="12565" y="7245"/>
                </a:cubicBezTo>
                <a:lnTo>
                  <a:pt x="12565" y="11181"/>
                </a:lnTo>
                <a:cubicBezTo>
                  <a:pt x="12565" y="12049"/>
                  <a:pt x="11861" y="12755"/>
                  <a:pt x="10995" y="12755"/>
                </a:cubicBezTo>
                <a:lnTo>
                  <a:pt x="1570" y="12755"/>
                </a:lnTo>
                <a:cubicBezTo>
                  <a:pt x="704" y="12755"/>
                  <a:pt x="0" y="12051"/>
                  <a:pt x="0" y="11181"/>
                </a:cubicBezTo>
                <a:lnTo>
                  <a:pt x="0" y="1735"/>
                </a:lnTo>
                <a:cubicBezTo>
                  <a:pt x="0" y="866"/>
                  <a:pt x="704" y="161"/>
                  <a:pt x="1570" y="161"/>
                </a:cubicBezTo>
                <a:lnTo>
                  <a:pt x="4711" y="161"/>
                </a:lnTo>
                <a:cubicBezTo>
                  <a:pt x="5145" y="161"/>
                  <a:pt x="5496" y="514"/>
                  <a:pt x="5496" y="948"/>
                </a:cubicBezTo>
                <a:cubicBezTo>
                  <a:pt x="5496" y="1384"/>
                  <a:pt x="5145" y="1735"/>
                  <a:pt x="4711" y="1735"/>
                </a:cubicBezTo>
                <a:close/>
                <a:moveTo>
                  <a:pt x="4711" y="1735"/>
                </a:moveTo>
                <a:close/>
              </a:path>
            </a:pathLst>
          </a:custGeom>
          <a:solidFill>
            <a:schemeClr val="bg1"/>
          </a:solidFill>
          <a:ln w="28575"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</a:p>
        </p:txBody>
      </p:sp>
      <p:sp>
        <p:nvSpPr>
          <p:cNvPr id="7" name="矩形 6"/>
          <p:cNvSpPr/>
          <p:nvPr/>
        </p:nvSpPr>
        <p:spPr>
          <a:xfrm>
            <a:off x="3522984" y="4596604"/>
            <a:ext cx="2324941" cy="11156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080"/>
              </a:lnSpc>
              <a:spcBef>
                <a:spcPct val="0"/>
              </a:spcBef>
            </a:pPr>
            <a:r>
              <a:rPr lang="zh-CN" altLang="en-US" sz="1400" dirty="0">
                <a:solidFill>
                  <a:srgbClr val="D9AB00"/>
                </a:solidFill>
              </a:rPr>
              <a:t>徒弟找到自身求职方向的板块师傅发帖，包括师傅的自身介绍、对徒弟的要求等</a:t>
            </a:r>
            <a:endParaRPr lang="zh-CN" altLang="en-US" sz="1400" dirty="0">
              <a:solidFill>
                <a:srgbClr val="D9AB00"/>
              </a:solidFill>
            </a:endParaRPr>
          </a:p>
          <a:p>
            <a:pPr algn="ctr">
              <a:spcBef>
                <a:spcPct val="0"/>
              </a:spcBef>
            </a:pPr>
            <a:endParaRPr lang="zh-CN" altLang="en-US" sz="1400" dirty="0">
              <a:solidFill>
                <a:srgbClr val="D9AB00"/>
              </a:solidFill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6421077" y="4581228"/>
            <a:ext cx="2364099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80"/>
              </a:lnSpc>
              <a:spcBef>
                <a:spcPct val="0"/>
              </a:spcBef>
            </a:pPr>
            <a:r>
              <a:rPr lang="zh-CN" altLang="en-US" sz="1400" dirty="0">
                <a:solidFill>
                  <a:srgbClr val="C00000"/>
                </a:solidFill>
              </a:rPr>
              <a:t>在师傅贴下进行排队操作，等待沟通。</a:t>
            </a:r>
            <a:endParaRPr lang="en-US" altLang="zh-CN" sz="1400" dirty="0">
              <a:solidFill>
                <a:srgbClr val="C00000"/>
              </a:solidFill>
            </a:endParaRPr>
          </a:p>
          <a:p>
            <a:pPr>
              <a:lnSpc>
                <a:spcPts val="2080"/>
              </a:lnSpc>
              <a:spcBef>
                <a:spcPct val="0"/>
              </a:spcBef>
            </a:pPr>
            <a:r>
              <a:rPr lang="zh-CN" altLang="en-US" sz="1400" dirty="0">
                <a:solidFill>
                  <a:srgbClr val="C00000"/>
                </a:solidFill>
              </a:rPr>
              <a:t>一旦选中将会得到时间通知。</a:t>
            </a:r>
            <a:endParaRPr lang="zh-CN" altLang="en-US" sz="1400" dirty="0">
              <a:solidFill>
                <a:srgbClr val="C00000"/>
              </a:solidFill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9100924" y="4614149"/>
            <a:ext cx="215956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zh-CN" altLang="en-US" sz="1400" dirty="0">
                <a:solidFill>
                  <a:srgbClr val="00B050"/>
                </a:solidFill>
              </a:rPr>
              <a:t>双方进行微信或电话沟通</a:t>
            </a:r>
            <a:endParaRPr lang="zh-CN" altLang="en-US" sz="1400" dirty="0">
              <a:solidFill>
                <a:srgbClr val="00B050"/>
              </a:solidFill>
            </a:endParaRPr>
          </a:p>
        </p:txBody>
      </p:sp>
      <p:sp>
        <p:nvSpPr>
          <p:cNvPr id="69" name="iṩḷiḑè"/>
          <p:cNvSpPr txBox="1"/>
          <p:nvPr/>
        </p:nvSpPr>
        <p:spPr bwMode="auto">
          <a:xfrm>
            <a:off x="4953295" y="1240825"/>
            <a:ext cx="2898915" cy="39846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sz="2400" b="1" dirty="0">
                <a:solidFill>
                  <a:schemeClr val="bg1">
                    <a:lumMod val="95000"/>
                  </a:schemeClr>
                </a:solidFill>
              </a:rPr>
              <a:t>发帖求徒</a:t>
            </a:r>
            <a:endParaRPr lang="zh-CN" altLang="en-US" sz="2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9" name="标题 1"/>
          <p:cNvSpPr txBox="1"/>
          <p:nvPr/>
        </p:nvSpPr>
        <p:spPr>
          <a:xfrm>
            <a:off x="5504523" y="884279"/>
            <a:ext cx="1283665" cy="243522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1200" b="0" dirty="0">
                <a:solidFill>
                  <a:schemeClr val="bg1"/>
                </a:solidFill>
              </a:rPr>
              <a:t>师徒链接形态</a:t>
            </a:r>
            <a:r>
              <a:rPr lang="en-US" altLang="zh-CN" sz="1200" b="0" dirty="0">
                <a:solidFill>
                  <a:schemeClr val="bg1"/>
                </a:solidFill>
              </a:rPr>
              <a:t>2</a:t>
            </a:r>
            <a:endParaRPr lang="zh-CN" altLang="en-US" sz="1200" b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3057" y="54149"/>
            <a:ext cx="10850563" cy="1028699"/>
          </a:xfrm>
        </p:spPr>
        <p:txBody>
          <a:bodyPr/>
          <a:lstStyle/>
          <a:p>
            <a:r>
              <a:rPr lang="zh-CN" altLang="en-US" dirty="0"/>
              <a:t>产品形态</a:t>
            </a:r>
            <a:endParaRPr lang="zh-CN" altLang="en-US" dirty="0"/>
          </a:p>
        </p:txBody>
      </p:sp>
      <p:grpSp>
        <p:nvGrpSpPr>
          <p:cNvPr id="47" name="217663" descr="OQAAAB+LCAAAAAAABACrVlIpqSxIVbJSCs5NLCpxyUxML0rM9SxJzVXSUfJMUbLKK83J0VFyysxLycxLdy/KLy0oVrKKjq0FALpUkis5AAAA" title="iSlide™ 版权声明  COPYRIGHT NOTICE"/>
          <p:cNvGrpSpPr>
            <a:grpSpLocks noChangeAspect="1"/>
          </p:cNvGrpSpPr>
          <p:nvPr/>
        </p:nvGrpSpPr>
        <p:grpSpPr>
          <a:xfrm>
            <a:off x="673101" y="717788"/>
            <a:ext cx="9808655" cy="4269504"/>
            <a:chOff x="673101" y="223881"/>
            <a:chExt cx="9808655" cy="4269504"/>
          </a:xfrm>
        </p:grpSpPr>
        <p:grpSp>
          <p:nvGrpSpPr>
            <p:cNvPr id="48" name="iṩḷîḓê"/>
            <p:cNvGrpSpPr/>
            <p:nvPr/>
          </p:nvGrpSpPr>
          <p:grpSpPr>
            <a:xfrm>
              <a:off x="4714349" y="223881"/>
              <a:ext cx="2763303" cy="2813518"/>
              <a:chOff x="4991666" y="223883"/>
              <a:chExt cx="2483333" cy="2528461"/>
            </a:xfrm>
          </p:grpSpPr>
          <p:sp>
            <p:nvSpPr>
              <p:cNvPr id="78" name="iṥļîďè"/>
              <p:cNvSpPr/>
              <p:nvPr/>
            </p:nvSpPr>
            <p:spPr bwMode="auto">
              <a:xfrm>
                <a:off x="6010392" y="1436290"/>
                <a:ext cx="1075897" cy="1142994"/>
              </a:xfrm>
              <a:custGeom>
                <a:avLst/>
                <a:gdLst>
                  <a:gd name="T0" fmla="*/ 163 w 270"/>
                  <a:gd name="T1" fmla="*/ 37 h 287"/>
                  <a:gd name="T2" fmla="*/ 227 w 270"/>
                  <a:gd name="T3" fmla="*/ 267 h 287"/>
                  <a:gd name="T4" fmla="*/ 245 w 270"/>
                  <a:gd name="T5" fmla="*/ 278 h 287"/>
                  <a:gd name="T6" fmla="*/ 258 w 270"/>
                  <a:gd name="T7" fmla="*/ 276 h 287"/>
                  <a:gd name="T8" fmla="*/ 268 w 270"/>
                  <a:gd name="T9" fmla="*/ 259 h 287"/>
                  <a:gd name="T10" fmla="*/ 202 w 270"/>
                  <a:gd name="T11" fmla="*/ 17 h 287"/>
                  <a:gd name="T12" fmla="*/ 162 w 270"/>
                  <a:gd name="T13" fmla="*/ 17 h 287"/>
                  <a:gd name="T14" fmla="*/ 140 w 270"/>
                  <a:gd name="T15" fmla="*/ 0 h 287"/>
                  <a:gd name="T16" fmla="*/ 140 w 270"/>
                  <a:gd name="T17" fmla="*/ 0 h 287"/>
                  <a:gd name="T18" fmla="*/ 118 w 270"/>
                  <a:gd name="T19" fmla="*/ 17 h 287"/>
                  <a:gd name="T20" fmla="*/ 78 w 270"/>
                  <a:gd name="T21" fmla="*/ 17 h 287"/>
                  <a:gd name="T22" fmla="*/ 2 w 270"/>
                  <a:gd name="T23" fmla="*/ 266 h 287"/>
                  <a:gd name="T24" fmla="*/ 13 w 270"/>
                  <a:gd name="T25" fmla="*/ 283 h 287"/>
                  <a:gd name="T26" fmla="*/ 25 w 270"/>
                  <a:gd name="T27" fmla="*/ 285 h 287"/>
                  <a:gd name="T28" fmla="*/ 44 w 270"/>
                  <a:gd name="T29" fmla="*/ 274 h 287"/>
                  <a:gd name="T30" fmla="*/ 117 w 270"/>
                  <a:gd name="T31" fmla="*/ 30 h 287"/>
                  <a:gd name="T32" fmla="*/ 117 w 270"/>
                  <a:gd name="T33" fmla="*/ 191 h 287"/>
                  <a:gd name="T34" fmla="*/ 140 w 270"/>
                  <a:gd name="T35" fmla="*/ 214 h 287"/>
                  <a:gd name="T36" fmla="*/ 140 w 270"/>
                  <a:gd name="T37" fmla="*/ 214 h 287"/>
                  <a:gd name="T38" fmla="*/ 163 w 270"/>
                  <a:gd name="T39" fmla="*/ 191 h 287"/>
                  <a:gd name="T40" fmla="*/ 163 w 270"/>
                  <a:gd name="T41" fmla="*/ 37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0" h="287">
                    <a:moveTo>
                      <a:pt x="163" y="37"/>
                    </a:moveTo>
                    <a:cubicBezTo>
                      <a:pt x="227" y="267"/>
                      <a:pt x="227" y="267"/>
                      <a:pt x="227" y="267"/>
                    </a:cubicBezTo>
                    <a:cubicBezTo>
                      <a:pt x="229" y="275"/>
                      <a:pt x="237" y="280"/>
                      <a:pt x="245" y="278"/>
                    </a:cubicBezTo>
                    <a:cubicBezTo>
                      <a:pt x="258" y="276"/>
                      <a:pt x="258" y="276"/>
                      <a:pt x="258" y="276"/>
                    </a:cubicBezTo>
                    <a:cubicBezTo>
                      <a:pt x="266" y="274"/>
                      <a:pt x="270" y="267"/>
                      <a:pt x="268" y="259"/>
                    </a:cubicBezTo>
                    <a:cubicBezTo>
                      <a:pt x="202" y="17"/>
                      <a:pt x="202" y="17"/>
                      <a:pt x="202" y="17"/>
                    </a:cubicBezTo>
                    <a:cubicBezTo>
                      <a:pt x="162" y="17"/>
                      <a:pt x="162" y="17"/>
                      <a:pt x="162" y="17"/>
                    </a:cubicBezTo>
                    <a:cubicBezTo>
                      <a:pt x="160" y="8"/>
                      <a:pt x="151" y="0"/>
                      <a:pt x="140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0" y="0"/>
                      <a:pt x="121" y="8"/>
                      <a:pt x="118" y="17"/>
                    </a:cubicBezTo>
                    <a:cubicBezTo>
                      <a:pt x="78" y="17"/>
                      <a:pt x="78" y="17"/>
                      <a:pt x="78" y="17"/>
                    </a:cubicBezTo>
                    <a:cubicBezTo>
                      <a:pt x="2" y="266"/>
                      <a:pt x="2" y="266"/>
                      <a:pt x="2" y="266"/>
                    </a:cubicBezTo>
                    <a:cubicBezTo>
                      <a:pt x="0" y="274"/>
                      <a:pt x="5" y="282"/>
                      <a:pt x="13" y="283"/>
                    </a:cubicBezTo>
                    <a:cubicBezTo>
                      <a:pt x="25" y="285"/>
                      <a:pt x="25" y="285"/>
                      <a:pt x="25" y="285"/>
                    </a:cubicBezTo>
                    <a:cubicBezTo>
                      <a:pt x="33" y="287"/>
                      <a:pt x="42" y="282"/>
                      <a:pt x="44" y="274"/>
                    </a:cubicBezTo>
                    <a:cubicBezTo>
                      <a:pt x="117" y="30"/>
                      <a:pt x="117" y="30"/>
                      <a:pt x="117" y="30"/>
                    </a:cubicBezTo>
                    <a:cubicBezTo>
                      <a:pt x="117" y="191"/>
                      <a:pt x="117" y="191"/>
                      <a:pt x="117" y="191"/>
                    </a:cubicBezTo>
                    <a:cubicBezTo>
                      <a:pt x="117" y="204"/>
                      <a:pt x="128" y="214"/>
                      <a:pt x="140" y="214"/>
                    </a:cubicBezTo>
                    <a:cubicBezTo>
                      <a:pt x="140" y="214"/>
                      <a:pt x="140" y="214"/>
                      <a:pt x="140" y="214"/>
                    </a:cubicBezTo>
                    <a:cubicBezTo>
                      <a:pt x="153" y="214"/>
                      <a:pt x="163" y="204"/>
                      <a:pt x="163" y="191"/>
                    </a:cubicBezTo>
                    <a:lnTo>
                      <a:pt x="163" y="37"/>
                    </a:lnTo>
                    <a:close/>
                  </a:path>
                </a:pathLst>
              </a:custGeom>
              <a:solidFill>
                <a:srgbClr val="FEE3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80" name="ïšḻîḑe"/>
              <p:cNvSpPr/>
              <p:nvPr/>
            </p:nvSpPr>
            <p:spPr bwMode="auto">
              <a:xfrm>
                <a:off x="6477770" y="1591312"/>
                <a:ext cx="182787" cy="83296"/>
              </a:xfrm>
              <a:custGeom>
                <a:avLst/>
                <a:gdLst>
                  <a:gd name="T0" fmla="*/ 0 w 79"/>
                  <a:gd name="T1" fmla="*/ 0 h 36"/>
                  <a:gd name="T2" fmla="*/ 0 w 79"/>
                  <a:gd name="T3" fmla="*/ 36 h 36"/>
                  <a:gd name="T4" fmla="*/ 79 w 79"/>
                  <a:gd name="T5" fmla="*/ 33 h 36"/>
                  <a:gd name="T6" fmla="*/ 79 w 79"/>
                  <a:gd name="T7" fmla="*/ 0 h 36"/>
                  <a:gd name="T8" fmla="*/ 0 w 79"/>
                  <a:gd name="T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" h="36">
                    <a:moveTo>
                      <a:pt x="0" y="0"/>
                    </a:moveTo>
                    <a:lnTo>
                      <a:pt x="0" y="36"/>
                    </a:lnTo>
                    <a:lnTo>
                      <a:pt x="79" y="33"/>
                    </a:lnTo>
                    <a:lnTo>
                      <a:pt x="7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BA3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81" name="iṥlîḑé"/>
              <p:cNvSpPr/>
              <p:nvPr/>
            </p:nvSpPr>
            <p:spPr bwMode="auto">
              <a:xfrm>
                <a:off x="6665183" y="1591312"/>
                <a:ext cx="194355" cy="78668"/>
              </a:xfrm>
              <a:custGeom>
                <a:avLst/>
                <a:gdLst>
                  <a:gd name="T0" fmla="*/ 0 w 84"/>
                  <a:gd name="T1" fmla="*/ 0 h 34"/>
                  <a:gd name="T2" fmla="*/ 75 w 84"/>
                  <a:gd name="T3" fmla="*/ 0 h 34"/>
                  <a:gd name="T4" fmla="*/ 84 w 84"/>
                  <a:gd name="T5" fmla="*/ 33 h 34"/>
                  <a:gd name="T6" fmla="*/ 10 w 84"/>
                  <a:gd name="T7" fmla="*/ 34 h 34"/>
                  <a:gd name="T8" fmla="*/ 0 w 84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34">
                    <a:moveTo>
                      <a:pt x="0" y="0"/>
                    </a:moveTo>
                    <a:lnTo>
                      <a:pt x="75" y="0"/>
                    </a:lnTo>
                    <a:lnTo>
                      <a:pt x="84" y="33"/>
                    </a:lnTo>
                    <a:lnTo>
                      <a:pt x="10" y="3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BA3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84" name="iṩlïḍè"/>
              <p:cNvSpPr/>
              <p:nvPr/>
            </p:nvSpPr>
            <p:spPr bwMode="auto">
              <a:xfrm>
                <a:off x="5543013" y="223883"/>
                <a:ext cx="1931986" cy="1372057"/>
              </a:xfrm>
              <a:custGeom>
                <a:avLst/>
                <a:gdLst>
                  <a:gd name="T0" fmla="*/ 33 w 484"/>
                  <a:gd name="T1" fmla="*/ 0 h 344"/>
                  <a:gd name="T2" fmla="*/ 451 w 484"/>
                  <a:gd name="T3" fmla="*/ 0 h 344"/>
                  <a:gd name="T4" fmla="*/ 484 w 484"/>
                  <a:gd name="T5" fmla="*/ 33 h 344"/>
                  <a:gd name="T6" fmla="*/ 484 w 484"/>
                  <a:gd name="T7" fmla="*/ 311 h 344"/>
                  <a:gd name="T8" fmla="*/ 451 w 484"/>
                  <a:gd name="T9" fmla="*/ 344 h 344"/>
                  <a:gd name="T10" fmla="*/ 33 w 484"/>
                  <a:gd name="T11" fmla="*/ 344 h 344"/>
                  <a:gd name="T12" fmla="*/ 0 w 484"/>
                  <a:gd name="T13" fmla="*/ 311 h 344"/>
                  <a:gd name="T14" fmla="*/ 0 w 484"/>
                  <a:gd name="T15" fmla="*/ 33 h 344"/>
                  <a:gd name="T16" fmla="*/ 33 w 484"/>
                  <a:gd name="T17" fmla="*/ 0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4" h="344">
                    <a:moveTo>
                      <a:pt x="33" y="0"/>
                    </a:moveTo>
                    <a:cubicBezTo>
                      <a:pt x="451" y="0"/>
                      <a:pt x="451" y="0"/>
                      <a:pt x="451" y="0"/>
                    </a:cubicBezTo>
                    <a:cubicBezTo>
                      <a:pt x="469" y="0"/>
                      <a:pt x="484" y="15"/>
                      <a:pt x="484" y="33"/>
                    </a:cubicBezTo>
                    <a:cubicBezTo>
                      <a:pt x="484" y="311"/>
                      <a:pt x="484" y="311"/>
                      <a:pt x="484" y="311"/>
                    </a:cubicBezTo>
                    <a:cubicBezTo>
                      <a:pt x="484" y="329"/>
                      <a:pt x="469" y="344"/>
                      <a:pt x="451" y="344"/>
                    </a:cubicBezTo>
                    <a:cubicBezTo>
                      <a:pt x="33" y="344"/>
                      <a:pt x="33" y="344"/>
                      <a:pt x="33" y="344"/>
                    </a:cubicBezTo>
                    <a:cubicBezTo>
                      <a:pt x="15" y="344"/>
                      <a:pt x="0" y="329"/>
                      <a:pt x="0" y="311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15"/>
                      <a:pt x="15" y="0"/>
                      <a:pt x="33" y="0"/>
                    </a:cubicBezTo>
                    <a:close/>
                  </a:path>
                </a:pathLst>
              </a:custGeom>
              <a:solidFill>
                <a:srgbClr val="DABD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85" name="îsḻíďe"/>
              <p:cNvSpPr/>
              <p:nvPr/>
            </p:nvSpPr>
            <p:spPr bwMode="auto">
              <a:xfrm>
                <a:off x="5603171" y="223883"/>
                <a:ext cx="1871828" cy="1328095"/>
              </a:xfrm>
              <a:custGeom>
                <a:avLst/>
                <a:gdLst>
                  <a:gd name="T0" fmla="*/ 32 w 469"/>
                  <a:gd name="T1" fmla="*/ 0 h 333"/>
                  <a:gd name="T2" fmla="*/ 437 w 469"/>
                  <a:gd name="T3" fmla="*/ 0 h 333"/>
                  <a:gd name="T4" fmla="*/ 469 w 469"/>
                  <a:gd name="T5" fmla="*/ 32 h 333"/>
                  <a:gd name="T6" fmla="*/ 469 w 469"/>
                  <a:gd name="T7" fmla="*/ 301 h 333"/>
                  <a:gd name="T8" fmla="*/ 437 w 469"/>
                  <a:gd name="T9" fmla="*/ 333 h 333"/>
                  <a:gd name="T10" fmla="*/ 32 w 469"/>
                  <a:gd name="T11" fmla="*/ 333 h 333"/>
                  <a:gd name="T12" fmla="*/ 0 w 469"/>
                  <a:gd name="T13" fmla="*/ 301 h 333"/>
                  <a:gd name="T14" fmla="*/ 0 w 469"/>
                  <a:gd name="T15" fmla="*/ 32 h 333"/>
                  <a:gd name="T16" fmla="*/ 32 w 469"/>
                  <a:gd name="T17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9" h="333">
                    <a:moveTo>
                      <a:pt x="32" y="0"/>
                    </a:moveTo>
                    <a:cubicBezTo>
                      <a:pt x="437" y="0"/>
                      <a:pt x="437" y="0"/>
                      <a:pt x="437" y="0"/>
                    </a:cubicBezTo>
                    <a:cubicBezTo>
                      <a:pt x="455" y="0"/>
                      <a:pt x="469" y="14"/>
                      <a:pt x="469" y="32"/>
                    </a:cubicBezTo>
                    <a:cubicBezTo>
                      <a:pt x="469" y="301"/>
                      <a:pt x="469" y="301"/>
                      <a:pt x="469" y="301"/>
                    </a:cubicBezTo>
                    <a:cubicBezTo>
                      <a:pt x="469" y="318"/>
                      <a:pt x="455" y="333"/>
                      <a:pt x="437" y="333"/>
                    </a:cubicBezTo>
                    <a:cubicBezTo>
                      <a:pt x="32" y="333"/>
                      <a:pt x="32" y="333"/>
                      <a:pt x="32" y="333"/>
                    </a:cubicBezTo>
                    <a:cubicBezTo>
                      <a:pt x="14" y="333"/>
                      <a:pt x="0" y="318"/>
                      <a:pt x="0" y="301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lose/>
                  </a:path>
                </a:pathLst>
              </a:custGeom>
              <a:solidFill>
                <a:srgbClr val="FEE3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87" name="ïṧlíḋè"/>
              <p:cNvSpPr/>
              <p:nvPr/>
            </p:nvSpPr>
            <p:spPr bwMode="auto">
              <a:xfrm>
                <a:off x="5693406" y="288668"/>
                <a:ext cx="1689040" cy="1193897"/>
              </a:xfrm>
              <a:custGeom>
                <a:avLst/>
                <a:gdLst>
                  <a:gd name="T0" fmla="*/ 29 w 423"/>
                  <a:gd name="T1" fmla="*/ 0 h 300"/>
                  <a:gd name="T2" fmla="*/ 394 w 423"/>
                  <a:gd name="T3" fmla="*/ 0 h 300"/>
                  <a:gd name="T4" fmla="*/ 423 w 423"/>
                  <a:gd name="T5" fmla="*/ 29 h 300"/>
                  <a:gd name="T6" fmla="*/ 423 w 423"/>
                  <a:gd name="T7" fmla="*/ 271 h 300"/>
                  <a:gd name="T8" fmla="*/ 394 w 423"/>
                  <a:gd name="T9" fmla="*/ 300 h 300"/>
                  <a:gd name="T10" fmla="*/ 29 w 423"/>
                  <a:gd name="T11" fmla="*/ 300 h 300"/>
                  <a:gd name="T12" fmla="*/ 0 w 423"/>
                  <a:gd name="T13" fmla="*/ 271 h 300"/>
                  <a:gd name="T14" fmla="*/ 0 w 423"/>
                  <a:gd name="T15" fmla="*/ 29 h 300"/>
                  <a:gd name="T16" fmla="*/ 29 w 423"/>
                  <a:gd name="T17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3" h="300">
                    <a:moveTo>
                      <a:pt x="29" y="0"/>
                    </a:moveTo>
                    <a:cubicBezTo>
                      <a:pt x="394" y="0"/>
                      <a:pt x="394" y="0"/>
                      <a:pt x="394" y="0"/>
                    </a:cubicBezTo>
                    <a:cubicBezTo>
                      <a:pt x="410" y="0"/>
                      <a:pt x="423" y="13"/>
                      <a:pt x="423" y="29"/>
                    </a:cubicBezTo>
                    <a:cubicBezTo>
                      <a:pt x="423" y="271"/>
                      <a:pt x="423" y="271"/>
                      <a:pt x="423" y="271"/>
                    </a:cubicBezTo>
                    <a:cubicBezTo>
                      <a:pt x="423" y="287"/>
                      <a:pt x="410" y="300"/>
                      <a:pt x="394" y="300"/>
                    </a:cubicBezTo>
                    <a:cubicBezTo>
                      <a:pt x="29" y="300"/>
                      <a:pt x="29" y="300"/>
                      <a:pt x="29" y="300"/>
                    </a:cubicBezTo>
                    <a:cubicBezTo>
                      <a:pt x="13" y="300"/>
                      <a:pt x="0" y="287"/>
                      <a:pt x="0" y="271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lose/>
                  </a:path>
                </a:pathLst>
              </a:custGeom>
              <a:solidFill>
                <a:srgbClr val="5252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8" name="îṥḷïdê"/>
              <p:cNvSpPr/>
              <p:nvPr/>
            </p:nvSpPr>
            <p:spPr bwMode="auto">
              <a:xfrm>
                <a:off x="5686465" y="279413"/>
                <a:ext cx="1702923" cy="1214721"/>
              </a:xfrm>
              <a:custGeom>
                <a:avLst/>
                <a:gdLst>
                  <a:gd name="T0" fmla="*/ 31 w 427"/>
                  <a:gd name="T1" fmla="*/ 0 h 305"/>
                  <a:gd name="T2" fmla="*/ 396 w 427"/>
                  <a:gd name="T3" fmla="*/ 0 h 305"/>
                  <a:gd name="T4" fmla="*/ 418 w 427"/>
                  <a:gd name="T5" fmla="*/ 9 h 305"/>
                  <a:gd name="T6" fmla="*/ 427 w 427"/>
                  <a:gd name="T7" fmla="*/ 31 h 305"/>
                  <a:gd name="T8" fmla="*/ 427 w 427"/>
                  <a:gd name="T9" fmla="*/ 273 h 305"/>
                  <a:gd name="T10" fmla="*/ 418 w 427"/>
                  <a:gd name="T11" fmla="*/ 295 h 305"/>
                  <a:gd name="T12" fmla="*/ 396 w 427"/>
                  <a:gd name="T13" fmla="*/ 305 h 305"/>
                  <a:gd name="T14" fmla="*/ 31 w 427"/>
                  <a:gd name="T15" fmla="*/ 305 h 305"/>
                  <a:gd name="T16" fmla="*/ 9 w 427"/>
                  <a:gd name="T17" fmla="*/ 295 h 305"/>
                  <a:gd name="T18" fmla="*/ 0 w 427"/>
                  <a:gd name="T19" fmla="*/ 273 h 305"/>
                  <a:gd name="T20" fmla="*/ 0 w 427"/>
                  <a:gd name="T21" fmla="*/ 31 h 305"/>
                  <a:gd name="T22" fmla="*/ 9 w 427"/>
                  <a:gd name="T23" fmla="*/ 9 h 305"/>
                  <a:gd name="T24" fmla="*/ 31 w 427"/>
                  <a:gd name="T25" fmla="*/ 0 h 305"/>
                  <a:gd name="T26" fmla="*/ 396 w 427"/>
                  <a:gd name="T27" fmla="*/ 4 h 305"/>
                  <a:gd name="T28" fmla="*/ 31 w 427"/>
                  <a:gd name="T29" fmla="*/ 4 h 305"/>
                  <a:gd name="T30" fmla="*/ 12 w 427"/>
                  <a:gd name="T31" fmla="*/ 12 h 305"/>
                  <a:gd name="T32" fmla="*/ 5 w 427"/>
                  <a:gd name="T33" fmla="*/ 31 h 305"/>
                  <a:gd name="T34" fmla="*/ 5 w 427"/>
                  <a:gd name="T35" fmla="*/ 273 h 305"/>
                  <a:gd name="T36" fmla="*/ 12 w 427"/>
                  <a:gd name="T37" fmla="*/ 292 h 305"/>
                  <a:gd name="T38" fmla="*/ 31 w 427"/>
                  <a:gd name="T39" fmla="*/ 300 h 305"/>
                  <a:gd name="T40" fmla="*/ 396 w 427"/>
                  <a:gd name="T41" fmla="*/ 300 h 305"/>
                  <a:gd name="T42" fmla="*/ 415 w 427"/>
                  <a:gd name="T43" fmla="*/ 292 h 305"/>
                  <a:gd name="T44" fmla="*/ 423 w 427"/>
                  <a:gd name="T45" fmla="*/ 273 h 305"/>
                  <a:gd name="T46" fmla="*/ 423 w 427"/>
                  <a:gd name="T47" fmla="*/ 31 h 305"/>
                  <a:gd name="T48" fmla="*/ 415 w 427"/>
                  <a:gd name="T49" fmla="*/ 12 h 305"/>
                  <a:gd name="T50" fmla="*/ 396 w 427"/>
                  <a:gd name="T51" fmla="*/ 4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27" h="305">
                    <a:moveTo>
                      <a:pt x="31" y="0"/>
                    </a:moveTo>
                    <a:cubicBezTo>
                      <a:pt x="396" y="0"/>
                      <a:pt x="396" y="0"/>
                      <a:pt x="396" y="0"/>
                    </a:cubicBezTo>
                    <a:cubicBezTo>
                      <a:pt x="405" y="0"/>
                      <a:pt x="413" y="3"/>
                      <a:pt x="418" y="9"/>
                    </a:cubicBezTo>
                    <a:cubicBezTo>
                      <a:pt x="424" y="15"/>
                      <a:pt x="427" y="22"/>
                      <a:pt x="427" y="31"/>
                    </a:cubicBezTo>
                    <a:cubicBezTo>
                      <a:pt x="427" y="273"/>
                      <a:pt x="427" y="273"/>
                      <a:pt x="427" y="273"/>
                    </a:cubicBezTo>
                    <a:cubicBezTo>
                      <a:pt x="427" y="282"/>
                      <a:pt x="424" y="290"/>
                      <a:pt x="418" y="295"/>
                    </a:cubicBezTo>
                    <a:cubicBezTo>
                      <a:pt x="413" y="301"/>
                      <a:pt x="405" y="305"/>
                      <a:pt x="396" y="305"/>
                    </a:cubicBezTo>
                    <a:cubicBezTo>
                      <a:pt x="31" y="305"/>
                      <a:pt x="31" y="305"/>
                      <a:pt x="31" y="305"/>
                    </a:cubicBezTo>
                    <a:cubicBezTo>
                      <a:pt x="23" y="305"/>
                      <a:pt x="15" y="301"/>
                      <a:pt x="9" y="295"/>
                    </a:cubicBezTo>
                    <a:cubicBezTo>
                      <a:pt x="3" y="290"/>
                      <a:pt x="0" y="282"/>
                      <a:pt x="0" y="273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22"/>
                      <a:pt x="3" y="15"/>
                      <a:pt x="9" y="9"/>
                    </a:cubicBezTo>
                    <a:cubicBezTo>
                      <a:pt x="15" y="3"/>
                      <a:pt x="23" y="0"/>
                      <a:pt x="31" y="0"/>
                    </a:cubicBezTo>
                    <a:close/>
                    <a:moveTo>
                      <a:pt x="396" y="4"/>
                    </a:moveTo>
                    <a:cubicBezTo>
                      <a:pt x="31" y="4"/>
                      <a:pt x="31" y="4"/>
                      <a:pt x="31" y="4"/>
                    </a:cubicBezTo>
                    <a:cubicBezTo>
                      <a:pt x="24" y="4"/>
                      <a:pt x="17" y="7"/>
                      <a:pt x="12" y="12"/>
                    </a:cubicBezTo>
                    <a:cubicBezTo>
                      <a:pt x="8" y="17"/>
                      <a:pt x="5" y="24"/>
                      <a:pt x="5" y="31"/>
                    </a:cubicBezTo>
                    <a:cubicBezTo>
                      <a:pt x="5" y="273"/>
                      <a:pt x="5" y="273"/>
                      <a:pt x="5" y="273"/>
                    </a:cubicBezTo>
                    <a:cubicBezTo>
                      <a:pt x="5" y="281"/>
                      <a:pt x="8" y="287"/>
                      <a:pt x="12" y="292"/>
                    </a:cubicBezTo>
                    <a:cubicBezTo>
                      <a:pt x="17" y="297"/>
                      <a:pt x="24" y="300"/>
                      <a:pt x="31" y="300"/>
                    </a:cubicBezTo>
                    <a:cubicBezTo>
                      <a:pt x="396" y="300"/>
                      <a:pt x="396" y="300"/>
                      <a:pt x="396" y="300"/>
                    </a:cubicBezTo>
                    <a:cubicBezTo>
                      <a:pt x="403" y="300"/>
                      <a:pt x="410" y="297"/>
                      <a:pt x="415" y="292"/>
                    </a:cubicBezTo>
                    <a:cubicBezTo>
                      <a:pt x="420" y="287"/>
                      <a:pt x="423" y="281"/>
                      <a:pt x="423" y="273"/>
                    </a:cubicBezTo>
                    <a:cubicBezTo>
                      <a:pt x="423" y="31"/>
                      <a:pt x="423" y="31"/>
                      <a:pt x="423" y="31"/>
                    </a:cubicBezTo>
                    <a:cubicBezTo>
                      <a:pt x="423" y="24"/>
                      <a:pt x="420" y="17"/>
                      <a:pt x="415" y="12"/>
                    </a:cubicBezTo>
                    <a:cubicBezTo>
                      <a:pt x="410" y="7"/>
                      <a:pt x="403" y="4"/>
                      <a:pt x="396" y="4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91" name="ïŝḷíḍe"/>
              <p:cNvSpPr/>
              <p:nvPr/>
            </p:nvSpPr>
            <p:spPr bwMode="auto">
              <a:xfrm>
                <a:off x="6959031" y="1436290"/>
                <a:ext cx="256827" cy="50903"/>
              </a:xfrm>
              <a:custGeom>
                <a:avLst/>
                <a:gdLst>
                  <a:gd name="T0" fmla="*/ 4 w 64"/>
                  <a:gd name="T1" fmla="*/ 0 h 13"/>
                  <a:gd name="T2" fmla="*/ 61 w 64"/>
                  <a:gd name="T3" fmla="*/ 0 h 13"/>
                  <a:gd name="T4" fmla="*/ 63 w 64"/>
                  <a:gd name="T5" fmla="*/ 1 h 13"/>
                  <a:gd name="T6" fmla="*/ 63 w 64"/>
                  <a:gd name="T7" fmla="*/ 1 h 13"/>
                  <a:gd name="T8" fmla="*/ 64 w 64"/>
                  <a:gd name="T9" fmla="*/ 4 h 13"/>
                  <a:gd name="T10" fmla="*/ 64 w 64"/>
                  <a:gd name="T11" fmla="*/ 10 h 13"/>
                  <a:gd name="T12" fmla="*/ 63 w 64"/>
                  <a:gd name="T13" fmla="*/ 12 h 13"/>
                  <a:gd name="T14" fmla="*/ 63 w 64"/>
                  <a:gd name="T15" fmla="*/ 12 h 13"/>
                  <a:gd name="T16" fmla="*/ 61 w 64"/>
                  <a:gd name="T17" fmla="*/ 13 h 13"/>
                  <a:gd name="T18" fmla="*/ 4 w 64"/>
                  <a:gd name="T19" fmla="*/ 13 h 13"/>
                  <a:gd name="T20" fmla="*/ 2 w 64"/>
                  <a:gd name="T21" fmla="*/ 12 h 13"/>
                  <a:gd name="T22" fmla="*/ 2 w 64"/>
                  <a:gd name="T23" fmla="*/ 12 h 13"/>
                  <a:gd name="T24" fmla="*/ 0 w 64"/>
                  <a:gd name="T25" fmla="*/ 10 h 13"/>
                  <a:gd name="T26" fmla="*/ 0 w 64"/>
                  <a:gd name="T27" fmla="*/ 4 h 13"/>
                  <a:gd name="T28" fmla="*/ 2 w 64"/>
                  <a:gd name="T29" fmla="*/ 1 h 13"/>
                  <a:gd name="T30" fmla="*/ 2 w 64"/>
                  <a:gd name="T31" fmla="*/ 1 h 13"/>
                  <a:gd name="T32" fmla="*/ 4 w 64"/>
                  <a:gd name="T33" fmla="*/ 0 h 13"/>
                  <a:gd name="T34" fmla="*/ 61 w 64"/>
                  <a:gd name="T35" fmla="*/ 1 h 13"/>
                  <a:gd name="T36" fmla="*/ 4 w 64"/>
                  <a:gd name="T37" fmla="*/ 1 h 13"/>
                  <a:gd name="T38" fmla="*/ 2 w 64"/>
                  <a:gd name="T39" fmla="*/ 2 h 13"/>
                  <a:gd name="T40" fmla="*/ 2 w 64"/>
                  <a:gd name="T41" fmla="*/ 2 h 13"/>
                  <a:gd name="T42" fmla="*/ 1 w 64"/>
                  <a:gd name="T43" fmla="*/ 4 h 13"/>
                  <a:gd name="T44" fmla="*/ 1 w 64"/>
                  <a:gd name="T45" fmla="*/ 10 h 13"/>
                  <a:gd name="T46" fmla="*/ 2 w 64"/>
                  <a:gd name="T47" fmla="*/ 12 h 13"/>
                  <a:gd name="T48" fmla="*/ 2 w 64"/>
                  <a:gd name="T49" fmla="*/ 12 h 13"/>
                  <a:gd name="T50" fmla="*/ 4 w 64"/>
                  <a:gd name="T51" fmla="*/ 13 h 13"/>
                  <a:gd name="T52" fmla="*/ 61 w 64"/>
                  <a:gd name="T53" fmla="*/ 13 h 13"/>
                  <a:gd name="T54" fmla="*/ 63 w 64"/>
                  <a:gd name="T55" fmla="*/ 12 h 13"/>
                  <a:gd name="T56" fmla="*/ 63 w 64"/>
                  <a:gd name="T57" fmla="*/ 12 h 13"/>
                  <a:gd name="T58" fmla="*/ 63 w 64"/>
                  <a:gd name="T59" fmla="*/ 10 h 13"/>
                  <a:gd name="T60" fmla="*/ 63 w 64"/>
                  <a:gd name="T61" fmla="*/ 4 h 13"/>
                  <a:gd name="T62" fmla="*/ 63 w 64"/>
                  <a:gd name="T63" fmla="*/ 2 h 13"/>
                  <a:gd name="T64" fmla="*/ 63 w 64"/>
                  <a:gd name="T65" fmla="*/ 2 h 13"/>
                  <a:gd name="T66" fmla="*/ 61 w 64"/>
                  <a:gd name="T6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4" h="13">
                    <a:moveTo>
                      <a:pt x="4" y="0"/>
                    </a:moveTo>
                    <a:cubicBezTo>
                      <a:pt x="61" y="0"/>
                      <a:pt x="61" y="0"/>
                      <a:pt x="61" y="0"/>
                    </a:cubicBezTo>
                    <a:cubicBezTo>
                      <a:pt x="62" y="0"/>
                      <a:pt x="63" y="0"/>
                      <a:pt x="63" y="1"/>
                    </a:cubicBezTo>
                    <a:cubicBezTo>
                      <a:pt x="63" y="1"/>
                      <a:pt x="63" y="1"/>
                      <a:pt x="63" y="1"/>
                    </a:cubicBezTo>
                    <a:cubicBezTo>
                      <a:pt x="64" y="2"/>
                      <a:pt x="64" y="3"/>
                      <a:pt x="64" y="4"/>
                    </a:cubicBezTo>
                    <a:cubicBezTo>
                      <a:pt x="64" y="10"/>
                      <a:pt x="64" y="10"/>
                      <a:pt x="64" y="10"/>
                    </a:cubicBezTo>
                    <a:cubicBezTo>
                      <a:pt x="64" y="11"/>
                      <a:pt x="64" y="12"/>
                      <a:pt x="63" y="12"/>
                    </a:cubicBezTo>
                    <a:cubicBezTo>
                      <a:pt x="63" y="12"/>
                      <a:pt x="63" y="12"/>
                      <a:pt x="63" y="12"/>
                    </a:cubicBezTo>
                    <a:cubicBezTo>
                      <a:pt x="63" y="13"/>
                      <a:pt x="62" y="13"/>
                      <a:pt x="61" y="13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3" y="13"/>
                      <a:pt x="2" y="13"/>
                      <a:pt x="2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3" y="0"/>
                      <a:pt x="4" y="0"/>
                    </a:cubicBezTo>
                    <a:close/>
                    <a:moveTo>
                      <a:pt x="61" y="1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1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1" y="3"/>
                      <a:pt x="1" y="4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1"/>
                      <a:pt x="2" y="11"/>
                      <a:pt x="2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3" y="12"/>
                      <a:pt x="3" y="13"/>
                      <a:pt x="4" y="13"/>
                    </a:cubicBezTo>
                    <a:cubicBezTo>
                      <a:pt x="61" y="13"/>
                      <a:pt x="61" y="13"/>
                      <a:pt x="61" y="13"/>
                    </a:cubicBezTo>
                    <a:cubicBezTo>
                      <a:pt x="61" y="13"/>
                      <a:pt x="62" y="12"/>
                      <a:pt x="63" y="12"/>
                    </a:cubicBezTo>
                    <a:cubicBezTo>
                      <a:pt x="63" y="12"/>
                      <a:pt x="63" y="12"/>
                      <a:pt x="63" y="12"/>
                    </a:cubicBezTo>
                    <a:cubicBezTo>
                      <a:pt x="63" y="11"/>
                      <a:pt x="63" y="11"/>
                      <a:pt x="63" y="10"/>
                    </a:cubicBezTo>
                    <a:cubicBezTo>
                      <a:pt x="63" y="4"/>
                      <a:pt x="63" y="4"/>
                      <a:pt x="63" y="4"/>
                    </a:cubicBezTo>
                    <a:cubicBezTo>
                      <a:pt x="63" y="3"/>
                      <a:pt x="63" y="2"/>
                      <a:pt x="63" y="2"/>
                    </a:cubicBezTo>
                    <a:cubicBezTo>
                      <a:pt x="63" y="2"/>
                      <a:pt x="63" y="2"/>
                      <a:pt x="63" y="2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</a:path>
                </a:pathLst>
              </a:custGeom>
              <a:solidFill>
                <a:srgbClr val="D2D4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92" name="iṧľîḓe"/>
              <p:cNvSpPr/>
              <p:nvPr/>
            </p:nvSpPr>
            <p:spPr bwMode="auto">
              <a:xfrm>
                <a:off x="6269532" y="1595940"/>
                <a:ext cx="194355" cy="83296"/>
              </a:xfrm>
              <a:custGeom>
                <a:avLst/>
                <a:gdLst>
                  <a:gd name="T0" fmla="*/ 84 w 84"/>
                  <a:gd name="T1" fmla="*/ 0 h 36"/>
                  <a:gd name="T2" fmla="*/ 10 w 84"/>
                  <a:gd name="T3" fmla="*/ 0 h 36"/>
                  <a:gd name="T4" fmla="*/ 0 w 84"/>
                  <a:gd name="T5" fmla="*/ 34 h 36"/>
                  <a:gd name="T6" fmla="*/ 74 w 84"/>
                  <a:gd name="T7" fmla="*/ 36 h 36"/>
                  <a:gd name="T8" fmla="*/ 84 w 84"/>
                  <a:gd name="T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36">
                    <a:moveTo>
                      <a:pt x="84" y="0"/>
                    </a:moveTo>
                    <a:lnTo>
                      <a:pt x="10" y="0"/>
                    </a:lnTo>
                    <a:lnTo>
                      <a:pt x="0" y="34"/>
                    </a:lnTo>
                    <a:lnTo>
                      <a:pt x="74" y="36"/>
                    </a:lnTo>
                    <a:lnTo>
                      <a:pt x="84" y="0"/>
                    </a:lnTo>
                    <a:close/>
                  </a:path>
                </a:pathLst>
              </a:custGeom>
              <a:solidFill>
                <a:srgbClr val="BBA3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sp>
            <p:nvSpPr>
              <p:cNvPr id="95" name="iṡ1íďé"/>
              <p:cNvSpPr/>
              <p:nvPr/>
            </p:nvSpPr>
            <p:spPr bwMode="auto">
              <a:xfrm>
                <a:off x="6963658" y="1436290"/>
                <a:ext cx="252200" cy="50903"/>
              </a:xfrm>
              <a:custGeom>
                <a:avLst/>
                <a:gdLst>
                  <a:gd name="T0" fmla="*/ 3 w 63"/>
                  <a:gd name="T1" fmla="*/ 0 h 13"/>
                  <a:gd name="T2" fmla="*/ 60 w 63"/>
                  <a:gd name="T3" fmla="*/ 0 h 13"/>
                  <a:gd name="T4" fmla="*/ 63 w 63"/>
                  <a:gd name="T5" fmla="*/ 3 h 13"/>
                  <a:gd name="T6" fmla="*/ 63 w 63"/>
                  <a:gd name="T7" fmla="*/ 9 h 13"/>
                  <a:gd name="T8" fmla="*/ 60 w 63"/>
                  <a:gd name="T9" fmla="*/ 13 h 13"/>
                  <a:gd name="T10" fmla="*/ 3 w 63"/>
                  <a:gd name="T11" fmla="*/ 13 h 13"/>
                  <a:gd name="T12" fmla="*/ 0 w 63"/>
                  <a:gd name="T13" fmla="*/ 9 h 13"/>
                  <a:gd name="T14" fmla="*/ 0 w 63"/>
                  <a:gd name="T15" fmla="*/ 3 h 13"/>
                  <a:gd name="T16" fmla="*/ 3 w 63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13">
                    <a:moveTo>
                      <a:pt x="3" y="0"/>
                    </a:moveTo>
                    <a:cubicBezTo>
                      <a:pt x="60" y="0"/>
                      <a:pt x="60" y="0"/>
                      <a:pt x="60" y="0"/>
                    </a:cubicBezTo>
                    <a:cubicBezTo>
                      <a:pt x="61" y="0"/>
                      <a:pt x="63" y="1"/>
                      <a:pt x="63" y="3"/>
                    </a:cubicBezTo>
                    <a:cubicBezTo>
                      <a:pt x="63" y="9"/>
                      <a:pt x="63" y="9"/>
                      <a:pt x="63" y="9"/>
                    </a:cubicBezTo>
                    <a:cubicBezTo>
                      <a:pt x="63" y="11"/>
                      <a:pt x="61" y="13"/>
                      <a:pt x="60" y="13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1" y="13"/>
                      <a:pt x="0" y="11"/>
                      <a:pt x="0" y="9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</a:p>
            </p:txBody>
          </p:sp>
          <p:grpSp>
            <p:nvGrpSpPr>
              <p:cNvPr id="110" name="îśḷïḍè"/>
              <p:cNvGrpSpPr/>
              <p:nvPr/>
            </p:nvGrpSpPr>
            <p:grpSpPr>
              <a:xfrm>
                <a:off x="4991666" y="997617"/>
                <a:ext cx="1460649" cy="1754727"/>
                <a:chOff x="4717002" y="1052207"/>
                <a:chExt cx="1735317" cy="2084693"/>
              </a:xfrm>
            </p:grpSpPr>
            <p:sp>
              <p:nvSpPr>
                <p:cNvPr id="111" name="íŝḻïďê"/>
                <p:cNvSpPr/>
                <p:nvPr/>
              </p:nvSpPr>
              <p:spPr bwMode="auto">
                <a:xfrm>
                  <a:off x="4717002" y="1538095"/>
                  <a:ext cx="1078209" cy="1598805"/>
                </a:xfrm>
                <a:custGeom>
                  <a:avLst/>
                  <a:gdLst>
                    <a:gd name="T0" fmla="*/ 121 w 270"/>
                    <a:gd name="T1" fmla="*/ 0 h 401"/>
                    <a:gd name="T2" fmla="*/ 117 w 270"/>
                    <a:gd name="T3" fmla="*/ 10 h 401"/>
                    <a:gd name="T4" fmla="*/ 116 w 270"/>
                    <a:gd name="T5" fmla="*/ 10 h 401"/>
                    <a:gd name="T6" fmla="*/ 128 w 270"/>
                    <a:gd name="T7" fmla="*/ 101 h 401"/>
                    <a:gd name="T8" fmla="*/ 115 w 270"/>
                    <a:gd name="T9" fmla="*/ 121 h 401"/>
                    <a:gd name="T10" fmla="*/ 101 w 270"/>
                    <a:gd name="T11" fmla="*/ 101 h 401"/>
                    <a:gd name="T12" fmla="*/ 112 w 270"/>
                    <a:gd name="T13" fmla="*/ 10 h 401"/>
                    <a:gd name="T14" fmla="*/ 112 w 270"/>
                    <a:gd name="T15" fmla="*/ 10 h 401"/>
                    <a:gd name="T16" fmla="*/ 108 w 270"/>
                    <a:gd name="T17" fmla="*/ 0 h 401"/>
                    <a:gd name="T18" fmla="*/ 40 w 270"/>
                    <a:gd name="T19" fmla="*/ 17 h 401"/>
                    <a:gd name="T20" fmla="*/ 39 w 270"/>
                    <a:gd name="T21" fmla="*/ 18 h 401"/>
                    <a:gd name="T22" fmla="*/ 35 w 270"/>
                    <a:gd name="T23" fmla="*/ 20 h 401"/>
                    <a:gd name="T24" fmla="*/ 33 w 270"/>
                    <a:gd name="T25" fmla="*/ 23 h 401"/>
                    <a:gd name="T26" fmla="*/ 31 w 270"/>
                    <a:gd name="T27" fmla="*/ 26 h 401"/>
                    <a:gd name="T28" fmla="*/ 30 w 270"/>
                    <a:gd name="T29" fmla="*/ 29 h 401"/>
                    <a:gd name="T30" fmla="*/ 29 w 270"/>
                    <a:gd name="T31" fmla="*/ 31 h 401"/>
                    <a:gd name="T32" fmla="*/ 2 w 270"/>
                    <a:gd name="T33" fmla="*/ 172 h 401"/>
                    <a:gd name="T34" fmla="*/ 15 w 270"/>
                    <a:gd name="T35" fmla="*/ 195 h 401"/>
                    <a:gd name="T36" fmla="*/ 19 w 270"/>
                    <a:gd name="T37" fmla="*/ 196 h 401"/>
                    <a:gd name="T38" fmla="*/ 35 w 270"/>
                    <a:gd name="T39" fmla="*/ 180 h 401"/>
                    <a:gd name="T40" fmla="*/ 60 w 270"/>
                    <a:gd name="T41" fmla="*/ 50 h 401"/>
                    <a:gd name="T42" fmla="*/ 66 w 270"/>
                    <a:gd name="T43" fmla="*/ 48 h 401"/>
                    <a:gd name="T44" fmla="*/ 66 w 270"/>
                    <a:gd name="T45" fmla="*/ 182 h 401"/>
                    <a:gd name="T46" fmla="*/ 53 w 270"/>
                    <a:gd name="T47" fmla="*/ 375 h 401"/>
                    <a:gd name="T48" fmla="*/ 72 w 270"/>
                    <a:gd name="T49" fmla="*/ 401 h 401"/>
                    <a:gd name="T50" fmla="*/ 73 w 270"/>
                    <a:gd name="T51" fmla="*/ 401 h 401"/>
                    <a:gd name="T52" fmla="*/ 94 w 270"/>
                    <a:gd name="T53" fmla="*/ 379 h 401"/>
                    <a:gd name="T54" fmla="*/ 106 w 270"/>
                    <a:gd name="T55" fmla="*/ 204 h 401"/>
                    <a:gd name="T56" fmla="*/ 114 w 270"/>
                    <a:gd name="T57" fmla="*/ 206 h 401"/>
                    <a:gd name="T58" fmla="*/ 123 w 270"/>
                    <a:gd name="T59" fmla="*/ 204 h 401"/>
                    <a:gd name="T60" fmla="*/ 135 w 270"/>
                    <a:gd name="T61" fmla="*/ 379 h 401"/>
                    <a:gd name="T62" fmla="*/ 155 w 270"/>
                    <a:gd name="T63" fmla="*/ 401 h 401"/>
                    <a:gd name="T64" fmla="*/ 157 w 270"/>
                    <a:gd name="T65" fmla="*/ 401 h 401"/>
                    <a:gd name="T66" fmla="*/ 176 w 270"/>
                    <a:gd name="T67" fmla="*/ 375 h 401"/>
                    <a:gd name="T68" fmla="*/ 162 w 270"/>
                    <a:gd name="T69" fmla="*/ 182 h 401"/>
                    <a:gd name="T70" fmla="*/ 162 w 270"/>
                    <a:gd name="T71" fmla="*/ 48 h 401"/>
                    <a:gd name="T72" fmla="*/ 177 w 270"/>
                    <a:gd name="T73" fmla="*/ 54 h 401"/>
                    <a:gd name="T74" fmla="*/ 184 w 270"/>
                    <a:gd name="T75" fmla="*/ 56 h 401"/>
                    <a:gd name="T76" fmla="*/ 234 w 270"/>
                    <a:gd name="T77" fmla="*/ 75 h 401"/>
                    <a:gd name="T78" fmla="*/ 245 w 270"/>
                    <a:gd name="T79" fmla="*/ 80 h 401"/>
                    <a:gd name="T80" fmla="*/ 251 w 270"/>
                    <a:gd name="T81" fmla="*/ 81 h 401"/>
                    <a:gd name="T82" fmla="*/ 267 w 270"/>
                    <a:gd name="T83" fmla="*/ 54 h 401"/>
                    <a:gd name="T84" fmla="*/ 245 w 270"/>
                    <a:gd name="T85" fmla="*/ 77 h 401"/>
                    <a:gd name="T86" fmla="*/ 234 w 270"/>
                    <a:gd name="T87" fmla="*/ 72 h 401"/>
                    <a:gd name="T88" fmla="*/ 261 w 270"/>
                    <a:gd name="T89" fmla="*/ 45 h 401"/>
                    <a:gd name="T90" fmla="*/ 256 w 270"/>
                    <a:gd name="T91" fmla="*/ 43 h 401"/>
                    <a:gd name="T92" fmla="*/ 234 w 270"/>
                    <a:gd name="T93" fmla="*/ 35 h 401"/>
                    <a:gd name="T94" fmla="*/ 184 w 270"/>
                    <a:gd name="T95" fmla="*/ 18 h 401"/>
                    <a:gd name="T96" fmla="*/ 121 w 270"/>
                    <a:gd name="T97" fmla="*/ 0 h 4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270" h="401">
                      <a:moveTo>
                        <a:pt x="121" y="0"/>
                      </a:moveTo>
                      <a:cubicBezTo>
                        <a:pt x="117" y="10"/>
                        <a:pt x="117" y="10"/>
                        <a:pt x="117" y="10"/>
                      </a:cubicBezTo>
                      <a:cubicBezTo>
                        <a:pt x="116" y="10"/>
                        <a:pt x="116" y="10"/>
                        <a:pt x="116" y="10"/>
                      </a:cubicBezTo>
                      <a:cubicBezTo>
                        <a:pt x="128" y="101"/>
                        <a:pt x="128" y="101"/>
                        <a:pt x="128" y="101"/>
                      </a:cubicBezTo>
                      <a:cubicBezTo>
                        <a:pt x="115" y="121"/>
                        <a:pt x="115" y="121"/>
                        <a:pt x="115" y="121"/>
                      </a:cubicBezTo>
                      <a:cubicBezTo>
                        <a:pt x="101" y="101"/>
                        <a:pt x="101" y="101"/>
                        <a:pt x="101" y="101"/>
                      </a:cubicBezTo>
                      <a:cubicBezTo>
                        <a:pt x="112" y="10"/>
                        <a:pt x="112" y="10"/>
                        <a:pt x="112" y="10"/>
                      </a:cubicBezTo>
                      <a:cubicBezTo>
                        <a:pt x="112" y="10"/>
                        <a:pt x="112" y="10"/>
                        <a:pt x="112" y="1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76" y="2"/>
                        <a:pt x="42" y="16"/>
                        <a:pt x="40" y="17"/>
                      </a:cubicBezTo>
                      <a:cubicBezTo>
                        <a:pt x="40" y="17"/>
                        <a:pt x="39" y="18"/>
                        <a:pt x="39" y="18"/>
                      </a:cubicBezTo>
                      <a:cubicBezTo>
                        <a:pt x="37" y="19"/>
                        <a:pt x="36" y="19"/>
                        <a:pt x="35" y="20"/>
                      </a:cubicBezTo>
                      <a:cubicBezTo>
                        <a:pt x="35" y="21"/>
                        <a:pt x="34" y="22"/>
                        <a:pt x="33" y="23"/>
                      </a:cubicBezTo>
                      <a:cubicBezTo>
                        <a:pt x="32" y="23"/>
                        <a:pt x="32" y="25"/>
                        <a:pt x="31" y="26"/>
                      </a:cubicBezTo>
                      <a:cubicBezTo>
                        <a:pt x="31" y="27"/>
                        <a:pt x="30" y="28"/>
                        <a:pt x="30" y="29"/>
                      </a:cubicBezTo>
                      <a:cubicBezTo>
                        <a:pt x="30" y="30"/>
                        <a:pt x="29" y="30"/>
                        <a:pt x="29" y="31"/>
                      </a:cubicBezTo>
                      <a:cubicBezTo>
                        <a:pt x="2" y="172"/>
                        <a:pt x="2" y="172"/>
                        <a:pt x="2" y="172"/>
                      </a:cubicBezTo>
                      <a:cubicBezTo>
                        <a:pt x="0" y="182"/>
                        <a:pt x="6" y="193"/>
                        <a:pt x="15" y="195"/>
                      </a:cubicBezTo>
                      <a:cubicBezTo>
                        <a:pt x="16" y="195"/>
                        <a:pt x="17" y="196"/>
                        <a:pt x="19" y="196"/>
                      </a:cubicBezTo>
                      <a:cubicBezTo>
                        <a:pt x="26" y="196"/>
                        <a:pt x="33" y="189"/>
                        <a:pt x="35" y="180"/>
                      </a:cubicBezTo>
                      <a:cubicBezTo>
                        <a:pt x="60" y="50"/>
                        <a:pt x="60" y="50"/>
                        <a:pt x="60" y="50"/>
                      </a:cubicBezTo>
                      <a:cubicBezTo>
                        <a:pt x="62" y="50"/>
                        <a:pt x="64" y="49"/>
                        <a:pt x="66" y="48"/>
                      </a:cubicBezTo>
                      <a:cubicBezTo>
                        <a:pt x="66" y="182"/>
                        <a:pt x="66" y="182"/>
                        <a:pt x="66" y="182"/>
                      </a:cubicBezTo>
                      <a:cubicBezTo>
                        <a:pt x="53" y="375"/>
                        <a:pt x="53" y="375"/>
                        <a:pt x="53" y="375"/>
                      </a:cubicBezTo>
                      <a:cubicBezTo>
                        <a:pt x="52" y="388"/>
                        <a:pt x="60" y="400"/>
                        <a:pt x="72" y="401"/>
                      </a:cubicBezTo>
                      <a:cubicBezTo>
                        <a:pt x="72" y="401"/>
                        <a:pt x="73" y="401"/>
                        <a:pt x="73" y="401"/>
                      </a:cubicBezTo>
                      <a:cubicBezTo>
                        <a:pt x="84" y="401"/>
                        <a:pt x="93" y="391"/>
                        <a:pt x="94" y="379"/>
                      </a:cubicBezTo>
                      <a:cubicBezTo>
                        <a:pt x="106" y="204"/>
                        <a:pt x="106" y="204"/>
                        <a:pt x="106" y="204"/>
                      </a:cubicBezTo>
                      <a:cubicBezTo>
                        <a:pt x="109" y="206"/>
                        <a:pt x="111" y="206"/>
                        <a:pt x="114" y="206"/>
                      </a:cubicBezTo>
                      <a:cubicBezTo>
                        <a:pt x="117" y="206"/>
                        <a:pt x="120" y="206"/>
                        <a:pt x="123" y="204"/>
                      </a:cubicBezTo>
                      <a:cubicBezTo>
                        <a:pt x="135" y="379"/>
                        <a:pt x="135" y="379"/>
                        <a:pt x="135" y="379"/>
                      </a:cubicBezTo>
                      <a:cubicBezTo>
                        <a:pt x="136" y="391"/>
                        <a:pt x="145" y="401"/>
                        <a:pt x="155" y="401"/>
                      </a:cubicBezTo>
                      <a:cubicBezTo>
                        <a:pt x="156" y="401"/>
                        <a:pt x="156" y="401"/>
                        <a:pt x="157" y="401"/>
                      </a:cubicBezTo>
                      <a:cubicBezTo>
                        <a:pt x="168" y="400"/>
                        <a:pt x="177" y="388"/>
                        <a:pt x="176" y="375"/>
                      </a:cubicBezTo>
                      <a:cubicBezTo>
                        <a:pt x="162" y="182"/>
                        <a:pt x="162" y="182"/>
                        <a:pt x="162" y="182"/>
                      </a:cubicBezTo>
                      <a:cubicBezTo>
                        <a:pt x="162" y="48"/>
                        <a:pt x="162" y="48"/>
                        <a:pt x="162" y="48"/>
                      </a:cubicBezTo>
                      <a:cubicBezTo>
                        <a:pt x="167" y="50"/>
                        <a:pt x="172" y="52"/>
                        <a:pt x="177" y="54"/>
                      </a:cubicBezTo>
                      <a:cubicBezTo>
                        <a:pt x="179" y="55"/>
                        <a:pt x="182" y="55"/>
                        <a:pt x="184" y="56"/>
                      </a:cubicBezTo>
                      <a:cubicBezTo>
                        <a:pt x="234" y="75"/>
                        <a:pt x="234" y="75"/>
                        <a:pt x="234" y="75"/>
                      </a:cubicBezTo>
                      <a:cubicBezTo>
                        <a:pt x="238" y="77"/>
                        <a:pt x="242" y="78"/>
                        <a:pt x="245" y="80"/>
                      </a:cubicBezTo>
                      <a:cubicBezTo>
                        <a:pt x="247" y="80"/>
                        <a:pt x="249" y="81"/>
                        <a:pt x="251" y="81"/>
                      </a:cubicBezTo>
                      <a:cubicBezTo>
                        <a:pt x="264" y="81"/>
                        <a:pt x="270" y="66"/>
                        <a:pt x="267" y="54"/>
                      </a:cubicBezTo>
                      <a:cubicBezTo>
                        <a:pt x="245" y="77"/>
                        <a:pt x="245" y="77"/>
                        <a:pt x="245" y="77"/>
                      </a:cubicBezTo>
                      <a:cubicBezTo>
                        <a:pt x="234" y="72"/>
                        <a:pt x="234" y="72"/>
                        <a:pt x="234" y="72"/>
                      </a:cubicBezTo>
                      <a:cubicBezTo>
                        <a:pt x="261" y="45"/>
                        <a:pt x="261" y="45"/>
                        <a:pt x="261" y="45"/>
                      </a:cubicBezTo>
                      <a:cubicBezTo>
                        <a:pt x="259" y="44"/>
                        <a:pt x="258" y="43"/>
                        <a:pt x="256" y="43"/>
                      </a:cubicBezTo>
                      <a:cubicBezTo>
                        <a:pt x="234" y="35"/>
                        <a:pt x="234" y="35"/>
                        <a:pt x="234" y="35"/>
                      </a:cubicBezTo>
                      <a:cubicBezTo>
                        <a:pt x="184" y="18"/>
                        <a:pt x="184" y="18"/>
                        <a:pt x="184" y="18"/>
                      </a:cubicBezTo>
                      <a:cubicBezTo>
                        <a:pt x="156" y="9"/>
                        <a:pt x="129" y="1"/>
                        <a:pt x="121" y="0"/>
                      </a:cubicBezTo>
                      <a:close/>
                    </a:path>
                  </a:pathLst>
                </a:custGeom>
                <a:solidFill>
                  <a:srgbClr val="52525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</a:p>
              </p:txBody>
            </p:sp>
            <p:sp>
              <p:nvSpPr>
                <p:cNvPr id="112" name="ïṧlïďe"/>
                <p:cNvSpPr/>
                <p:nvPr/>
              </p:nvSpPr>
              <p:spPr bwMode="auto">
                <a:xfrm>
                  <a:off x="5043242" y="1193346"/>
                  <a:ext cx="256827" cy="310043"/>
                </a:xfrm>
                <a:prstGeom prst="ellipse">
                  <a:avLst/>
                </a:prstGeom>
                <a:solidFill>
                  <a:srgbClr val="52525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7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</a:p>
              </p:txBody>
            </p:sp>
            <p:sp>
              <p:nvSpPr>
                <p:cNvPr id="113" name="ïśľíďé"/>
                <p:cNvSpPr/>
                <p:nvPr/>
              </p:nvSpPr>
              <p:spPr bwMode="auto">
                <a:xfrm>
                  <a:off x="5663328" y="1052207"/>
                  <a:ext cx="788991" cy="786676"/>
                </a:xfrm>
                <a:custGeom>
                  <a:avLst/>
                  <a:gdLst>
                    <a:gd name="T0" fmla="*/ 0 w 341"/>
                    <a:gd name="T1" fmla="*/ 333 h 340"/>
                    <a:gd name="T2" fmla="*/ 341 w 341"/>
                    <a:gd name="T3" fmla="*/ 0 h 340"/>
                    <a:gd name="T4" fmla="*/ 13 w 341"/>
                    <a:gd name="T5" fmla="*/ 340 h 340"/>
                    <a:gd name="T6" fmla="*/ 0 w 341"/>
                    <a:gd name="T7" fmla="*/ 333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1" h="340">
                      <a:moveTo>
                        <a:pt x="0" y="333"/>
                      </a:moveTo>
                      <a:lnTo>
                        <a:pt x="341" y="0"/>
                      </a:lnTo>
                      <a:lnTo>
                        <a:pt x="13" y="340"/>
                      </a:lnTo>
                      <a:lnTo>
                        <a:pt x="0" y="333"/>
                      </a:lnTo>
                      <a:close/>
                    </a:path>
                  </a:pathLst>
                </a:custGeom>
                <a:solidFill>
                  <a:srgbClr val="221F2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</a:p>
              </p:txBody>
            </p:sp>
          </p:grpSp>
        </p:grpSp>
        <p:grpSp>
          <p:nvGrpSpPr>
            <p:cNvPr id="55" name="ïṥḻiḓè"/>
            <p:cNvGrpSpPr/>
            <p:nvPr/>
          </p:nvGrpSpPr>
          <p:grpSpPr>
            <a:xfrm>
              <a:off x="673101" y="2979845"/>
              <a:ext cx="2898915" cy="1513540"/>
              <a:chOff x="4402497" y="2479508"/>
              <a:chExt cx="2898915" cy="1513540"/>
            </a:xfrm>
          </p:grpSpPr>
          <p:sp>
            <p:nvSpPr>
              <p:cNvPr id="67" name="î$ḻiḍê"/>
              <p:cNvSpPr/>
              <p:nvPr/>
            </p:nvSpPr>
            <p:spPr>
              <a:xfrm>
                <a:off x="5439638" y="2479508"/>
                <a:ext cx="826700" cy="826700"/>
              </a:xfrm>
              <a:prstGeom prst="ellips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68" name="iṩḷiḑè"/>
              <p:cNvSpPr txBox="1"/>
              <p:nvPr/>
            </p:nvSpPr>
            <p:spPr bwMode="auto">
              <a:xfrm>
                <a:off x="4402497" y="3594586"/>
                <a:ext cx="2898915" cy="39846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sz="1400" dirty="0"/>
                  <a:t>徒弟搜索平台</a:t>
                </a:r>
                <a:endParaRPr lang="zh-CN" altLang="en-US" sz="1400" dirty="0"/>
              </a:p>
            </p:txBody>
          </p:sp>
          <p:sp>
            <p:nvSpPr>
              <p:cNvPr id="77" name="ïŝľíḑé"/>
              <p:cNvSpPr/>
              <p:nvPr/>
            </p:nvSpPr>
            <p:spPr bwMode="auto">
              <a:xfrm>
                <a:off x="5628421" y="2711522"/>
                <a:ext cx="449134" cy="362670"/>
              </a:xfrm>
              <a:custGeom>
                <a:avLst/>
                <a:gdLst>
                  <a:gd name="connsiteX0" fmla="*/ 499361 w 608838"/>
                  <a:gd name="connsiteY0" fmla="*/ 285654 h 491629"/>
                  <a:gd name="connsiteX1" fmla="*/ 499361 w 608838"/>
                  <a:gd name="connsiteY1" fmla="*/ 344437 h 491629"/>
                  <a:gd name="connsiteX2" fmla="*/ 558245 w 608838"/>
                  <a:gd name="connsiteY2" fmla="*/ 344437 h 491629"/>
                  <a:gd name="connsiteX3" fmla="*/ 558245 w 608838"/>
                  <a:gd name="connsiteY3" fmla="*/ 285654 h 491629"/>
                  <a:gd name="connsiteX4" fmla="*/ 50593 w 608838"/>
                  <a:gd name="connsiteY4" fmla="*/ 285654 h 491629"/>
                  <a:gd name="connsiteX5" fmla="*/ 50593 w 608838"/>
                  <a:gd name="connsiteY5" fmla="*/ 344437 h 491629"/>
                  <a:gd name="connsiteX6" fmla="*/ 109477 w 608838"/>
                  <a:gd name="connsiteY6" fmla="*/ 344437 h 491629"/>
                  <a:gd name="connsiteX7" fmla="*/ 109477 w 608838"/>
                  <a:gd name="connsiteY7" fmla="*/ 285654 h 491629"/>
                  <a:gd name="connsiteX8" fmla="*/ 324062 w 608838"/>
                  <a:gd name="connsiteY8" fmla="*/ 265425 h 491629"/>
                  <a:gd name="connsiteX9" fmla="*/ 324062 w 608838"/>
                  <a:gd name="connsiteY9" fmla="*/ 329947 h 491629"/>
                  <a:gd name="connsiteX10" fmla="*/ 388693 w 608838"/>
                  <a:gd name="connsiteY10" fmla="*/ 329947 h 491629"/>
                  <a:gd name="connsiteX11" fmla="*/ 388693 w 608838"/>
                  <a:gd name="connsiteY11" fmla="*/ 265425 h 491629"/>
                  <a:gd name="connsiteX12" fmla="*/ 220144 w 608838"/>
                  <a:gd name="connsiteY12" fmla="*/ 265425 h 491629"/>
                  <a:gd name="connsiteX13" fmla="*/ 220144 w 608838"/>
                  <a:gd name="connsiteY13" fmla="*/ 329947 h 491629"/>
                  <a:gd name="connsiteX14" fmla="*/ 284775 w 608838"/>
                  <a:gd name="connsiteY14" fmla="*/ 329947 h 491629"/>
                  <a:gd name="connsiteX15" fmla="*/ 284775 w 608838"/>
                  <a:gd name="connsiteY15" fmla="*/ 265425 h 491629"/>
                  <a:gd name="connsiteX16" fmla="*/ 499361 w 608838"/>
                  <a:gd name="connsiteY16" fmla="*/ 191225 h 491629"/>
                  <a:gd name="connsiteX17" fmla="*/ 499361 w 608838"/>
                  <a:gd name="connsiteY17" fmla="*/ 250008 h 491629"/>
                  <a:gd name="connsiteX18" fmla="*/ 558245 w 608838"/>
                  <a:gd name="connsiteY18" fmla="*/ 250008 h 491629"/>
                  <a:gd name="connsiteX19" fmla="*/ 558245 w 608838"/>
                  <a:gd name="connsiteY19" fmla="*/ 191225 h 491629"/>
                  <a:gd name="connsiteX20" fmla="*/ 50593 w 608838"/>
                  <a:gd name="connsiteY20" fmla="*/ 191225 h 491629"/>
                  <a:gd name="connsiteX21" fmla="*/ 50593 w 608838"/>
                  <a:gd name="connsiteY21" fmla="*/ 250008 h 491629"/>
                  <a:gd name="connsiteX22" fmla="*/ 109477 w 608838"/>
                  <a:gd name="connsiteY22" fmla="*/ 250008 h 491629"/>
                  <a:gd name="connsiteX23" fmla="*/ 109477 w 608838"/>
                  <a:gd name="connsiteY23" fmla="*/ 191225 h 491629"/>
                  <a:gd name="connsiteX24" fmla="*/ 324062 w 608838"/>
                  <a:gd name="connsiteY24" fmla="*/ 161682 h 491629"/>
                  <a:gd name="connsiteX25" fmla="*/ 324062 w 608838"/>
                  <a:gd name="connsiteY25" fmla="*/ 226204 h 491629"/>
                  <a:gd name="connsiteX26" fmla="*/ 388693 w 608838"/>
                  <a:gd name="connsiteY26" fmla="*/ 226204 h 491629"/>
                  <a:gd name="connsiteX27" fmla="*/ 388693 w 608838"/>
                  <a:gd name="connsiteY27" fmla="*/ 161682 h 491629"/>
                  <a:gd name="connsiteX28" fmla="*/ 220144 w 608838"/>
                  <a:gd name="connsiteY28" fmla="*/ 161682 h 491629"/>
                  <a:gd name="connsiteX29" fmla="*/ 220144 w 608838"/>
                  <a:gd name="connsiteY29" fmla="*/ 226204 h 491629"/>
                  <a:gd name="connsiteX30" fmla="*/ 284775 w 608838"/>
                  <a:gd name="connsiteY30" fmla="*/ 226204 h 491629"/>
                  <a:gd name="connsiteX31" fmla="*/ 284775 w 608838"/>
                  <a:gd name="connsiteY31" fmla="*/ 161682 h 491629"/>
                  <a:gd name="connsiteX32" fmla="*/ 499361 w 608838"/>
                  <a:gd name="connsiteY32" fmla="*/ 96797 h 491629"/>
                  <a:gd name="connsiteX33" fmla="*/ 499361 w 608838"/>
                  <a:gd name="connsiteY33" fmla="*/ 155579 h 491629"/>
                  <a:gd name="connsiteX34" fmla="*/ 558245 w 608838"/>
                  <a:gd name="connsiteY34" fmla="*/ 155579 h 491629"/>
                  <a:gd name="connsiteX35" fmla="*/ 558245 w 608838"/>
                  <a:gd name="connsiteY35" fmla="*/ 96797 h 491629"/>
                  <a:gd name="connsiteX36" fmla="*/ 50593 w 608838"/>
                  <a:gd name="connsiteY36" fmla="*/ 96797 h 491629"/>
                  <a:gd name="connsiteX37" fmla="*/ 50593 w 608838"/>
                  <a:gd name="connsiteY37" fmla="*/ 155579 h 491629"/>
                  <a:gd name="connsiteX38" fmla="*/ 109477 w 608838"/>
                  <a:gd name="connsiteY38" fmla="*/ 155579 h 491629"/>
                  <a:gd name="connsiteX39" fmla="*/ 109477 w 608838"/>
                  <a:gd name="connsiteY39" fmla="*/ 96797 h 491629"/>
                  <a:gd name="connsiteX40" fmla="*/ 324062 w 608838"/>
                  <a:gd name="connsiteY40" fmla="*/ 57938 h 491629"/>
                  <a:gd name="connsiteX41" fmla="*/ 324062 w 608838"/>
                  <a:gd name="connsiteY41" fmla="*/ 122461 h 491629"/>
                  <a:gd name="connsiteX42" fmla="*/ 388693 w 608838"/>
                  <a:gd name="connsiteY42" fmla="*/ 122461 h 491629"/>
                  <a:gd name="connsiteX43" fmla="*/ 388693 w 608838"/>
                  <a:gd name="connsiteY43" fmla="*/ 57938 h 491629"/>
                  <a:gd name="connsiteX44" fmla="*/ 220144 w 608838"/>
                  <a:gd name="connsiteY44" fmla="*/ 57938 h 491629"/>
                  <a:gd name="connsiteX45" fmla="*/ 220144 w 608838"/>
                  <a:gd name="connsiteY45" fmla="*/ 122461 h 491629"/>
                  <a:gd name="connsiteX46" fmla="*/ 284775 w 608838"/>
                  <a:gd name="connsiteY46" fmla="*/ 122461 h 491629"/>
                  <a:gd name="connsiteX47" fmla="*/ 284775 w 608838"/>
                  <a:gd name="connsiteY47" fmla="*/ 57938 h 491629"/>
                  <a:gd name="connsiteX48" fmla="*/ 469401 w 608838"/>
                  <a:gd name="connsiteY48" fmla="*/ 44033 h 491629"/>
                  <a:gd name="connsiteX49" fmla="*/ 608838 w 608838"/>
                  <a:gd name="connsiteY49" fmla="*/ 44033 h 491629"/>
                  <a:gd name="connsiteX50" fmla="*/ 608838 w 608838"/>
                  <a:gd name="connsiteY50" fmla="*/ 491629 h 491629"/>
                  <a:gd name="connsiteX51" fmla="*/ 510950 w 608838"/>
                  <a:gd name="connsiteY51" fmla="*/ 491629 h 491629"/>
                  <a:gd name="connsiteX52" fmla="*/ 510950 w 608838"/>
                  <a:gd name="connsiteY52" fmla="*/ 391651 h 491629"/>
                  <a:gd name="connsiteX53" fmla="*/ 469401 w 608838"/>
                  <a:gd name="connsiteY53" fmla="*/ 391651 h 491629"/>
                  <a:gd name="connsiteX54" fmla="*/ 0 w 608838"/>
                  <a:gd name="connsiteY54" fmla="*/ 44033 h 491629"/>
                  <a:gd name="connsiteX55" fmla="*/ 139437 w 608838"/>
                  <a:gd name="connsiteY55" fmla="*/ 44033 h 491629"/>
                  <a:gd name="connsiteX56" fmla="*/ 139437 w 608838"/>
                  <a:gd name="connsiteY56" fmla="*/ 391651 h 491629"/>
                  <a:gd name="connsiteX57" fmla="*/ 97889 w 608838"/>
                  <a:gd name="connsiteY57" fmla="*/ 391651 h 491629"/>
                  <a:gd name="connsiteX58" fmla="*/ 97889 w 608838"/>
                  <a:gd name="connsiteY58" fmla="*/ 491629 h 491629"/>
                  <a:gd name="connsiteX59" fmla="*/ 0 w 608838"/>
                  <a:gd name="connsiteY59" fmla="*/ 491629 h 491629"/>
                  <a:gd name="connsiteX60" fmla="*/ 164558 w 608838"/>
                  <a:gd name="connsiteY60" fmla="*/ 0 h 491629"/>
                  <a:gd name="connsiteX61" fmla="*/ 444279 w 608838"/>
                  <a:gd name="connsiteY61" fmla="*/ 0 h 491629"/>
                  <a:gd name="connsiteX62" fmla="*/ 444279 w 608838"/>
                  <a:gd name="connsiteY62" fmla="*/ 491629 h 491629"/>
                  <a:gd name="connsiteX63" fmla="*/ 336781 w 608838"/>
                  <a:gd name="connsiteY63" fmla="*/ 491629 h 491629"/>
                  <a:gd name="connsiteX64" fmla="*/ 336781 w 608838"/>
                  <a:gd name="connsiteY64" fmla="*/ 381866 h 491629"/>
                  <a:gd name="connsiteX65" fmla="*/ 272056 w 608838"/>
                  <a:gd name="connsiteY65" fmla="*/ 381866 h 491629"/>
                  <a:gd name="connsiteX66" fmla="*/ 272056 w 608838"/>
                  <a:gd name="connsiteY66" fmla="*/ 491629 h 491629"/>
                  <a:gd name="connsiteX67" fmla="*/ 164558 w 608838"/>
                  <a:gd name="connsiteY67" fmla="*/ 491629 h 491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608838" h="491629">
                    <a:moveTo>
                      <a:pt x="499361" y="285654"/>
                    </a:moveTo>
                    <a:lnTo>
                      <a:pt x="499361" y="344437"/>
                    </a:lnTo>
                    <a:lnTo>
                      <a:pt x="558245" y="344437"/>
                    </a:lnTo>
                    <a:lnTo>
                      <a:pt x="558245" y="285654"/>
                    </a:lnTo>
                    <a:close/>
                    <a:moveTo>
                      <a:pt x="50593" y="285654"/>
                    </a:moveTo>
                    <a:lnTo>
                      <a:pt x="50593" y="344437"/>
                    </a:lnTo>
                    <a:lnTo>
                      <a:pt x="109477" y="344437"/>
                    </a:lnTo>
                    <a:lnTo>
                      <a:pt x="109477" y="285654"/>
                    </a:lnTo>
                    <a:close/>
                    <a:moveTo>
                      <a:pt x="324062" y="265425"/>
                    </a:moveTo>
                    <a:lnTo>
                      <a:pt x="324062" y="329947"/>
                    </a:lnTo>
                    <a:lnTo>
                      <a:pt x="388693" y="329947"/>
                    </a:lnTo>
                    <a:lnTo>
                      <a:pt x="388693" y="265425"/>
                    </a:lnTo>
                    <a:close/>
                    <a:moveTo>
                      <a:pt x="220144" y="265425"/>
                    </a:moveTo>
                    <a:lnTo>
                      <a:pt x="220144" y="329947"/>
                    </a:lnTo>
                    <a:lnTo>
                      <a:pt x="284775" y="329947"/>
                    </a:lnTo>
                    <a:lnTo>
                      <a:pt x="284775" y="265425"/>
                    </a:lnTo>
                    <a:close/>
                    <a:moveTo>
                      <a:pt x="499361" y="191225"/>
                    </a:moveTo>
                    <a:lnTo>
                      <a:pt x="499361" y="250008"/>
                    </a:lnTo>
                    <a:lnTo>
                      <a:pt x="558245" y="250008"/>
                    </a:lnTo>
                    <a:lnTo>
                      <a:pt x="558245" y="191225"/>
                    </a:lnTo>
                    <a:close/>
                    <a:moveTo>
                      <a:pt x="50593" y="191225"/>
                    </a:moveTo>
                    <a:lnTo>
                      <a:pt x="50593" y="250008"/>
                    </a:lnTo>
                    <a:lnTo>
                      <a:pt x="109477" y="250008"/>
                    </a:lnTo>
                    <a:lnTo>
                      <a:pt x="109477" y="191225"/>
                    </a:lnTo>
                    <a:close/>
                    <a:moveTo>
                      <a:pt x="324062" y="161682"/>
                    </a:moveTo>
                    <a:lnTo>
                      <a:pt x="324062" y="226204"/>
                    </a:lnTo>
                    <a:lnTo>
                      <a:pt x="388693" y="226204"/>
                    </a:lnTo>
                    <a:lnTo>
                      <a:pt x="388693" y="161682"/>
                    </a:lnTo>
                    <a:close/>
                    <a:moveTo>
                      <a:pt x="220144" y="161682"/>
                    </a:moveTo>
                    <a:lnTo>
                      <a:pt x="220144" y="226204"/>
                    </a:lnTo>
                    <a:lnTo>
                      <a:pt x="284775" y="226204"/>
                    </a:lnTo>
                    <a:lnTo>
                      <a:pt x="284775" y="161682"/>
                    </a:lnTo>
                    <a:close/>
                    <a:moveTo>
                      <a:pt x="499361" y="96797"/>
                    </a:moveTo>
                    <a:lnTo>
                      <a:pt x="499361" y="155579"/>
                    </a:lnTo>
                    <a:lnTo>
                      <a:pt x="558245" y="155579"/>
                    </a:lnTo>
                    <a:lnTo>
                      <a:pt x="558245" y="96797"/>
                    </a:lnTo>
                    <a:close/>
                    <a:moveTo>
                      <a:pt x="50593" y="96797"/>
                    </a:moveTo>
                    <a:lnTo>
                      <a:pt x="50593" y="155579"/>
                    </a:lnTo>
                    <a:lnTo>
                      <a:pt x="109477" y="155579"/>
                    </a:lnTo>
                    <a:lnTo>
                      <a:pt x="109477" y="96797"/>
                    </a:lnTo>
                    <a:close/>
                    <a:moveTo>
                      <a:pt x="324062" y="57938"/>
                    </a:moveTo>
                    <a:lnTo>
                      <a:pt x="324062" y="122461"/>
                    </a:lnTo>
                    <a:lnTo>
                      <a:pt x="388693" y="122461"/>
                    </a:lnTo>
                    <a:lnTo>
                      <a:pt x="388693" y="57938"/>
                    </a:lnTo>
                    <a:close/>
                    <a:moveTo>
                      <a:pt x="220144" y="57938"/>
                    </a:moveTo>
                    <a:lnTo>
                      <a:pt x="220144" y="122461"/>
                    </a:lnTo>
                    <a:lnTo>
                      <a:pt x="284775" y="122461"/>
                    </a:lnTo>
                    <a:lnTo>
                      <a:pt x="284775" y="57938"/>
                    </a:lnTo>
                    <a:close/>
                    <a:moveTo>
                      <a:pt x="469401" y="44033"/>
                    </a:moveTo>
                    <a:lnTo>
                      <a:pt x="608838" y="44033"/>
                    </a:lnTo>
                    <a:lnTo>
                      <a:pt x="608838" y="491629"/>
                    </a:lnTo>
                    <a:lnTo>
                      <a:pt x="510950" y="491629"/>
                    </a:lnTo>
                    <a:lnTo>
                      <a:pt x="510950" y="391651"/>
                    </a:lnTo>
                    <a:lnTo>
                      <a:pt x="469401" y="391651"/>
                    </a:lnTo>
                    <a:close/>
                    <a:moveTo>
                      <a:pt x="0" y="44033"/>
                    </a:moveTo>
                    <a:lnTo>
                      <a:pt x="139437" y="44033"/>
                    </a:lnTo>
                    <a:lnTo>
                      <a:pt x="139437" y="391651"/>
                    </a:lnTo>
                    <a:lnTo>
                      <a:pt x="97889" y="391651"/>
                    </a:lnTo>
                    <a:lnTo>
                      <a:pt x="97889" y="491629"/>
                    </a:lnTo>
                    <a:lnTo>
                      <a:pt x="0" y="491629"/>
                    </a:lnTo>
                    <a:close/>
                    <a:moveTo>
                      <a:pt x="164558" y="0"/>
                    </a:moveTo>
                    <a:lnTo>
                      <a:pt x="444279" y="0"/>
                    </a:lnTo>
                    <a:lnTo>
                      <a:pt x="444279" y="491629"/>
                    </a:lnTo>
                    <a:lnTo>
                      <a:pt x="336781" y="491629"/>
                    </a:lnTo>
                    <a:lnTo>
                      <a:pt x="336781" y="381866"/>
                    </a:lnTo>
                    <a:lnTo>
                      <a:pt x="272056" y="381866"/>
                    </a:lnTo>
                    <a:lnTo>
                      <a:pt x="272056" y="491629"/>
                    </a:lnTo>
                    <a:lnTo>
                      <a:pt x="164558" y="49162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56" name="íṧľide"/>
            <p:cNvGrpSpPr/>
            <p:nvPr/>
          </p:nvGrpSpPr>
          <p:grpSpPr>
            <a:xfrm>
              <a:off x="4274340" y="2979845"/>
              <a:ext cx="826700" cy="826700"/>
              <a:chOff x="4031329" y="2479508"/>
              <a:chExt cx="826700" cy="826700"/>
            </a:xfrm>
          </p:grpSpPr>
          <p:sp>
            <p:nvSpPr>
              <p:cNvPr id="64" name="iṥļïḋé"/>
              <p:cNvSpPr/>
              <p:nvPr/>
            </p:nvSpPr>
            <p:spPr>
              <a:xfrm>
                <a:off x="4031329" y="2479508"/>
                <a:ext cx="826700" cy="826700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65" name="iśľíḋé"/>
              <p:cNvSpPr/>
              <p:nvPr/>
            </p:nvSpPr>
            <p:spPr bwMode="auto">
              <a:xfrm>
                <a:off x="4250840" y="2641266"/>
                <a:ext cx="412306" cy="449134"/>
              </a:xfrm>
              <a:custGeom>
                <a:avLst/>
                <a:gdLst>
                  <a:gd name="connsiteX0" fmla="*/ 373273 h 605239"/>
                  <a:gd name="connsiteY0" fmla="*/ 373273 h 605239"/>
                  <a:gd name="connsiteX1" fmla="*/ 373273 h 605239"/>
                  <a:gd name="connsiteY1" fmla="*/ 373273 h 605239"/>
                  <a:gd name="connsiteX2" fmla="*/ 373273 h 605239"/>
                  <a:gd name="connsiteY2" fmla="*/ 373273 h 605239"/>
                  <a:gd name="connsiteX3" fmla="*/ 373273 h 605239"/>
                  <a:gd name="connsiteY3" fmla="*/ 373273 h 605239"/>
                  <a:gd name="connsiteX4" fmla="*/ 373273 h 605239"/>
                  <a:gd name="connsiteY4" fmla="*/ 373273 h 605239"/>
                  <a:gd name="connsiteX5" fmla="*/ 373273 h 605239"/>
                  <a:gd name="connsiteY5" fmla="*/ 373273 h 605239"/>
                  <a:gd name="connsiteX6" fmla="*/ 373273 h 605239"/>
                  <a:gd name="connsiteY6" fmla="*/ 373273 h 605239"/>
                  <a:gd name="connsiteX7" fmla="*/ 373273 h 605239"/>
                  <a:gd name="connsiteY7" fmla="*/ 373273 h 605239"/>
                  <a:gd name="connsiteX8" fmla="*/ 373273 h 605239"/>
                  <a:gd name="connsiteY8" fmla="*/ 373273 h 605239"/>
                  <a:gd name="connsiteX9" fmla="*/ 373273 h 605239"/>
                  <a:gd name="connsiteY9" fmla="*/ 373273 h 605239"/>
                  <a:gd name="connsiteX10" fmla="*/ 373273 h 605239"/>
                  <a:gd name="connsiteY10" fmla="*/ 373273 h 605239"/>
                  <a:gd name="connsiteX11" fmla="*/ 373273 h 605239"/>
                  <a:gd name="connsiteY11" fmla="*/ 373273 h 605239"/>
                  <a:gd name="connsiteX12" fmla="*/ 373273 h 605239"/>
                  <a:gd name="connsiteY12" fmla="*/ 373273 h 605239"/>
                  <a:gd name="connsiteX13" fmla="*/ 373273 h 605239"/>
                  <a:gd name="connsiteY13" fmla="*/ 373273 h 605239"/>
                  <a:gd name="connsiteX14" fmla="*/ 373273 h 605239"/>
                  <a:gd name="connsiteY14" fmla="*/ 373273 h 605239"/>
                  <a:gd name="connsiteX15" fmla="*/ 373273 h 605239"/>
                  <a:gd name="connsiteY15" fmla="*/ 373273 h 605239"/>
                  <a:gd name="connsiteX16" fmla="*/ 373273 h 605239"/>
                  <a:gd name="connsiteY16" fmla="*/ 373273 h 605239"/>
                  <a:gd name="connsiteX17" fmla="*/ 373273 h 605239"/>
                  <a:gd name="connsiteY17" fmla="*/ 373273 h 605239"/>
                  <a:gd name="connsiteX18" fmla="*/ 373273 h 605239"/>
                  <a:gd name="connsiteY18" fmla="*/ 373273 h 605239"/>
                  <a:gd name="connsiteX19" fmla="*/ 373273 h 605239"/>
                  <a:gd name="connsiteY19" fmla="*/ 373273 h 605239"/>
                  <a:gd name="connsiteX20" fmla="*/ 373273 h 605239"/>
                  <a:gd name="connsiteY20" fmla="*/ 373273 h 605239"/>
                  <a:gd name="connsiteX21" fmla="*/ 373273 h 605239"/>
                  <a:gd name="connsiteY21" fmla="*/ 373273 h 605239"/>
                  <a:gd name="connsiteX22" fmla="*/ 373273 h 605239"/>
                  <a:gd name="connsiteY22" fmla="*/ 373273 h 605239"/>
                  <a:gd name="connsiteX23" fmla="*/ 373273 h 605239"/>
                  <a:gd name="connsiteY23" fmla="*/ 373273 h 605239"/>
                  <a:gd name="connsiteX24" fmla="*/ 373273 h 605239"/>
                  <a:gd name="connsiteY24" fmla="*/ 373273 h 605239"/>
                  <a:gd name="connsiteX25" fmla="*/ 373273 h 605239"/>
                  <a:gd name="connsiteY25" fmla="*/ 373273 h 605239"/>
                  <a:gd name="connsiteX26" fmla="*/ 373273 h 605239"/>
                  <a:gd name="connsiteY26" fmla="*/ 373273 h 605239"/>
                  <a:gd name="connsiteX27" fmla="*/ 373273 h 605239"/>
                  <a:gd name="connsiteY27" fmla="*/ 373273 h 605239"/>
                  <a:gd name="connsiteX28" fmla="*/ 373273 h 605239"/>
                  <a:gd name="connsiteY28" fmla="*/ 373273 h 605239"/>
                  <a:gd name="connsiteX29" fmla="*/ 373273 h 605239"/>
                  <a:gd name="connsiteY29" fmla="*/ 373273 h 605239"/>
                  <a:gd name="connsiteX30" fmla="*/ 373273 h 605239"/>
                  <a:gd name="connsiteY30" fmla="*/ 373273 h 605239"/>
                  <a:gd name="connsiteX31" fmla="*/ 373273 h 605239"/>
                  <a:gd name="connsiteY31" fmla="*/ 373273 h 605239"/>
                  <a:gd name="connsiteX32" fmla="*/ 373273 h 605239"/>
                  <a:gd name="connsiteY32" fmla="*/ 373273 h 605239"/>
                  <a:gd name="connsiteX33" fmla="*/ 373273 h 605239"/>
                  <a:gd name="connsiteY33" fmla="*/ 373273 h 605239"/>
                  <a:gd name="connsiteX34" fmla="*/ 373273 h 605239"/>
                  <a:gd name="connsiteY34" fmla="*/ 373273 h 605239"/>
                  <a:gd name="connsiteX35" fmla="*/ 373273 h 605239"/>
                  <a:gd name="connsiteY35" fmla="*/ 373273 h 605239"/>
                  <a:gd name="connsiteX36" fmla="*/ 373273 h 605239"/>
                  <a:gd name="connsiteY36" fmla="*/ 373273 h 605239"/>
                  <a:gd name="connsiteX37" fmla="*/ 373273 h 605239"/>
                  <a:gd name="connsiteY37" fmla="*/ 373273 h 605239"/>
                  <a:gd name="connsiteX38" fmla="*/ 373273 h 605239"/>
                  <a:gd name="connsiteY38" fmla="*/ 373273 h 605239"/>
                  <a:gd name="connsiteX39" fmla="*/ 373273 h 605239"/>
                  <a:gd name="connsiteY39" fmla="*/ 373273 h 605239"/>
                  <a:gd name="connsiteX40" fmla="*/ 373273 h 605239"/>
                  <a:gd name="connsiteY40" fmla="*/ 373273 h 605239"/>
                  <a:gd name="connsiteX41" fmla="*/ 373273 h 605239"/>
                  <a:gd name="connsiteY41" fmla="*/ 373273 h 605239"/>
                  <a:gd name="connsiteX42" fmla="*/ 373273 h 605239"/>
                  <a:gd name="connsiteY42" fmla="*/ 373273 h 605239"/>
                  <a:gd name="connsiteX43" fmla="*/ 373273 h 605239"/>
                  <a:gd name="connsiteY43" fmla="*/ 373273 h 605239"/>
                  <a:gd name="connsiteX44" fmla="*/ 373273 h 605239"/>
                  <a:gd name="connsiteY44" fmla="*/ 373273 h 605239"/>
                  <a:gd name="connsiteX45" fmla="*/ 373273 h 605239"/>
                  <a:gd name="connsiteY45" fmla="*/ 373273 h 605239"/>
                  <a:gd name="connsiteX46" fmla="*/ 373273 h 605239"/>
                  <a:gd name="connsiteY46" fmla="*/ 373273 h 605239"/>
                  <a:gd name="connsiteX47" fmla="*/ 373273 h 605239"/>
                  <a:gd name="connsiteY47" fmla="*/ 373273 h 605239"/>
                  <a:gd name="connsiteX48" fmla="*/ 373273 h 605239"/>
                  <a:gd name="connsiteY48" fmla="*/ 373273 h 605239"/>
                  <a:gd name="connsiteX49" fmla="*/ 373273 h 605239"/>
                  <a:gd name="connsiteY49" fmla="*/ 373273 h 605239"/>
                  <a:gd name="connsiteX50" fmla="*/ 373273 h 605239"/>
                  <a:gd name="connsiteY50" fmla="*/ 373273 h 605239"/>
                  <a:gd name="connsiteX51" fmla="*/ 373273 h 605239"/>
                  <a:gd name="connsiteY51" fmla="*/ 373273 h 605239"/>
                  <a:gd name="connsiteX52" fmla="*/ 373273 h 605239"/>
                  <a:gd name="connsiteY52" fmla="*/ 373273 h 605239"/>
                  <a:gd name="connsiteX53" fmla="*/ 373273 h 605239"/>
                  <a:gd name="connsiteY53" fmla="*/ 373273 h 605239"/>
                  <a:gd name="connsiteX54" fmla="*/ 373273 h 605239"/>
                  <a:gd name="connsiteY54" fmla="*/ 373273 h 605239"/>
                  <a:gd name="connsiteX55" fmla="*/ 373273 h 605239"/>
                  <a:gd name="connsiteY55" fmla="*/ 373273 h 605239"/>
                  <a:gd name="connsiteX56" fmla="*/ 373273 h 605239"/>
                  <a:gd name="connsiteY56" fmla="*/ 373273 h 605239"/>
                  <a:gd name="connsiteX57" fmla="*/ 373273 h 605239"/>
                  <a:gd name="connsiteY57" fmla="*/ 373273 h 605239"/>
                  <a:gd name="connsiteX58" fmla="*/ 373273 h 605239"/>
                  <a:gd name="connsiteY58" fmla="*/ 373273 h 605239"/>
                  <a:gd name="connsiteX59" fmla="*/ 373273 h 605239"/>
                  <a:gd name="connsiteY59" fmla="*/ 373273 h 605239"/>
                  <a:gd name="connsiteX60" fmla="*/ 373273 h 605239"/>
                  <a:gd name="connsiteY60" fmla="*/ 373273 h 605239"/>
                  <a:gd name="connsiteX61" fmla="*/ 373273 h 605239"/>
                  <a:gd name="connsiteY61" fmla="*/ 373273 h 605239"/>
                  <a:gd name="connsiteX62" fmla="*/ 373273 h 605239"/>
                  <a:gd name="connsiteY62" fmla="*/ 373273 h 605239"/>
                  <a:gd name="connsiteX63" fmla="*/ 373273 h 605239"/>
                  <a:gd name="connsiteY63" fmla="*/ 373273 h 605239"/>
                  <a:gd name="connsiteX64" fmla="*/ 373273 h 605239"/>
                  <a:gd name="connsiteY64" fmla="*/ 373273 h 605239"/>
                  <a:gd name="connsiteX65" fmla="*/ 373273 h 605239"/>
                  <a:gd name="connsiteY65" fmla="*/ 373273 h 605239"/>
                  <a:gd name="connsiteX66" fmla="*/ 373273 h 605239"/>
                  <a:gd name="connsiteY66" fmla="*/ 373273 h 605239"/>
                  <a:gd name="connsiteX67" fmla="*/ 373273 h 605239"/>
                  <a:gd name="connsiteY67" fmla="*/ 373273 h 605239"/>
                  <a:gd name="connsiteX68" fmla="*/ 373273 h 605239"/>
                  <a:gd name="connsiteY68" fmla="*/ 373273 h 605239"/>
                  <a:gd name="connsiteX69" fmla="*/ 373273 h 605239"/>
                  <a:gd name="connsiteY69" fmla="*/ 373273 h 605239"/>
                  <a:gd name="connsiteX70" fmla="*/ 373273 h 605239"/>
                  <a:gd name="connsiteY70" fmla="*/ 373273 h 605239"/>
                  <a:gd name="connsiteX71" fmla="*/ 373273 h 605239"/>
                  <a:gd name="connsiteY71" fmla="*/ 373273 h 605239"/>
                  <a:gd name="connsiteX72" fmla="*/ 373273 h 605239"/>
                  <a:gd name="connsiteY72" fmla="*/ 373273 h 605239"/>
                  <a:gd name="connsiteX73" fmla="*/ 373273 h 605239"/>
                  <a:gd name="connsiteY73" fmla="*/ 373273 h 605239"/>
                  <a:gd name="connsiteX74" fmla="*/ 373273 h 605239"/>
                  <a:gd name="connsiteY74" fmla="*/ 373273 h 605239"/>
                  <a:gd name="connsiteX75" fmla="*/ 373273 h 605239"/>
                  <a:gd name="connsiteY75" fmla="*/ 373273 h 605239"/>
                  <a:gd name="connsiteX76" fmla="*/ 373273 h 605239"/>
                  <a:gd name="connsiteY76" fmla="*/ 373273 h 605239"/>
                  <a:gd name="connsiteX77" fmla="*/ 373273 h 605239"/>
                  <a:gd name="connsiteY77" fmla="*/ 373273 h 605239"/>
                  <a:gd name="connsiteX78" fmla="*/ 373273 h 605239"/>
                  <a:gd name="connsiteY78" fmla="*/ 373273 h 605239"/>
                  <a:gd name="connsiteX79" fmla="*/ 373273 h 605239"/>
                  <a:gd name="connsiteY79" fmla="*/ 373273 h 605239"/>
                  <a:gd name="connsiteX80" fmla="*/ 373273 h 605239"/>
                  <a:gd name="connsiteY80" fmla="*/ 373273 h 605239"/>
                  <a:gd name="connsiteX81" fmla="*/ 373273 h 605239"/>
                  <a:gd name="connsiteY81" fmla="*/ 373273 h 605239"/>
                  <a:gd name="connsiteX82" fmla="*/ 373273 h 605239"/>
                  <a:gd name="connsiteY82" fmla="*/ 373273 h 605239"/>
                  <a:gd name="connsiteX83" fmla="*/ 373273 h 605239"/>
                  <a:gd name="connsiteY83" fmla="*/ 373273 h 605239"/>
                  <a:gd name="connsiteX84" fmla="*/ 373273 h 605239"/>
                  <a:gd name="connsiteY84" fmla="*/ 373273 h 605239"/>
                  <a:gd name="connsiteX85" fmla="*/ 373273 h 605239"/>
                  <a:gd name="connsiteY85" fmla="*/ 373273 h 605239"/>
                  <a:gd name="connsiteX86" fmla="*/ 373273 h 605239"/>
                  <a:gd name="connsiteY86" fmla="*/ 373273 h 605239"/>
                  <a:gd name="connsiteX87" fmla="*/ 373273 h 605239"/>
                  <a:gd name="connsiteY87" fmla="*/ 373273 h 605239"/>
                  <a:gd name="connsiteX88" fmla="*/ 373273 h 605239"/>
                  <a:gd name="connsiteY88" fmla="*/ 373273 h 605239"/>
                  <a:gd name="connsiteX89" fmla="*/ 373273 h 605239"/>
                  <a:gd name="connsiteY89" fmla="*/ 373273 h 605239"/>
                  <a:gd name="connsiteX90" fmla="*/ 373273 h 605239"/>
                  <a:gd name="connsiteY90" fmla="*/ 373273 h 605239"/>
                  <a:gd name="connsiteX91" fmla="*/ 373273 h 605239"/>
                  <a:gd name="connsiteY91" fmla="*/ 373273 h 605239"/>
                  <a:gd name="connsiteX92" fmla="*/ 373273 h 605239"/>
                  <a:gd name="connsiteY92" fmla="*/ 373273 h 605239"/>
                  <a:gd name="connsiteX93" fmla="*/ 373273 h 605239"/>
                  <a:gd name="connsiteY93" fmla="*/ 373273 h 605239"/>
                  <a:gd name="connsiteX94" fmla="*/ 373273 h 605239"/>
                  <a:gd name="connsiteY94" fmla="*/ 373273 h 605239"/>
                  <a:gd name="connsiteX95" fmla="*/ 373273 h 605239"/>
                  <a:gd name="connsiteY95" fmla="*/ 373273 h 605239"/>
                  <a:gd name="connsiteX96" fmla="*/ 373273 h 605239"/>
                  <a:gd name="connsiteY96" fmla="*/ 373273 h 605239"/>
                  <a:gd name="connsiteX97" fmla="*/ 373273 h 605239"/>
                  <a:gd name="connsiteY97" fmla="*/ 373273 h 605239"/>
                  <a:gd name="connsiteX98" fmla="*/ 373273 h 605239"/>
                  <a:gd name="connsiteY98" fmla="*/ 373273 h 605239"/>
                  <a:gd name="connsiteX99" fmla="*/ 373273 h 605239"/>
                  <a:gd name="connsiteY99" fmla="*/ 373273 h 605239"/>
                  <a:gd name="connsiteX100" fmla="*/ 373273 h 605239"/>
                  <a:gd name="connsiteY100" fmla="*/ 373273 h 605239"/>
                  <a:gd name="connsiteX101" fmla="*/ 373273 h 605239"/>
                  <a:gd name="connsiteY101" fmla="*/ 373273 h 605239"/>
                  <a:gd name="connsiteX102" fmla="*/ 373273 h 605239"/>
                  <a:gd name="connsiteY102" fmla="*/ 373273 h 605239"/>
                  <a:gd name="connsiteX103" fmla="*/ 373273 h 605239"/>
                  <a:gd name="connsiteY103" fmla="*/ 373273 h 605239"/>
                  <a:gd name="connsiteX104" fmla="*/ 373273 h 605239"/>
                  <a:gd name="connsiteY104" fmla="*/ 373273 h 605239"/>
                  <a:gd name="connsiteX105" fmla="*/ 373273 h 605239"/>
                  <a:gd name="connsiteY105" fmla="*/ 373273 h 605239"/>
                  <a:gd name="connsiteX106" fmla="*/ 373273 h 605239"/>
                  <a:gd name="connsiteY106" fmla="*/ 373273 h 605239"/>
                  <a:gd name="connsiteX107" fmla="*/ 373273 h 605239"/>
                  <a:gd name="connsiteY107" fmla="*/ 373273 h 605239"/>
                  <a:gd name="connsiteX108" fmla="*/ 373273 h 605239"/>
                  <a:gd name="connsiteY108" fmla="*/ 373273 h 605239"/>
                  <a:gd name="connsiteX109" fmla="*/ 373273 h 605239"/>
                  <a:gd name="connsiteY109" fmla="*/ 373273 h 605239"/>
                  <a:gd name="connsiteX110" fmla="*/ 373273 h 605239"/>
                  <a:gd name="connsiteY110" fmla="*/ 373273 h 605239"/>
                  <a:gd name="connsiteX111" fmla="*/ 373273 h 605239"/>
                  <a:gd name="connsiteY111" fmla="*/ 373273 h 605239"/>
                  <a:gd name="connsiteX112" fmla="*/ 373273 h 605239"/>
                  <a:gd name="connsiteY112" fmla="*/ 373273 h 605239"/>
                  <a:gd name="connsiteX113" fmla="*/ 373273 h 605239"/>
                  <a:gd name="connsiteY113" fmla="*/ 373273 h 605239"/>
                  <a:gd name="connsiteX114" fmla="*/ 373273 h 605239"/>
                  <a:gd name="connsiteY114" fmla="*/ 373273 h 605239"/>
                  <a:gd name="connsiteX115" fmla="*/ 373273 h 605239"/>
                  <a:gd name="connsiteY115" fmla="*/ 373273 h 605239"/>
                  <a:gd name="connsiteX116" fmla="*/ 373273 h 605239"/>
                  <a:gd name="connsiteY116" fmla="*/ 373273 h 605239"/>
                  <a:gd name="connsiteX117" fmla="*/ 373273 h 605239"/>
                  <a:gd name="connsiteY117" fmla="*/ 373273 h 605239"/>
                  <a:gd name="connsiteX118" fmla="*/ 373273 h 605239"/>
                  <a:gd name="connsiteY118" fmla="*/ 373273 h 60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</a:cxnLst>
                <a:rect l="l" t="t" r="r" b="b"/>
                <a:pathLst>
                  <a:path w="556973" h="606722">
                    <a:moveTo>
                      <a:pt x="480190" y="505602"/>
                    </a:moveTo>
                    <a:cubicBezTo>
                      <a:pt x="522897" y="505602"/>
                      <a:pt x="556973" y="537147"/>
                      <a:pt x="556973" y="556162"/>
                    </a:cubicBezTo>
                    <a:lnTo>
                      <a:pt x="556439" y="586996"/>
                    </a:lnTo>
                    <a:cubicBezTo>
                      <a:pt x="556261" y="597925"/>
                      <a:pt x="547364" y="606722"/>
                      <a:pt x="536420" y="606722"/>
                    </a:cubicBezTo>
                    <a:lnTo>
                      <a:pt x="425206" y="606722"/>
                    </a:lnTo>
                    <a:cubicBezTo>
                      <a:pt x="414173" y="606722"/>
                      <a:pt x="405187" y="597748"/>
                      <a:pt x="405187" y="586640"/>
                    </a:cubicBezTo>
                    <a:lnTo>
                      <a:pt x="405187" y="556162"/>
                    </a:lnTo>
                    <a:cubicBezTo>
                      <a:pt x="405187" y="537147"/>
                      <a:pt x="437573" y="505602"/>
                      <a:pt x="480190" y="505602"/>
                    </a:cubicBezTo>
                    <a:close/>
                    <a:moveTo>
                      <a:pt x="277711" y="505602"/>
                    </a:moveTo>
                    <a:cubicBezTo>
                      <a:pt x="320343" y="505602"/>
                      <a:pt x="354520" y="537147"/>
                      <a:pt x="354520" y="556162"/>
                    </a:cubicBezTo>
                    <a:lnTo>
                      <a:pt x="353986" y="586996"/>
                    </a:lnTo>
                    <a:cubicBezTo>
                      <a:pt x="353808" y="597925"/>
                      <a:pt x="344908" y="606722"/>
                      <a:pt x="333960" y="606722"/>
                    </a:cubicBezTo>
                    <a:lnTo>
                      <a:pt x="222619" y="606722"/>
                    </a:lnTo>
                    <a:cubicBezTo>
                      <a:pt x="211582" y="606722"/>
                      <a:pt x="202593" y="597748"/>
                      <a:pt x="202593" y="586640"/>
                    </a:cubicBezTo>
                    <a:lnTo>
                      <a:pt x="202593" y="556162"/>
                    </a:lnTo>
                    <a:cubicBezTo>
                      <a:pt x="202593" y="537147"/>
                      <a:pt x="234990" y="505602"/>
                      <a:pt x="277711" y="505602"/>
                    </a:cubicBezTo>
                    <a:close/>
                    <a:moveTo>
                      <a:pt x="75118" y="505602"/>
                    </a:moveTo>
                    <a:cubicBezTo>
                      <a:pt x="117839" y="505602"/>
                      <a:pt x="151927" y="537147"/>
                      <a:pt x="151927" y="556162"/>
                    </a:cubicBezTo>
                    <a:lnTo>
                      <a:pt x="151393" y="586996"/>
                    </a:lnTo>
                    <a:cubicBezTo>
                      <a:pt x="151215" y="597925"/>
                      <a:pt x="142315" y="606722"/>
                      <a:pt x="131367" y="606722"/>
                    </a:cubicBezTo>
                    <a:lnTo>
                      <a:pt x="20115" y="606722"/>
                    </a:lnTo>
                    <a:cubicBezTo>
                      <a:pt x="8989" y="606722"/>
                      <a:pt x="0" y="597748"/>
                      <a:pt x="0" y="586640"/>
                    </a:cubicBezTo>
                    <a:lnTo>
                      <a:pt x="0" y="556162"/>
                    </a:lnTo>
                    <a:cubicBezTo>
                      <a:pt x="0" y="537147"/>
                      <a:pt x="32486" y="505602"/>
                      <a:pt x="75118" y="505602"/>
                    </a:cubicBezTo>
                    <a:close/>
                    <a:moveTo>
                      <a:pt x="481080" y="379219"/>
                    </a:moveTo>
                    <a:cubicBezTo>
                      <a:pt x="509043" y="379219"/>
                      <a:pt x="531711" y="401840"/>
                      <a:pt x="531711" y="429744"/>
                    </a:cubicBezTo>
                    <a:cubicBezTo>
                      <a:pt x="531711" y="457648"/>
                      <a:pt x="509043" y="480269"/>
                      <a:pt x="481080" y="480269"/>
                    </a:cubicBezTo>
                    <a:cubicBezTo>
                      <a:pt x="453117" y="480269"/>
                      <a:pt x="430449" y="457648"/>
                      <a:pt x="430449" y="429744"/>
                    </a:cubicBezTo>
                    <a:cubicBezTo>
                      <a:pt x="430449" y="401840"/>
                      <a:pt x="453117" y="379219"/>
                      <a:pt x="481080" y="379219"/>
                    </a:cubicBezTo>
                    <a:close/>
                    <a:moveTo>
                      <a:pt x="278522" y="379219"/>
                    </a:moveTo>
                    <a:cubicBezTo>
                      <a:pt x="306465" y="379219"/>
                      <a:pt x="329118" y="401840"/>
                      <a:pt x="329118" y="429744"/>
                    </a:cubicBezTo>
                    <a:cubicBezTo>
                      <a:pt x="329118" y="457648"/>
                      <a:pt x="306465" y="480269"/>
                      <a:pt x="278522" y="480269"/>
                    </a:cubicBezTo>
                    <a:cubicBezTo>
                      <a:pt x="250579" y="480269"/>
                      <a:pt x="227926" y="457648"/>
                      <a:pt x="227926" y="429744"/>
                    </a:cubicBezTo>
                    <a:cubicBezTo>
                      <a:pt x="227926" y="401840"/>
                      <a:pt x="250579" y="379219"/>
                      <a:pt x="278522" y="379219"/>
                    </a:cubicBezTo>
                    <a:close/>
                    <a:moveTo>
                      <a:pt x="76035" y="379219"/>
                    </a:moveTo>
                    <a:cubicBezTo>
                      <a:pt x="103998" y="379219"/>
                      <a:pt x="126666" y="401840"/>
                      <a:pt x="126666" y="429744"/>
                    </a:cubicBezTo>
                    <a:cubicBezTo>
                      <a:pt x="126666" y="457648"/>
                      <a:pt x="103998" y="480269"/>
                      <a:pt x="76035" y="480269"/>
                    </a:cubicBezTo>
                    <a:cubicBezTo>
                      <a:pt x="48072" y="480269"/>
                      <a:pt x="25404" y="457648"/>
                      <a:pt x="25404" y="429744"/>
                    </a:cubicBezTo>
                    <a:cubicBezTo>
                      <a:pt x="25404" y="401840"/>
                      <a:pt x="48072" y="379219"/>
                      <a:pt x="76035" y="379219"/>
                    </a:cubicBezTo>
                    <a:close/>
                    <a:moveTo>
                      <a:pt x="353886" y="80445"/>
                    </a:moveTo>
                    <a:lnTo>
                      <a:pt x="360298" y="80445"/>
                    </a:lnTo>
                    <a:cubicBezTo>
                      <a:pt x="362435" y="80445"/>
                      <a:pt x="364216" y="80712"/>
                      <a:pt x="365552" y="81424"/>
                    </a:cubicBezTo>
                    <a:cubicBezTo>
                      <a:pt x="366888" y="82136"/>
                      <a:pt x="367956" y="82936"/>
                      <a:pt x="368669" y="84004"/>
                    </a:cubicBezTo>
                    <a:cubicBezTo>
                      <a:pt x="369381" y="84982"/>
                      <a:pt x="369916" y="86139"/>
                      <a:pt x="370183" y="87206"/>
                    </a:cubicBezTo>
                    <a:cubicBezTo>
                      <a:pt x="370361" y="88363"/>
                      <a:pt x="370539" y="89341"/>
                      <a:pt x="370539" y="90142"/>
                    </a:cubicBezTo>
                    <a:cubicBezTo>
                      <a:pt x="370539" y="92277"/>
                      <a:pt x="370272" y="94145"/>
                      <a:pt x="369738" y="95569"/>
                    </a:cubicBezTo>
                    <a:cubicBezTo>
                      <a:pt x="369203" y="96992"/>
                      <a:pt x="368491" y="98149"/>
                      <a:pt x="367600" y="98949"/>
                    </a:cubicBezTo>
                    <a:cubicBezTo>
                      <a:pt x="366799" y="99750"/>
                      <a:pt x="365819" y="100373"/>
                      <a:pt x="364840" y="100728"/>
                    </a:cubicBezTo>
                    <a:cubicBezTo>
                      <a:pt x="363860" y="101084"/>
                      <a:pt x="362791" y="101262"/>
                      <a:pt x="361723" y="101262"/>
                    </a:cubicBezTo>
                    <a:lnTo>
                      <a:pt x="353886" y="101262"/>
                    </a:lnTo>
                    <a:close/>
                    <a:moveTo>
                      <a:pt x="288104" y="75802"/>
                    </a:moveTo>
                    <a:lnTo>
                      <a:pt x="288104" y="81667"/>
                    </a:lnTo>
                    <a:lnTo>
                      <a:pt x="303770" y="81667"/>
                    </a:lnTo>
                    <a:lnTo>
                      <a:pt x="303770" y="128321"/>
                    </a:lnTo>
                    <a:lnTo>
                      <a:pt x="312404" y="128321"/>
                    </a:lnTo>
                    <a:lnTo>
                      <a:pt x="312404" y="81667"/>
                    </a:lnTo>
                    <a:lnTo>
                      <a:pt x="328159" y="81667"/>
                    </a:lnTo>
                    <a:lnTo>
                      <a:pt x="328159" y="75802"/>
                    </a:lnTo>
                    <a:close/>
                    <a:moveTo>
                      <a:pt x="233896" y="75802"/>
                    </a:moveTo>
                    <a:lnTo>
                      <a:pt x="233896" y="81667"/>
                    </a:lnTo>
                    <a:lnTo>
                      <a:pt x="249562" y="81667"/>
                    </a:lnTo>
                    <a:lnTo>
                      <a:pt x="249562" y="128321"/>
                    </a:lnTo>
                    <a:lnTo>
                      <a:pt x="258196" y="128321"/>
                    </a:lnTo>
                    <a:lnTo>
                      <a:pt x="258196" y="81667"/>
                    </a:lnTo>
                    <a:lnTo>
                      <a:pt x="273951" y="81667"/>
                    </a:lnTo>
                    <a:lnTo>
                      <a:pt x="273951" y="75802"/>
                    </a:lnTo>
                    <a:close/>
                    <a:moveTo>
                      <a:pt x="183516" y="75802"/>
                    </a:moveTo>
                    <a:lnTo>
                      <a:pt x="183516" y="128321"/>
                    </a:lnTo>
                    <a:lnTo>
                      <a:pt x="192239" y="128321"/>
                    </a:lnTo>
                    <a:lnTo>
                      <a:pt x="192239" y="104683"/>
                    </a:lnTo>
                    <a:lnTo>
                      <a:pt x="215026" y="104683"/>
                    </a:lnTo>
                    <a:lnTo>
                      <a:pt x="215026" y="128321"/>
                    </a:lnTo>
                    <a:lnTo>
                      <a:pt x="223571" y="128321"/>
                    </a:lnTo>
                    <a:lnTo>
                      <a:pt x="223571" y="75802"/>
                    </a:lnTo>
                    <a:lnTo>
                      <a:pt x="215026" y="75802"/>
                    </a:lnTo>
                    <a:lnTo>
                      <a:pt x="215026" y="98818"/>
                    </a:lnTo>
                    <a:lnTo>
                      <a:pt x="192239" y="98818"/>
                    </a:lnTo>
                    <a:lnTo>
                      <a:pt x="192239" y="75802"/>
                    </a:lnTo>
                    <a:close/>
                    <a:moveTo>
                      <a:pt x="345338" y="73935"/>
                    </a:moveTo>
                    <a:lnTo>
                      <a:pt x="345338" y="126366"/>
                    </a:lnTo>
                    <a:lnTo>
                      <a:pt x="353883" y="126366"/>
                    </a:lnTo>
                    <a:lnTo>
                      <a:pt x="353883" y="107438"/>
                    </a:lnTo>
                    <a:lnTo>
                      <a:pt x="360203" y="107438"/>
                    </a:lnTo>
                    <a:cubicBezTo>
                      <a:pt x="362962" y="107438"/>
                      <a:pt x="365544" y="107083"/>
                      <a:pt x="367769" y="106283"/>
                    </a:cubicBezTo>
                    <a:cubicBezTo>
                      <a:pt x="370083" y="105394"/>
                      <a:pt x="372041" y="104328"/>
                      <a:pt x="373644" y="102817"/>
                    </a:cubicBezTo>
                    <a:cubicBezTo>
                      <a:pt x="375246" y="101306"/>
                      <a:pt x="376492" y="99529"/>
                      <a:pt x="377382" y="97396"/>
                    </a:cubicBezTo>
                    <a:cubicBezTo>
                      <a:pt x="378361" y="95264"/>
                      <a:pt x="378717" y="92775"/>
                      <a:pt x="378717" y="90109"/>
                    </a:cubicBezTo>
                    <a:cubicBezTo>
                      <a:pt x="378717" y="87621"/>
                      <a:pt x="378183" y="85400"/>
                      <a:pt x="377115" y="83356"/>
                    </a:cubicBezTo>
                    <a:cubicBezTo>
                      <a:pt x="376136" y="81312"/>
                      <a:pt x="374712" y="79623"/>
                      <a:pt x="372932" y="78201"/>
                    </a:cubicBezTo>
                    <a:cubicBezTo>
                      <a:pt x="371240" y="76779"/>
                      <a:pt x="369282" y="75713"/>
                      <a:pt x="367057" y="75002"/>
                    </a:cubicBezTo>
                    <a:cubicBezTo>
                      <a:pt x="364921" y="74291"/>
                      <a:pt x="362695" y="73935"/>
                      <a:pt x="360381" y="73935"/>
                    </a:cubicBezTo>
                    <a:close/>
                    <a:moveTo>
                      <a:pt x="177285" y="0"/>
                    </a:moveTo>
                    <a:lnTo>
                      <a:pt x="379785" y="0"/>
                    </a:lnTo>
                    <a:cubicBezTo>
                      <a:pt x="435684" y="0"/>
                      <a:pt x="481080" y="45321"/>
                      <a:pt x="481080" y="101129"/>
                    </a:cubicBezTo>
                    <a:cubicBezTo>
                      <a:pt x="481080" y="156847"/>
                      <a:pt x="435684" y="202257"/>
                      <a:pt x="379785" y="202257"/>
                    </a:cubicBezTo>
                    <a:lnTo>
                      <a:pt x="303859" y="202257"/>
                    </a:lnTo>
                    <a:lnTo>
                      <a:pt x="303859" y="227495"/>
                    </a:lnTo>
                    <a:lnTo>
                      <a:pt x="481080" y="227495"/>
                    </a:lnTo>
                    <a:cubicBezTo>
                      <a:pt x="495055" y="227495"/>
                      <a:pt x="506448" y="238781"/>
                      <a:pt x="506448" y="252732"/>
                    </a:cubicBezTo>
                    <a:lnTo>
                      <a:pt x="506448" y="303297"/>
                    </a:lnTo>
                    <a:cubicBezTo>
                      <a:pt x="506448" y="317249"/>
                      <a:pt x="495055" y="328623"/>
                      <a:pt x="481080" y="328623"/>
                    </a:cubicBezTo>
                    <a:cubicBezTo>
                      <a:pt x="467105" y="328623"/>
                      <a:pt x="455801" y="317249"/>
                      <a:pt x="455801" y="303297"/>
                    </a:cubicBezTo>
                    <a:lnTo>
                      <a:pt x="455801" y="278059"/>
                    </a:lnTo>
                    <a:lnTo>
                      <a:pt x="303859" y="278059"/>
                    </a:lnTo>
                    <a:lnTo>
                      <a:pt x="303859" y="303297"/>
                    </a:lnTo>
                    <a:cubicBezTo>
                      <a:pt x="303859" y="317249"/>
                      <a:pt x="292555" y="328623"/>
                      <a:pt x="278580" y="328623"/>
                    </a:cubicBezTo>
                    <a:cubicBezTo>
                      <a:pt x="264516" y="328623"/>
                      <a:pt x="253212" y="317249"/>
                      <a:pt x="253212" y="303297"/>
                    </a:cubicBezTo>
                    <a:lnTo>
                      <a:pt x="253212" y="278059"/>
                    </a:lnTo>
                    <a:lnTo>
                      <a:pt x="102160" y="278059"/>
                    </a:lnTo>
                    <a:lnTo>
                      <a:pt x="102160" y="303297"/>
                    </a:lnTo>
                    <a:cubicBezTo>
                      <a:pt x="102160" y="317249"/>
                      <a:pt x="90856" y="328623"/>
                      <a:pt x="76881" y="328623"/>
                    </a:cubicBezTo>
                    <a:cubicBezTo>
                      <a:pt x="62817" y="328623"/>
                      <a:pt x="51513" y="317249"/>
                      <a:pt x="51513" y="303297"/>
                    </a:cubicBezTo>
                    <a:lnTo>
                      <a:pt x="51513" y="252732"/>
                    </a:lnTo>
                    <a:cubicBezTo>
                      <a:pt x="51513" y="238781"/>
                      <a:pt x="62817" y="227495"/>
                      <a:pt x="76881" y="227495"/>
                    </a:cubicBezTo>
                    <a:lnTo>
                      <a:pt x="253212" y="227495"/>
                    </a:lnTo>
                    <a:lnTo>
                      <a:pt x="253212" y="202257"/>
                    </a:lnTo>
                    <a:lnTo>
                      <a:pt x="177285" y="202257"/>
                    </a:lnTo>
                    <a:cubicBezTo>
                      <a:pt x="121387" y="202257"/>
                      <a:pt x="75991" y="156847"/>
                      <a:pt x="75991" y="101129"/>
                    </a:cubicBezTo>
                    <a:cubicBezTo>
                      <a:pt x="75991" y="45321"/>
                      <a:pt x="121387" y="0"/>
                      <a:pt x="1772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57" name="ïŝḻïďé"/>
            <p:cNvGrpSpPr/>
            <p:nvPr/>
          </p:nvGrpSpPr>
          <p:grpSpPr>
            <a:xfrm>
              <a:off x="9655056" y="2979845"/>
              <a:ext cx="826700" cy="826700"/>
              <a:chOff x="5439638" y="2479508"/>
              <a:chExt cx="826700" cy="826700"/>
            </a:xfrm>
          </p:grpSpPr>
          <p:sp>
            <p:nvSpPr>
              <p:cNvPr id="61" name="íšḷidê"/>
              <p:cNvSpPr/>
              <p:nvPr/>
            </p:nvSpPr>
            <p:spPr>
              <a:xfrm>
                <a:off x="5439638" y="2479508"/>
                <a:ext cx="826700" cy="826700"/>
              </a:xfrm>
              <a:prstGeom prst="ellipse">
                <a:avLst/>
              </a:prstGeom>
              <a:solidFill>
                <a:srgbClr val="00B050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62" name="ïşļîḓê"/>
              <p:cNvSpPr/>
              <p:nvPr/>
            </p:nvSpPr>
            <p:spPr bwMode="auto">
              <a:xfrm>
                <a:off x="5684549" y="2668291"/>
                <a:ext cx="336872" cy="449133"/>
              </a:xfrm>
              <a:custGeom>
                <a:avLst/>
                <a:gdLst>
                  <a:gd name="T0" fmla="*/ 649 w 7781"/>
                  <a:gd name="T1" fmla="*/ 0 h 10375"/>
                  <a:gd name="T2" fmla="*/ 7132 w 7781"/>
                  <a:gd name="T3" fmla="*/ 0 h 10375"/>
                  <a:gd name="T4" fmla="*/ 7781 w 7781"/>
                  <a:gd name="T5" fmla="*/ 649 h 10375"/>
                  <a:gd name="T6" fmla="*/ 7781 w 7781"/>
                  <a:gd name="T7" fmla="*/ 9726 h 10375"/>
                  <a:gd name="T8" fmla="*/ 7132 w 7781"/>
                  <a:gd name="T9" fmla="*/ 10375 h 10375"/>
                  <a:gd name="T10" fmla="*/ 649 w 7781"/>
                  <a:gd name="T11" fmla="*/ 10375 h 10375"/>
                  <a:gd name="T12" fmla="*/ 0 w 7781"/>
                  <a:gd name="T13" fmla="*/ 9726 h 10375"/>
                  <a:gd name="T14" fmla="*/ 0 w 7781"/>
                  <a:gd name="T15" fmla="*/ 649 h 10375"/>
                  <a:gd name="T16" fmla="*/ 649 w 7781"/>
                  <a:gd name="T17" fmla="*/ 0 h 10375"/>
                  <a:gd name="T18" fmla="*/ 1297 w 7781"/>
                  <a:gd name="T19" fmla="*/ 1296 h 10375"/>
                  <a:gd name="T20" fmla="*/ 1297 w 7781"/>
                  <a:gd name="T21" fmla="*/ 8429 h 10375"/>
                  <a:gd name="T22" fmla="*/ 6485 w 7781"/>
                  <a:gd name="T23" fmla="*/ 8429 h 10375"/>
                  <a:gd name="T24" fmla="*/ 6485 w 7781"/>
                  <a:gd name="T25" fmla="*/ 1296 h 10375"/>
                  <a:gd name="T26" fmla="*/ 1297 w 7781"/>
                  <a:gd name="T27" fmla="*/ 1296 h 10375"/>
                  <a:gd name="T28" fmla="*/ 3891 w 7781"/>
                  <a:gd name="T29" fmla="*/ 8915 h 10375"/>
                  <a:gd name="T30" fmla="*/ 3405 w 7781"/>
                  <a:gd name="T31" fmla="*/ 9401 h 10375"/>
                  <a:gd name="T32" fmla="*/ 3891 w 7781"/>
                  <a:gd name="T33" fmla="*/ 9888 h 10375"/>
                  <a:gd name="T34" fmla="*/ 4377 w 7781"/>
                  <a:gd name="T35" fmla="*/ 9401 h 10375"/>
                  <a:gd name="T36" fmla="*/ 3891 w 7781"/>
                  <a:gd name="T37" fmla="*/ 8915 h 10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81" h="10375">
                    <a:moveTo>
                      <a:pt x="649" y="0"/>
                    </a:moveTo>
                    <a:lnTo>
                      <a:pt x="7132" y="0"/>
                    </a:lnTo>
                    <a:cubicBezTo>
                      <a:pt x="7490" y="0"/>
                      <a:pt x="7781" y="290"/>
                      <a:pt x="7781" y="649"/>
                    </a:cubicBezTo>
                    <a:lnTo>
                      <a:pt x="7781" y="9726"/>
                    </a:lnTo>
                    <a:cubicBezTo>
                      <a:pt x="7781" y="10084"/>
                      <a:pt x="7491" y="10375"/>
                      <a:pt x="7132" y="10375"/>
                    </a:cubicBezTo>
                    <a:lnTo>
                      <a:pt x="649" y="10375"/>
                    </a:lnTo>
                    <a:cubicBezTo>
                      <a:pt x="291" y="10375"/>
                      <a:pt x="0" y="10085"/>
                      <a:pt x="0" y="9726"/>
                    </a:cubicBezTo>
                    <a:lnTo>
                      <a:pt x="0" y="649"/>
                    </a:lnTo>
                    <a:cubicBezTo>
                      <a:pt x="1" y="290"/>
                      <a:pt x="291" y="0"/>
                      <a:pt x="649" y="0"/>
                    </a:cubicBezTo>
                    <a:close/>
                    <a:moveTo>
                      <a:pt x="1297" y="1296"/>
                    </a:moveTo>
                    <a:lnTo>
                      <a:pt x="1297" y="8429"/>
                    </a:lnTo>
                    <a:lnTo>
                      <a:pt x="6485" y="8429"/>
                    </a:lnTo>
                    <a:lnTo>
                      <a:pt x="6485" y="1296"/>
                    </a:lnTo>
                    <a:lnTo>
                      <a:pt x="1297" y="1296"/>
                    </a:lnTo>
                    <a:close/>
                    <a:moveTo>
                      <a:pt x="3891" y="8915"/>
                    </a:moveTo>
                    <a:cubicBezTo>
                      <a:pt x="3622" y="8915"/>
                      <a:pt x="3405" y="9133"/>
                      <a:pt x="3405" y="9401"/>
                    </a:cubicBezTo>
                    <a:cubicBezTo>
                      <a:pt x="3405" y="9670"/>
                      <a:pt x="3622" y="9888"/>
                      <a:pt x="3891" y="9888"/>
                    </a:cubicBezTo>
                    <a:cubicBezTo>
                      <a:pt x="4160" y="9888"/>
                      <a:pt x="4377" y="9670"/>
                      <a:pt x="4377" y="9401"/>
                    </a:cubicBezTo>
                    <a:cubicBezTo>
                      <a:pt x="4377" y="9133"/>
                      <a:pt x="4160" y="8915"/>
                      <a:pt x="3891" y="891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</p:grpSp>
      <p:sp>
        <p:nvSpPr>
          <p:cNvPr id="7" name="矩形 6"/>
          <p:cNvSpPr/>
          <p:nvPr/>
        </p:nvSpPr>
        <p:spPr>
          <a:xfrm>
            <a:off x="3365456" y="4620414"/>
            <a:ext cx="248247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080"/>
              </a:lnSpc>
            </a:pPr>
            <a:r>
              <a:rPr lang="zh-CN" altLang="en-US" sz="1400" dirty="0">
                <a:solidFill>
                  <a:srgbClr val="D9AB00"/>
                </a:solidFill>
              </a:rPr>
              <a:t>徒弟找到自身求职方向的板块，徒弟发帖，将自身的问题和困惑发到帖子上，附上赏金。等待有缘师傅答复。</a:t>
            </a:r>
            <a:endParaRPr lang="zh-CN" altLang="en-US" sz="1400" dirty="0">
              <a:solidFill>
                <a:srgbClr val="D9AB00"/>
              </a:solidFill>
            </a:endParaRPr>
          </a:p>
          <a:p>
            <a:pPr algn="ctr">
              <a:spcBef>
                <a:spcPct val="0"/>
              </a:spcBef>
            </a:pPr>
            <a:endParaRPr lang="zh-CN" altLang="en-US" sz="1400" dirty="0">
              <a:solidFill>
                <a:srgbClr val="D9AB00"/>
              </a:solidFill>
            </a:endParaRPr>
          </a:p>
        </p:txBody>
      </p:sp>
      <p:sp>
        <p:nvSpPr>
          <p:cNvPr id="50" name="iṥļïḋé"/>
          <p:cNvSpPr/>
          <p:nvPr/>
        </p:nvSpPr>
        <p:spPr>
          <a:xfrm>
            <a:off x="6969699" y="3485995"/>
            <a:ext cx="826700" cy="826700"/>
          </a:xfrm>
          <a:prstGeom prst="ellipse">
            <a:avLst/>
          </a:prstGeom>
          <a:solidFill>
            <a:srgbClr val="C0000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2" name="矩形 51"/>
          <p:cNvSpPr/>
          <p:nvPr/>
        </p:nvSpPr>
        <p:spPr>
          <a:xfrm>
            <a:off x="6527406" y="4641294"/>
            <a:ext cx="2054667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80"/>
              </a:lnSpc>
              <a:spcBef>
                <a:spcPct val="0"/>
              </a:spcBef>
            </a:pPr>
            <a:r>
              <a:rPr lang="zh-CN" altLang="en-US" sz="1400" dirty="0">
                <a:solidFill>
                  <a:srgbClr val="C00000"/>
                </a:solidFill>
              </a:rPr>
              <a:t>师傅在帖下进行初步回复。双方可以约定沟通时间。</a:t>
            </a:r>
            <a:endParaRPr lang="zh-CN" altLang="en-US" sz="1400" dirty="0">
              <a:solidFill>
                <a:srgbClr val="C00000"/>
              </a:solidFill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8977518" y="4588830"/>
            <a:ext cx="2506101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080"/>
              </a:lnSpc>
              <a:spcBef>
                <a:spcPct val="0"/>
              </a:spcBef>
            </a:pPr>
            <a:r>
              <a:rPr lang="zh-CN" altLang="en-US" sz="1400" dirty="0">
                <a:solidFill>
                  <a:srgbClr val="00B050"/>
                </a:solidFill>
              </a:rPr>
              <a:t>双方进行微信或电话</a:t>
            </a:r>
            <a:r>
              <a:rPr lang="zh-CN" altLang="en-US" sz="1400" dirty="0" smtClean="0">
                <a:solidFill>
                  <a:srgbClr val="00B050"/>
                </a:solidFill>
              </a:rPr>
              <a:t>沟通，徒弟</a:t>
            </a:r>
            <a:r>
              <a:rPr lang="zh-CN" altLang="en-US" sz="1400" dirty="0">
                <a:solidFill>
                  <a:srgbClr val="00B050"/>
                </a:solidFill>
              </a:rPr>
              <a:t>满意回复，即可支付赏金</a:t>
            </a:r>
            <a:endParaRPr lang="zh-CN" altLang="en-US" sz="1400" dirty="0">
              <a:solidFill>
                <a:srgbClr val="00B050"/>
              </a:solidFill>
            </a:endParaRPr>
          </a:p>
          <a:p>
            <a:pPr algn="ctr">
              <a:spcBef>
                <a:spcPct val="0"/>
              </a:spcBef>
            </a:pPr>
            <a:endParaRPr lang="zh-CN" altLang="en-US" sz="1400" dirty="0">
              <a:solidFill>
                <a:srgbClr val="00B050"/>
              </a:solidFill>
            </a:endParaRPr>
          </a:p>
        </p:txBody>
      </p:sp>
      <p:cxnSp>
        <p:nvCxnSpPr>
          <p:cNvPr id="9" name="直接箭头连接符 8"/>
          <p:cNvCxnSpPr/>
          <p:nvPr/>
        </p:nvCxnSpPr>
        <p:spPr>
          <a:xfrm>
            <a:off x="2751055" y="3922906"/>
            <a:ext cx="1293659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箭头连接符 58"/>
          <p:cNvCxnSpPr/>
          <p:nvPr/>
        </p:nvCxnSpPr>
        <p:spPr>
          <a:xfrm>
            <a:off x="5394793" y="3922906"/>
            <a:ext cx="1293659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箭头连接符 59"/>
          <p:cNvCxnSpPr/>
          <p:nvPr/>
        </p:nvCxnSpPr>
        <p:spPr>
          <a:xfrm>
            <a:off x="8070136" y="3916232"/>
            <a:ext cx="1293659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íşlïďê"/>
          <p:cNvSpPr/>
          <p:nvPr/>
        </p:nvSpPr>
        <p:spPr bwMode="gray">
          <a:xfrm>
            <a:off x="7190177" y="3713015"/>
            <a:ext cx="405173" cy="406035"/>
          </a:xfrm>
          <a:custGeom>
            <a:avLst/>
            <a:gdLst>
              <a:gd name="T0" fmla="*/ 12123 w 12728"/>
              <a:gd name="T1" fmla="*/ 2794 h 12755"/>
              <a:gd name="T2" fmla="*/ 11574 w 12728"/>
              <a:gd name="T3" fmla="*/ 3342 h 12755"/>
              <a:gd name="T4" fmla="*/ 9386 w 12728"/>
              <a:gd name="T5" fmla="*/ 1151 h 12755"/>
              <a:gd name="T6" fmla="*/ 9932 w 12728"/>
              <a:gd name="T7" fmla="*/ 605 h 12755"/>
              <a:gd name="T8" fmla="*/ 12123 w 12728"/>
              <a:gd name="T9" fmla="*/ 605 h 12755"/>
              <a:gd name="T10" fmla="*/ 12123 w 12728"/>
              <a:gd name="T11" fmla="*/ 2794 h 12755"/>
              <a:gd name="T12" fmla="*/ 10479 w 12728"/>
              <a:gd name="T13" fmla="*/ 4436 h 12755"/>
              <a:gd name="T14" fmla="*/ 7742 w 12728"/>
              <a:gd name="T15" fmla="*/ 7169 h 12755"/>
              <a:gd name="T16" fmla="*/ 3926 w 12728"/>
              <a:gd name="T17" fmla="*/ 8827 h 12755"/>
              <a:gd name="T18" fmla="*/ 5551 w 12728"/>
              <a:gd name="T19" fmla="*/ 4980 h 12755"/>
              <a:gd name="T20" fmla="*/ 8290 w 12728"/>
              <a:gd name="T21" fmla="*/ 2245 h 12755"/>
              <a:gd name="T22" fmla="*/ 10479 w 12728"/>
              <a:gd name="T23" fmla="*/ 4436 h 12755"/>
              <a:gd name="T24" fmla="*/ 4711 w 12728"/>
              <a:gd name="T25" fmla="*/ 1735 h 12755"/>
              <a:gd name="T26" fmla="*/ 2356 w 12728"/>
              <a:gd name="T27" fmla="*/ 1735 h 12755"/>
              <a:gd name="T28" fmla="*/ 1570 w 12728"/>
              <a:gd name="T29" fmla="*/ 2522 h 12755"/>
              <a:gd name="T30" fmla="*/ 1570 w 12728"/>
              <a:gd name="T31" fmla="*/ 10392 h 12755"/>
              <a:gd name="T32" fmla="*/ 2356 w 12728"/>
              <a:gd name="T33" fmla="*/ 11179 h 12755"/>
              <a:gd name="T34" fmla="*/ 10210 w 12728"/>
              <a:gd name="T35" fmla="*/ 11179 h 12755"/>
              <a:gd name="T36" fmla="*/ 10995 w 12728"/>
              <a:gd name="T37" fmla="*/ 10392 h 12755"/>
              <a:gd name="T38" fmla="*/ 10995 w 12728"/>
              <a:gd name="T39" fmla="*/ 7245 h 12755"/>
              <a:gd name="T40" fmla="*/ 11780 w 12728"/>
              <a:gd name="T41" fmla="*/ 6458 h 12755"/>
              <a:gd name="T42" fmla="*/ 12565 w 12728"/>
              <a:gd name="T43" fmla="*/ 7245 h 12755"/>
              <a:gd name="T44" fmla="*/ 12565 w 12728"/>
              <a:gd name="T45" fmla="*/ 11181 h 12755"/>
              <a:gd name="T46" fmla="*/ 10995 w 12728"/>
              <a:gd name="T47" fmla="*/ 12755 h 12755"/>
              <a:gd name="T48" fmla="*/ 1570 w 12728"/>
              <a:gd name="T49" fmla="*/ 12755 h 12755"/>
              <a:gd name="T50" fmla="*/ 0 w 12728"/>
              <a:gd name="T51" fmla="*/ 11181 h 12755"/>
              <a:gd name="T52" fmla="*/ 0 w 12728"/>
              <a:gd name="T53" fmla="*/ 1735 h 12755"/>
              <a:gd name="T54" fmla="*/ 1570 w 12728"/>
              <a:gd name="T55" fmla="*/ 161 h 12755"/>
              <a:gd name="T56" fmla="*/ 4711 w 12728"/>
              <a:gd name="T57" fmla="*/ 161 h 12755"/>
              <a:gd name="T58" fmla="*/ 5496 w 12728"/>
              <a:gd name="T59" fmla="*/ 948 h 12755"/>
              <a:gd name="T60" fmla="*/ 4711 w 12728"/>
              <a:gd name="T61" fmla="*/ 1735 h 12755"/>
              <a:gd name="T62" fmla="*/ 4711 w 12728"/>
              <a:gd name="T63" fmla="*/ 1735 h 127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2728" h="12755">
                <a:moveTo>
                  <a:pt x="12123" y="2794"/>
                </a:moveTo>
                <a:lnTo>
                  <a:pt x="11574" y="3342"/>
                </a:lnTo>
                <a:lnTo>
                  <a:pt x="9386" y="1151"/>
                </a:lnTo>
                <a:lnTo>
                  <a:pt x="9932" y="605"/>
                </a:lnTo>
                <a:cubicBezTo>
                  <a:pt x="10537" y="0"/>
                  <a:pt x="11518" y="0"/>
                  <a:pt x="12123" y="605"/>
                </a:cubicBezTo>
                <a:cubicBezTo>
                  <a:pt x="12728" y="1208"/>
                  <a:pt x="12728" y="2189"/>
                  <a:pt x="12123" y="2794"/>
                </a:cubicBezTo>
                <a:close/>
                <a:moveTo>
                  <a:pt x="10479" y="4436"/>
                </a:moveTo>
                <a:lnTo>
                  <a:pt x="7742" y="7169"/>
                </a:lnTo>
                <a:lnTo>
                  <a:pt x="3926" y="8827"/>
                </a:lnTo>
                <a:lnTo>
                  <a:pt x="5551" y="4980"/>
                </a:lnTo>
                <a:lnTo>
                  <a:pt x="8290" y="2245"/>
                </a:lnTo>
                <a:lnTo>
                  <a:pt x="10479" y="4436"/>
                </a:lnTo>
                <a:close/>
                <a:moveTo>
                  <a:pt x="4711" y="1735"/>
                </a:moveTo>
                <a:lnTo>
                  <a:pt x="2356" y="1735"/>
                </a:lnTo>
                <a:cubicBezTo>
                  <a:pt x="1921" y="1735"/>
                  <a:pt x="1570" y="2088"/>
                  <a:pt x="1570" y="2522"/>
                </a:cubicBezTo>
                <a:lnTo>
                  <a:pt x="1570" y="10392"/>
                </a:lnTo>
                <a:cubicBezTo>
                  <a:pt x="1570" y="10826"/>
                  <a:pt x="1921" y="11179"/>
                  <a:pt x="2356" y="11179"/>
                </a:cubicBezTo>
                <a:lnTo>
                  <a:pt x="10210" y="11179"/>
                </a:lnTo>
                <a:cubicBezTo>
                  <a:pt x="10644" y="11179"/>
                  <a:pt x="10995" y="10826"/>
                  <a:pt x="10995" y="10392"/>
                </a:cubicBezTo>
                <a:lnTo>
                  <a:pt x="10995" y="7245"/>
                </a:lnTo>
                <a:cubicBezTo>
                  <a:pt x="10995" y="6811"/>
                  <a:pt x="11346" y="6458"/>
                  <a:pt x="11780" y="6458"/>
                </a:cubicBezTo>
                <a:cubicBezTo>
                  <a:pt x="12214" y="6458"/>
                  <a:pt x="12565" y="6811"/>
                  <a:pt x="12565" y="7245"/>
                </a:cubicBezTo>
                <a:lnTo>
                  <a:pt x="12565" y="11181"/>
                </a:lnTo>
                <a:cubicBezTo>
                  <a:pt x="12565" y="12049"/>
                  <a:pt x="11861" y="12755"/>
                  <a:pt x="10995" y="12755"/>
                </a:cubicBezTo>
                <a:lnTo>
                  <a:pt x="1570" y="12755"/>
                </a:lnTo>
                <a:cubicBezTo>
                  <a:pt x="704" y="12755"/>
                  <a:pt x="0" y="12051"/>
                  <a:pt x="0" y="11181"/>
                </a:cubicBezTo>
                <a:lnTo>
                  <a:pt x="0" y="1735"/>
                </a:lnTo>
                <a:cubicBezTo>
                  <a:pt x="0" y="866"/>
                  <a:pt x="704" y="161"/>
                  <a:pt x="1570" y="161"/>
                </a:cubicBezTo>
                <a:lnTo>
                  <a:pt x="4711" y="161"/>
                </a:lnTo>
                <a:cubicBezTo>
                  <a:pt x="5145" y="161"/>
                  <a:pt x="5496" y="514"/>
                  <a:pt x="5496" y="948"/>
                </a:cubicBezTo>
                <a:cubicBezTo>
                  <a:pt x="5496" y="1384"/>
                  <a:pt x="5145" y="1735"/>
                  <a:pt x="4711" y="1735"/>
                </a:cubicBezTo>
                <a:close/>
                <a:moveTo>
                  <a:pt x="4711" y="1735"/>
                </a:moveTo>
                <a:close/>
              </a:path>
            </a:pathLst>
          </a:custGeom>
          <a:solidFill>
            <a:schemeClr val="bg1"/>
          </a:solidFill>
          <a:ln w="28575"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</a:p>
        </p:txBody>
      </p:sp>
      <p:sp>
        <p:nvSpPr>
          <p:cNvPr id="69" name="iṩḷiḑè"/>
          <p:cNvSpPr txBox="1"/>
          <p:nvPr/>
        </p:nvSpPr>
        <p:spPr bwMode="auto">
          <a:xfrm>
            <a:off x="4972149" y="1259679"/>
            <a:ext cx="2898915" cy="39846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sz="2400" b="1" dirty="0">
                <a:solidFill>
                  <a:schemeClr val="bg1">
                    <a:lumMod val="95000"/>
                  </a:schemeClr>
                </a:solidFill>
              </a:rPr>
              <a:t>重金求赏</a:t>
            </a:r>
            <a:endParaRPr lang="zh-CN" altLang="en-US" sz="2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9" name="标题 1"/>
          <p:cNvSpPr txBox="1"/>
          <p:nvPr/>
        </p:nvSpPr>
        <p:spPr>
          <a:xfrm>
            <a:off x="5504523" y="884279"/>
            <a:ext cx="1283665" cy="243522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1200" b="0" dirty="0">
                <a:solidFill>
                  <a:schemeClr val="bg1"/>
                </a:solidFill>
              </a:rPr>
              <a:t>师徒链接形态</a:t>
            </a:r>
            <a:r>
              <a:rPr lang="en-US" altLang="zh-CN" sz="1200" b="0" dirty="0">
                <a:solidFill>
                  <a:schemeClr val="bg1"/>
                </a:solidFill>
              </a:rPr>
              <a:t>3</a:t>
            </a:r>
            <a:endParaRPr lang="zh-CN" altLang="en-US" sz="1200" b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262840" y="2258535"/>
            <a:ext cx="4621853" cy="1375181"/>
          </a:xfrm>
        </p:spPr>
        <p:txBody>
          <a:bodyPr anchor="ctr">
            <a:normAutofit/>
          </a:bodyPr>
          <a:lstStyle/>
          <a:p>
            <a:r>
              <a:rPr lang="zh-CN" altLang="en-US" sz="3600" dirty="0">
                <a:solidFill>
                  <a:srgbClr val="030157"/>
                </a:solidFill>
              </a:rPr>
              <a:t>产品方案</a:t>
            </a:r>
            <a:endParaRPr lang="en-US" altLang="zh-CN" sz="3600" dirty="0">
              <a:solidFill>
                <a:srgbClr val="030157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3177491" y="256707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70718" y="-16886"/>
            <a:ext cx="10850563" cy="1028699"/>
          </a:xfrm>
        </p:spPr>
        <p:txBody>
          <a:bodyPr/>
          <a:lstStyle/>
          <a:p>
            <a:r>
              <a:rPr lang="zh-CN" altLang="en-US" dirty="0"/>
              <a:t>产品信息价值</a:t>
            </a:r>
            <a:endParaRPr lang="zh-CN" altLang="en-US" dirty="0"/>
          </a:p>
        </p:txBody>
      </p:sp>
      <p:grpSp>
        <p:nvGrpSpPr>
          <p:cNvPr id="5" name="24676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138612" y="1704926"/>
            <a:ext cx="9684558" cy="3726925"/>
            <a:chOff x="673100" y="1704926"/>
            <a:chExt cx="9684558" cy="3726925"/>
          </a:xfrm>
        </p:grpSpPr>
        <p:cxnSp>
          <p:nvCxnSpPr>
            <p:cNvPr id="6" name="直接连接符 5"/>
            <p:cNvCxnSpPr/>
            <p:nvPr/>
          </p:nvCxnSpPr>
          <p:spPr>
            <a:xfrm>
              <a:off x="673100" y="3638550"/>
              <a:ext cx="9684558" cy="0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íṩḷíḍè"/>
            <p:cNvSpPr txBox="1"/>
            <p:nvPr/>
          </p:nvSpPr>
          <p:spPr bwMode="auto">
            <a:xfrm>
              <a:off x="1231154" y="3253830"/>
              <a:ext cx="813043" cy="7694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4400" b="1" dirty="0">
                  <a:solidFill>
                    <a:schemeClr val="bg1">
                      <a:lumMod val="85000"/>
                    </a:schemeClr>
                  </a:solidFill>
                </a:rPr>
                <a:t>01</a:t>
              </a:r>
              <a:endParaRPr lang="en-US" altLang="zh-CN" sz="4400" b="1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39" name="ïṡḷïdé"/>
            <p:cNvSpPr/>
            <p:nvPr/>
          </p:nvSpPr>
          <p:spPr>
            <a:xfrm>
              <a:off x="673100" y="4873797"/>
              <a:ext cx="558054" cy="558054"/>
            </a:xfrm>
            <a:prstGeom prst="ellipse">
              <a:avLst/>
            </a:prstGeom>
            <a:solidFill>
              <a:srgbClr val="FFC000"/>
            </a:solidFill>
            <a:ln w="3175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lnSpcReduction="10000"/>
            </a:bodyPr>
            <a:lstStyle/>
            <a:p>
              <a:pPr algn="ctr" defTabSz="913765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cxnSp>
          <p:nvCxnSpPr>
            <p:cNvPr id="10" name="直接连接符 9"/>
            <p:cNvCxnSpPr>
              <a:stCxn id="7" idx="2"/>
            </p:cNvCxnSpPr>
            <p:nvPr/>
          </p:nvCxnSpPr>
          <p:spPr>
            <a:xfrm>
              <a:off x="1637676" y="4023271"/>
              <a:ext cx="0" cy="624158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sysDash"/>
              <a:round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接连接符 10"/>
            <p:cNvCxnSpPr>
              <a:stCxn id="12" idx="0"/>
            </p:cNvCxnSpPr>
            <p:nvPr/>
          </p:nvCxnSpPr>
          <p:spPr>
            <a:xfrm flipV="1">
              <a:off x="4013417" y="2629673"/>
              <a:ext cx="0" cy="62415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sysDash"/>
              <a:round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ïṧ1ïďê"/>
            <p:cNvSpPr txBox="1"/>
            <p:nvPr/>
          </p:nvSpPr>
          <p:spPr bwMode="auto">
            <a:xfrm>
              <a:off x="3606895" y="3253829"/>
              <a:ext cx="813043" cy="7694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4400" b="1" dirty="0">
                  <a:solidFill>
                    <a:schemeClr val="bg1">
                      <a:lumMod val="85000"/>
                    </a:schemeClr>
                  </a:solidFill>
                </a:rPr>
                <a:t>02</a:t>
              </a:r>
              <a:endParaRPr lang="en-US" altLang="zh-CN" sz="4400" b="1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4" name="iṡḻiḋê"/>
            <p:cNvSpPr/>
            <p:nvPr/>
          </p:nvSpPr>
          <p:spPr>
            <a:xfrm>
              <a:off x="3048841" y="1704926"/>
              <a:ext cx="558054" cy="558054"/>
            </a:xfrm>
            <a:prstGeom prst="ellipse">
              <a:avLst/>
            </a:prstGeom>
            <a:solidFill>
              <a:schemeClr val="accent1"/>
            </a:solidFill>
            <a:ln w="3175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lnSpcReduction="10000"/>
            </a:bodyPr>
            <a:lstStyle/>
            <a:p>
              <a:pPr algn="ctr" defTabSz="913765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16" name="işḻíḓè"/>
            <p:cNvSpPr txBox="1"/>
            <p:nvPr/>
          </p:nvSpPr>
          <p:spPr bwMode="auto">
            <a:xfrm>
              <a:off x="5949387" y="3253830"/>
              <a:ext cx="813043" cy="7694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4400" b="1" dirty="0">
                  <a:solidFill>
                    <a:schemeClr val="bg1">
                      <a:lumMod val="85000"/>
                    </a:schemeClr>
                  </a:solidFill>
                </a:rPr>
                <a:t>03</a:t>
              </a:r>
              <a:endParaRPr lang="en-US" altLang="zh-CN" sz="4400" b="1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8" name="ïsliďè"/>
            <p:cNvSpPr/>
            <p:nvPr/>
          </p:nvSpPr>
          <p:spPr>
            <a:xfrm>
              <a:off x="5391333" y="4873797"/>
              <a:ext cx="558054" cy="558054"/>
            </a:xfrm>
            <a:prstGeom prst="ellipse">
              <a:avLst/>
            </a:prstGeom>
            <a:solidFill>
              <a:srgbClr val="C00000"/>
            </a:solidFill>
            <a:ln w="3175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lnSpcReduction="10000"/>
            </a:bodyPr>
            <a:lstStyle/>
            <a:p>
              <a:pPr algn="ctr" defTabSz="913765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cxnSp>
          <p:nvCxnSpPr>
            <p:cNvPr id="20" name="直接连接符 19"/>
            <p:cNvCxnSpPr>
              <a:stCxn id="16" idx="2"/>
            </p:cNvCxnSpPr>
            <p:nvPr/>
          </p:nvCxnSpPr>
          <p:spPr>
            <a:xfrm>
              <a:off x="6355909" y="4023271"/>
              <a:ext cx="0" cy="624158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sysDash"/>
              <a:round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íS1íḓé"/>
            <p:cNvSpPr txBox="1"/>
            <p:nvPr/>
          </p:nvSpPr>
          <p:spPr bwMode="auto">
            <a:xfrm>
              <a:off x="8258623" y="3253829"/>
              <a:ext cx="813043" cy="7694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4400" b="1" dirty="0">
                  <a:solidFill>
                    <a:schemeClr val="bg1">
                      <a:lumMod val="85000"/>
                    </a:schemeClr>
                  </a:solidFill>
                </a:rPr>
                <a:t>04</a:t>
              </a:r>
              <a:endParaRPr lang="en-US" altLang="zh-CN" sz="4400" b="1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23" name="iṣļíde"/>
            <p:cNvSpPr/>
            <p:nvPr/>
          </p:nvSpPr>
          <p:spPr>
            <a:xfrm>
              <a:off x="7700569" y="1704926"/>
              <a:ext cx="558054" cy="558054"/>
            </a:xfrm>
            <a:prstGeom prst="ellipse">
              <a:avLst/>
            </a:prstGeom>
            <a:solidFill>
              <a:srgbClr val="00B050"/>
            </a:solidFill>
            <a:ln w="3175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lnSpcReduction="10000"/>
            </a:bodyPr>
            <a:lstStyle/>
            <a:p>
              <a:pPr algn="ctr" defTabSz="913765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cxnSp>
          <p:nvCxnSpPr>
            <p:cNvPr id="25" name="直接连接符 24"/>
            <p:cNvCxnSpPr>
              <a:stCxn id="21" idx="0"/>
            </p:cNvCxnSpPr>
            <p:nvPr/>
          </p:nvCxnSpPr>
          <p:spPr>
            <a:xfrm flipV="1">
              <a:off x="8665145" y="2629673"/>
              <a:ext cx="0" cy="62415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sysDash"/>
              <a:round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ïŝľîdê"/>
          <p:cNvSpPr/>
          <p:nvPr/>
        </p:nvSpPr>
        <p:spPr bwMode="auto">
          <a:xfrm>
            <a:off x="1735123" y="5162451"/>
            <a:ext cx="3279774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行业认知、晋升方向、收入预览、</a:t>
            </a:r>
            <a:endParaRPr lang="en-US" altLang="zh-CN" sz="140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生活环境、个人诉求</a:t>
            </a:r>
            <a:endParaRPr lang="zh-CN" altLang="en-US" sz="140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46" name="ïṩľiḍé"/>
          <p:cNvSpPr txBox="1"/>
          <p:nvPr/>
        </p:nvSpPr>
        <p:spPr bwMode="auto">
          <a:xfrm>
            <a:off x="1735123" y="4778062"/>
            <a:ext cx="3279774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800" b="1" dirty="0"/>
              <a:t>初步沟通</a:t>
            </a:r>
            <a:endParaRPr lang="zh-CN" altLang="en-US" sz="1800" b="1" dirty="0"/>
          </a:p>
        </p:txBody>
      </p:sp>
      <p:sp>
        <p:nvSpPr>
          <p:cNvPr id="47" name="ïŝľîdê"/>
          <p:cNvSpPr/>
          <p:nvPr/>
        </p:nvSpPr>
        <p:spPr bwMode="auto">
          <a:xfrm>
            <a:off x="4105027" y="2025301"/>
            <a:ext cx="3279774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答疑解惑、路径规划、核心竞争力、</a:t>
            </a:r>
            <a:endParaRPr lang="en-US" altLang="zh-CN" sz="140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风险警示</a:t>
            </a:r>
            <a:endParaRPr lang="zh-CN" altLang="en-US" sz="140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48" name="ïṩľiḍé"/>
          <p:cNvSpPr txBox="1"/>
          <p:nvPr/>
        </p:nvSpPr>
        <p:spPr bwMode="auto">
          <a:xfrm>
            <a:off x="4105027" y="1647907"/>
            <a:ext cx="3279774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800" b="1" dirty="0"/>
              <a:t>合同签订</a:t>
            </a:r>
            <a:endParaRPr lang="zh-CN" altLang="en-US" sz="1800" b="1" dirty="0"/>
          </a:p>
        </p:txBody>
      </p:sp>
      <p:sp>
        <p:nvSpPr>
          <p:cNvPr id="49" name="ïṩľiḍé"/>
          <p:cNvSpPr txBox="1"/>
          <p:nvPr/>
        </p:nvSpPr>
        <p:spPr bwMode="auto">
          <a:xfrm>
            <a:off x="6458749" y="4780399"/>
            <a:ext cx="3279774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800" b="1" dirty="0"/>
              <a:t>求职过程</a:t>
            </a:r>
            <a:endParaRPr lang="zh-CN" altLang="en-US" sz="1800" b="1" dirty="0"/>
          </a:p>
        </p:txBody>
      </p:sp>
      <p:sp>
        <p:nvSpPr>
          <p:cNvPr id="50" name="ïŝľîdê"/>
          <p:cNvSpPr/>
          <p:nvPr/>
        </p:nvSpPr>
        <p:spPr bwMode="auto">
          <a:xfrm>
            <a:off x="6458749" y="5171372"/>
            <a:ext cx="3279774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自学核心技能、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简历美化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、面试准备、</a:t>
            </a:r>
            <a:endParaRPr lang="en-US" altLang="zh-CN" sz="140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面试技巧、入职套路</a:t>
            </a:r>
            <a:endParaRPr lang="zh-CN" altLang="en-US" sz="140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51" name="ïṩľiḍé"/>
          <p:cNvSpPr txBox="1"/>
          <p:nvPr/>
        </p:nvSpPr>
        <p:spPr bwMode="auto">
          <a:xfrm>
            <a:off x="8804833" y="1631708"/>
            <a:ext cx="3279774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800" b="1" dirty="0"/>
              <a:t>入职之后</a:t>
            </a:r>
            <a:endParaRPr lang="zh-CN" altLang="en-US" sz="1800" b="1" dirty="0"/>
          </a:p>
        </p:txBody>
      </p:sp>
      <p:sp>
        <p:nvSpPr>
          <p:cNvPr id="52" name="ïŝľîdê"/>
          <p:cNvSpPr/>
          <p:nvPr/>
        </p:nvSpPr>
        <p:spPr bwMode="auto">
          <a:xfrm>
            <a:off x="8804833" y="2022681"/>
            <a:ext cx="3059229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职场社交、再深造、方向指引、</a:t>
            </a:r>
            <a:endParaRPr lang="en-US" altLang="zh-CN" sz="140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鼓励与安慰</a:t>
            </a:r>
            <a:endParaRPr lang="en-US" altLang="zh-CN" sz="140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53" name="ïślíḓè"/>
          <p:cNvSpPr/>
          <p:nvPr/>
        </p:nvSpPr>
        <p:spPr bwMode="auto">
          <a:xfrm>
            <a:off x="1316796" y="5041431"/>
            <a:ext cx="201685" cy="222786"/>
          </a:xfrm>
          <a:custGeom>
            <a:avLst/>
            <a:gdLst>
              <a:gd name="connsiteX0" fmla="*/ 485820 w 551045"/>
              <a:gd name="connsiteY0" fmla="*/ 430096 h 608697"/>
              <a:gd name="connsiteX1" fmla="*/ 550987 w 551045"/>
              <a:gd name="connsiteY1" fmla="*/ 492317 h 608697"/>
              <a:gd name="connsiteX2" fmla="*/ 551045 w 551045"/>
              <a:gd name="connsiteY2" fmla="*/ 492490 h 608697"/>
              <a:gd name="connsiteX3" fmla="*/ 550987 w 551045"/>
              <a:gd name="connsiteY3" fmla="*/ 493813 h 608697"/>
              <a:gd name="connsiteX4" fmla="*/ 551045 w 551045"/>
              <a:gd name="connsiteY4" fmla="*/ 495193 h 608697"/>
              <a:gd name="connsiteX5" fmla="*/ 485820 w 551045"/>
              <a:gd name="connsiteY5" fmla="*/ 560289 h 608697"/>
              <a:gd name="connsiteX6" fmla="*/ 421862 w 551045"/>
              <a:gd name="connsiteY6" fmla="*/ 507902 h 608697"/>
              <a:gd name="connsiteX7" fmla="*/ 420134 w 551045"/>
              <a:gd name="connsiteY7" fmla="*/ 494560 h 608697"/>
              <a:gd name="connsiteX8" fmla="*/ 422611 w 551045"/>
              <a:gd name="connsiteY8" fmla="*/ 479034 h 608697"/>
              <a:gd name="connsiteX9" fmla="*/ 485820 w 551045"/>
              <a:gd name="connsiteY9" fmla="*/ 430096 h 608697"/>
              <a:gd name="connsiteX10" fmla="*/ 485137 w 551045"/>
              <a:gd name="connsiteY10" fmla="*/ 236253 h 608697"/>
              <a:gd name="connsiteX11" fmla="*/ 551045 w 551045"/>
              <a:gd name="connsiteY11" fmla="*/ 302055 h 608697"/>
              <a:gd name="connsiteX12" fmla="*/ 485137 w 551045"/>
              <a:gd name="connsiteY12" fmla="*/ 367857 h 608697"/>
              <a:gd name="connsiteX13" fmla="*/ 419229 w 551045"/>
              <a:gd name="connsiteY13" fmla="*/ 302055 h 608697"/>
              <a:gd name="connsiteX14" fmla="*/ 485137 w 551045"/>
              <a:gd name="connsiteY14" fmla="*/ 236253 h 608697"/>
              <a:gd name="connsiteX15" fmla="*/ 45513 w 551045"/>
              <a:gd name="connsiteY15" fmla="*/ 160819 h 608697"/>
              <a:gd name="connsiteX16" fmla="*/ 62048 w 551045"/>
              <a:gd name="connsiteY16" fmla="*/ 160819 h 608697"/>
              <a:gd name="connsiteX17" fmla="*/ 78583 w 551045"/>
              <a:gd name="connsiteY17" fmla="*/ 243365 h 608697"/>
              <a:gd name="connsiteX18" fmla="*/ 98228 w 551045"/>
              <a:gd name="connsiteY18" fmla="*/ 243365 h 608697"/>
              <a:gd name="connsiteX19" fmla="*/ 103356 w 551045"/>
              <a:gd name="connsiteY19" fmla="*/ 187625 h 608697"/>
              <a:gd name="connsiteX20" fmla="*/ 102722 w 551045"/>
              <a:gd name="connsiteY20" fmla="*/ 184634 h 608697"/>
              <a:gd name="connsiteX21" fmla="*/ 94368 w 551045"/>
              <a:gd name="connsiteY21" fmla="*/ 163293 h 608697"/>
              <a:gd name="connsiteX22" fmla="*/ 93331 w 551045"/>
              <a:gd name="connsiteY22" fmla="*/ 161107 h 608697"/>
              <a:gd name="connsiteX23" fmla="*/ 93389 w 551045"/>
              <a:gd name="connsiteY23" fmla="*/ 161107 h 608697"/>
              <a:gd name="connsiteX24" fmla="*/ 93274 w 551045"/>
              <a:gd name="connsiteY24" fmla="*/ 160819 h 608697"/>
              <a:gd name="connsiteX25" fmla="*/ 137347 w 551045"/>
              <a:gd name="connsiteY25" fmla="*/ 160819 h 608697"/>
              <a:gd name="connsiteX26" fmla="*/ 137232 w 551045"/>
              <a:gd name="connsiteY26" fmla="*/ 161107 h 608697"/>
              <a:gd name="connsiteX27" fmla="*/ 137404 w 551045"/>
              <a:gd name="connsiteY27" fmla="*/ 161107 h 608697"/>
              <a:gd name="connsiteX28" fmla="*/ 136367 w 551045"/>
              <a:gd name="connsiteY28" fmla="*/ 163293 h 608697"/>
              <a:gd name="connsiteX29" fmla="*/ 127322 w 551045"/>
              <a:gd name="connsiteY29" fmla="*/ 187913 h 608697"/>
              <a:gd name="connsiteX30" fmla="*/ 132450 w 551045"/>
              <a:gd name="connsiteY30" fmla="*/ 243365 h 608697"/>
              <a:gd name="connsiteX31" fmla="*/ 152038 w 551045"/>
              <a:gd name="connsiteY31" fmla="*/ 243365 h 608697"/>
              <a:gd name="connsiteX32" fmla="*/ 168630 w 551045"/>
              <a:gd name="connsiteY32" fmla="*/ 160819 h 608697"/>
              <a:gd name="connsiteX33" fmla="*/ 185165 w 551045"/>
              <a:gd name="connsiteY33" fmla="*/ 160819 h 608697"/>
              <a:gd name="connsiteX34" fmla="*/ 230678 w 551045"/>
              <a:gd name="connsiteY34" fmla="*/ 206263 h 608697"/>
              <a:gd name="connsiteX35" fmla="*/ 230678 w 551045"/>
              <a:gd name="connsiteY35" fmla="*/ 338682 h 608697"/>
              <a:gd name="connsiteX36" fmla="*/ 185165 w 551045"/>
              <a:gd name="connsiteY36" fmla="*/ 384125 h 608697"/>
              <a:gd name="connsiteX37" fmla="*/ 179346 w 551045"/>
              <a:gd name="connsiteY37" fmla="*/ 384125 h 608697"/>
              <a:gd name="connsiteX38" fmla="*/ 179346 w 551045"/>
              <a:gd name="connsiteY38" fmla="*/ 576599 h 608697"/>
              <a:gd name="connsiteX39" fmla="*/ 147256 w 551045"/>
              <a:gd name="connsiteY39" fmla="*/ 608697 h 608697"/>
              <a:gd name="connsiteX40" fmla="*/ 115339 w 551045"/>
              <a:gd name="connsiteY40" fmla="*/ 580223 h 608697"/>
              <a:gd name="connsiteX41" fmla="*/ 83422 w 551045"/>
              <a:gd name="connsiteY41" fmla="*/ 608697 h 608697"/>
              <a:gd name="connsiteX42" fmla="*/ 51332 w 551045"/>
              <a:gd name="connsiteY42" fmla="*/ 576599 h 608697"/>
              <a:gd name="connsiteX43" fmla="*/ 51332 w 551045"/>
              <a:gd name="connsiteY43" fmla="*/ 384125 h 608697"/>
              <a:gd name="connsiteX44" fmla="*/ 45513 w 551045"/>
              <a:gd name="connsiteY44" fmla="*/ 384125 h 608697"/>
              <a:gd name="connsiteX45" fmla="*/ 0 w 551045"/>
              <a:gd name="connsiteY45" fmla="*/ 338682 h 608697"/>
              <a:gd name="connsiteX46" fmla="*/ 0 w 551045"/>
              <a:gd name="connsiteY46" fmla="*/ 206263 h 608697"/>
              <a:gd name="connsiteX47" fmla="*/ 45513 w 551045"/>
              <a:gd name="connsiteY47" fmla="*/ 160819 h 608697"/>
              <a:gd name="connsiteX48" fmla="*/ 400710 w 551045"/>
              <a:gd name="connsiteY48" fmla="*/ 89618 h 608697"/>
              <a:gd name="connsiteX49" fmla="*/ 400710 w 551045"/>
              <a:gd name="connsiteY49" fmla="*/ 134086 h 608697"/>
              <a:gd name="connsiteX50" fmla="*/ 355362 w 551045"/>
              <a:gd name="connsiteY50" fmla="*/ 179359 h 608697"/>
              <a:gd name="connsiteX51" fmla="*/ 355362 w 551045"/>
              <a:gd name="connsiteY51" fmla="*/ 279857 h 608697"/>
              <a:gd name="connsiteX52" fmla="*/ 401517 w 551045"/>
              <a:gd name="connsiteY52" fmla="*/ 279857 h 608697"/>
              <a:gd name="connsiteX53" fmla="*/ 401517 w 551045"/>
              <a:gd name="connsiteY53" fmla="*/ 324325 h 608697"/>
              <a:gd name="connsiteX54" fmla="*/ 355362 w 551045"/>
              <a:gd name="connsiteY54" fmla="*/ 324325 h 608697"/>
              <a:gd name="connsiteX55" fmla="*/ 355362 w 551045"/>
              <a:gd name="connsiteY55" fmla="*/ 424823 h 608697"/>
              <a:gd name="connsiteX56" fmla="*/ 400710 w 551045"/>
              <a:gd name="connsiteY56" fmla="*/ 470038 h 608697"/>
              <a:gd name="connsiteX57" fmla="*/ 400710 w 551045"/>
              <a:gd name="connsiteY57" fmla="*/ 514563 h 608697"/>
              <a:gd name="connsiteX58" fmla="*/ 310820 w 551045"/>
              <a:gd name="connsiteY58" fmla="*/ 424823 h 608697"/>
              <a:gd name="connsiteX59" fmla="*/ 310820 w 551045"/>
              <a:gd name="connsiteY59" fmla="*/ 324325 h 608697"/>
              <a:gd name="connsiteX60" fmla="*/ 270830 w 551045"/>
              <a:gd name="connsiteY60" fmla="*/ 324325 h 608697"/>
              <a:gd name="connsiteX61" fmla="*/ 270830 w 551045"/>
              <a:gd name="connsiteY61" fmla="*/ 279857 h 608697"/>
              <a:gd name="connsiteX62" fmla="*/ 310820 w 551045"/>
              <a:gd name="connsiteY62" fmla="*/ 279857 h 608697"/>
              <a:gd name="connsiteX63" fmla="*/ 310820 w 551045"/>
              <a:gd name="connsiteY63" fmla="*/ 179359 h 608697"/>
              <a:gd name="connsiteX64" fmla="*/ 400710 w 551045"/>
              <a:gd name="connsiteY64" fmla="*/ 89618 h 608697"/>
              <a:gd name="connsiteX65" fmla="*/ 487441 w 551045"/>
              <a:gd name="connsiteY65" fmla="*/ 44033 h 608697"/>
              <a:gd name="connsiteX66" fmla="*/ 487729 w 551045"/>
              <a:gd name="connsiteY66" fmla="*/ 44148 h 608697"/>
              <a:gd name="connsiteX67" fmla="*/ 550282 w 551045"/>
              <a:gd name="connsiteY67" fmla="*/ 107206 h 608697"/>
              <a:gd name="connsiteX68" fmla="*/ 550340 w 551045"/>
              <a:gd name="connsiteY68" fmla="*/ 107897 h 608697"/>
              <a:gd name="connsiteX69" fmla="*/ 550340 w 551045"/>
              <a:gd name="connsiteY69" fmla="*/ 108760 h 608697"/>
              <a:gd name="connsiteX70" fmla="*/ 550340 w 551045"/>
              <a:gd name="connsiteY70" fmla="*/ 109220 h 608697"/>
              <a:gd name="connsiteX71" fmla="*/ 550340 w 551045"/>
              <a:gd name="connsiteY71" fmla="*/ 109680 h 608697"/>
              <a:gd name="connsiteX72" fmla="*/ 550282 w 551045"/>
              <a:gd name="connsiteY72" fmla="*/ 111867 h 608697"/>
              <a:gd name="connsiteX73" fmla="*/ 550167 w 551045"/>
              <a:gd name="connsiteY73" fmla="*/ 113420 h 608697"/>
              <a:gd name="connsiteX74" fmla="*/ 550167 w 551045"/>
              <a:gd name="connsiteY74" fmla="*/ 113938 h 608697"/>
              <a:gd name="connsiteX75" fmla="*/ 485137 w 551045"/>
              <a:gd name="connsiteY75" fmla="*/ 174349 h 608697"/>
              <a:gd name="connsiteX76" fmla="*/ 484158 w 551045"/>
              <a:gd name="connsiteY76" fmla="*/ 174292 h 608697"/>
              <a:gd name="connsiteX77" fmla="*/ 467685 w 551045"/>
              <a:gd name="connsiteY77" fmla="*/ 171933 h 608697"/>
              <a:gd name="connsiteX78" fmla="*/ 419993 w 551045"/>
              <a:gd name="connsiteY78" fmla="*/ 110428 h 608697"/>
              <a:gd name="connsiteX79" fmla="*/ 419935 w 551045"/>
              <a:gd name="connsiteY79" fmla="*/ 110083 h 608697"/>
              <a:gd name="connsiteX80" fmla="*/ 419993 w 551045"/>
              <a:gd name="connsiteY80" fmla="*/ 109680 h 608697"/>
              <a:gd name="connsiteX81" fmla="*/ 419935 w 551045"/>
              <a:gd name="connsiteY81" fmla="*/ 109220 h 608697"/>
              <a:gd name="connsiteX82" fmla="*/ 419993 w 551045"/>
              <a:gd name="connsiteY82" fmla="*/ 108530 h 608697"/>
              <a:gd name="connsiteX83" fmla="*/ 419993 w 551045"/>
              <a:gd name="connsiteY83" fmla="*/ 106516 h 608697"/>
              <a:gd name="connsiteX84" fmla="*/ 485137 w 551045"/>
              <a:gd name="connsiteY84" fmla="*/ 44090 h 608697"/>
              <a:gd name="connsiteX85" fmla="*/ 486001 w 551045"/>
              <a:gd name="connsiteY85" fmla="*/ 44090 h 608697"/>
              <a:gd name="connsiteX86" fmla="*/ 487441 w 551045"/>
              <a:gd name="connsiteY86" fmla="*/ 44033 h 608697"/>
              <a:gd name="connsiteX87" fmla="*/ 114993 w 551045"/>
              <a:gd name="connsiteY87" fmla="*/ 748 h 608697"/>
              <a:gd name="connsiteX88" fmla="*/ 115281 w 551045"/>
              <a:gd name="connsiteY88" fmla="*/ 748 h 608697"/>
              <a:gd name="connsiteX89" fmla="*/ 115569 w 551045"/>
              <a:gd name="connsiteY89" fmla="*/ 748 h 608697"/>
              <a:gd name="connsiteX90" fmla="*/ 179403 w 551045"/>
              <a:gd name="connsiteY90" fmla="*/ 50176 h 608697"/>
              <a:gd name="connsiteX91" fmla="*/ 181534 w 551045"/>
              <a:gd name="connsiteY91" fmla="*/ 66863 h 608697"/>
              <a:gd name="connsiteX92" fmla="*/ 115685 w 551045"/>
              <a:gd name="connsiteY92" fmla="*/ 132634 h 608697"/>
              <a:gd name="connsiteX93" fmla="*/ 115397 w 551045"/>
              <a:gd name="connsiteY93" fmla="*/ 132634 h 608697"/>
              <a:gd name="connsiteX94" fmla="*/ 115109 w 551045"/>
              <a:gd name="connsiteY94" fmla="*/ 132634 h 608697"/>
              <a:gd name="connsiteX95" fmla="*/ 51275 w 551045"/>
              <a:gd name="connsiteY95" fmla="*/ 83262 h 608697"/>
              <a:gd name="connsiteX96" fmla="*/ 49144 w 551045"/>
              <a:gd name="connsiteY96" fmla="*/ 66575 h 608697"/>
              <a:gd name="connsiteX97" fmla="*/ 114993 w 551045"/>
              <a:gd name="connsiteY97" fmla="*/ 748 h 608697"/>
              <a:gd name="connsiteX98" fmla="*/ 114958 w 551045"/>
              <a:gd name="connsiteY98" fmla="*/ 423 h 608697"/>
              <a:gd name="connsiteX99" fmla="*/ 48690 w 551045"/>
              <a:gd name="connsiteY99" fmla="*/ 66575 h 608697"/>
              <a:gd name="connsiteX100" fmla="*/ 50822 w 551045"/>
              <a:gd name="connsiteY100" fmla="*/ 83372 h 608697"/>
              <a:gd name="connsiteX101" fmla="*/ 115073 w 551045"/>
              <a:gd name="connsiteY101" fmla="*/ 133015 h 608697"/>
              <a:gd name="connsiteX102" fmla="*/ 115361 w 551045"/>
              <a:gd name="connsiteY102" fmla="*/ 133015 h 608697"/>
              <a:gd name="connsiteX103" fmla="*/ 115649 w 551045"/>
              <a:gd name="connsiteY103" fmla="*/ 133015 h 608697"/>
              <a:gd name="connsiteX104" fmla="*/ 181917 w 551045"/>
              <a:gd name="connsiteY104" fmla="*/ 66863 h 608697"/>
              <a:gd name="connsiteX105" fmla="*/ 179785 w 551045"/>
              <a:gd name="connsiteY105" fmla="*/ 50066 h 608697"/>
              <a:gd name="connsiteX106" fmla="*/ 115534 w 551045"/>
              <a:gd name="connsiteY106" fmla="*/ 423 h 608697"/>
              <a:gd name="connsiteX107" fmla="*/ 115246 w 551045"/>
              <a:gd name="connsiteY107" fmla="*/ 423 h 608697"/>
              <a:gd name="connsiteX108" fmla="*/ 114958 w 551045"/>
              <a:gd name="connsiteY108" fmla="*/ 423 h 608697"/>
              <a:gd name="connsiteX109" fmla="*/ 114993 w 551045"/>
              <a:gd name="connsiteY109" fmla="*/ 0 h 608697"/>
              <a:gd name="connsiteX110" fmla="*/ 115281 w 551045"/>
              <a:gd name="connsiteY110" fmla="*/ 0 h 608697"/>
              <a:gd name="connsiteX111" fmla="*/ 115569 w 551045"/>
              <a:gd name="connsiteY111" fmla="*/ 0 h 608697"/>
              <a:gd name="connsiteX112" fmla="*/ 180152 w 551045"/>
              <a:gd name="connsiteY112" fmla="*/ 49946 h 608697"/>
              <a:gd name="connsiteX113" fmla="*/ 182341 w 551045"/>
              <a:gd name="connsiteY113" fmla="*/ 66863 h 608697"/>
              <a:gd name="connsiteX114" fmla="*/ 115685 w 551045"/>
              <a:gd name="connsiteY114" fmla="*/ 133439 h 608697"/>
              <a:gd name="connsiteX115" fmla="*/ 115397 w 551045"/>
              <a:gd name="connsiteY115" fmla="*/ 133439 h 608697"/>
              <a:gd name="connsiteX116" fmla="*/ 115109 w 551045"/>
              <a:gd name="connsiteY116" fmla="*/ 133439 h 608697"/>
              <a:gd name="connsiteX117" fmla="*/ 50526 w 551045"/>
              <a:gd name="connsiteY117" fmla="*/ 83493 h 608697"/>
              <a:gd name="connsiteX118" fmla="*/ 48337 w 551045"/>
              <a:gd name="connsiteY118" fmla="*/ 66575 h 608697"/>
              <a:gd name="connsiteX119" fmla="*/ 114993 w 551045"/>
              <a:gd name="connsiteY119" fmla="*/ 0 h 608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551045" h="608697">
                <a:moveTo>
                  <a:pt x="485820" y="430096"/>
                </a:moveTo>
                <a:cubicBezTo>
                  <a:pt x="520910" y="430096"/>
                  <a:pt x="549489" y="457699"/>
                  <a:pt x="550987" y="492317"/>
                </a:cubicBezTo>
                <a:cubicBezTo>
                  <a:pt x="550987" y="492375"/>
                  <a:pt x="551045" y="492432"/>
                  <a:pt x="551045" y="492490"/>
                </a:cubicBezTo>
                <a:cubicBezTo>
                  <a:pt x="551045" y="492950"/>
                  <a:pt x="551045" y="493353"/>
                  <a:pt x="550987" y="493813"/>
                </a:cubicBezTo>
                <a:cubicBezTo>
                  <a:pt x="551045" y="494273"/>
                  <a:pt x="551045" y="494733"/>
                  <a:pt x="551045" y="495193"/>
                </a:cubicBezTo>
                <a:cubicBezTo>
                  <a:pt x="551045" y="531134"/>
                  <a:pt x="521832" y="560289"/>
                  <a:pt x="485820" y="560289"/>
                </a:cubicBezTo>
                <a:cubicBezTo>
                  <a:pt x="454129" y="560289"/>
                  <a:pt x="427739" y="537747"/>
                  <a:pt x="421862" y="507902"/>
                </a:cubicBezTo>
                <a:cubicBezTo>
                  <a:pt x="420710" y="503474"/>
                  <a:pt x="420076" y="499046"/>
                  <a:pt x="420134" y="494560"/>
                </a:cubicBezTo>
                <a:cubicBezTo>
                  <a:pt x="420134" y="489385"/>
                  <a:pt x="421056" y="484152"/>
                  <a:pt x="422611" y="479034"/>
                </a:cubicBezTo>
                <a:cubicBezTo>
                  <a:pt x="429814" y="450913"/>
                  <a:pt x="455397" y="430096"/>
                  <a:pt x="485820" y="430096"/>
                </a:cubicBezTo>
                <a:close/>
                <a:moveTo>
                  <a:pt x="485137" y="236253"/>
                </a:moveTo>
                <a:cubicBezTo>
                  <a:pt x="521537" y="236253"/>
                  <a:pt x="551045" y="265714"/>
                  <a:pt x="551045" y="302055"/>
                </a:cubicBezTo>
                <a:cubicBezTo>
                  <a:pt x="551045" y="338396"/>
                  <a:pt x="521537" y="367857"/>
                  <a:pt x="485137" y="367857"/>
                </a:cubicBezTo>
                <a:cubicBezTo>
                  <a:pt x="448737" y="367857"/>
                  <a:pt x="419229" y="338396"/>
                  <a:pt x="419229" y="302055"/>
                </a:cubicBezTo>
                <a:cubicBezTo>
                  <a:pt x="419229" y="265714"/>
                  <a:pt x="448737" y="236253"/>
                  <a:pt x="485137" y="236253"/>
                </a:cubicBezTo>
                <a:close/>
                <a:moveTo>
                  <a:pt x="45513" y="160819"/>
                </a:moveTo>
                <a:lnTo>
                  <a:pt x="62048" y="160819"/>
                </a:lnTo>
                <a:lnTo>
                  <a:pt x="78583" y="243365"/>
                </a:lnTo>
                <a:lnTo>
                  <a:pt x="98228" y="243365"/>
                </a:lnTo>
                <a:lnTo>
                  <a:pt x="103356" y="187625"/>
                </a:lnTo>
                <a:cubicBezTo>
                  <a:pt x="103183" y="186647"/>
                  <a:pt x="102952" y="185612"/>
                  <a:pt x="102722" y="184634"/>
                </a:cubicBezTo>
                <a:cubicBezTo>
                  <a:pt x="100936" y="177386"/>
                  <a:pt x="97767" y="170483"/>
                  <a:pt x="94368" y="163293"/>
                </a:cubicBezTo>
                <a:cubicBezTo>
                  <a:pt x="94368" y="163293"/>
                  <a:pt x="93677" y="161855"/>
                  <a:pt x="93331" y="161107"/>
                </a:cubicBezTo>
                <a:lnTo>
                  <a:pt x="93389" y="161107"/>
                </a:lnTo>
                <a:cubicBezTo>
                  <a:pt x="93331" y="160992"/>
                  <a:pt x="93274" y="160877"/>
                  <a:pt x="93274" y="160819"/>
                </a:cubicBezTo>
                <a:lnTo>
                  <a:pt x="137347" y="160819"/>
                </a:lnTo>
                <a:cubicBezTo>
                  <a:pt x="137289" y="160877"/>
                  <a:pt x="137232" y="160992"/>
                  <a:pt x="137232" y="161107"/>
                </a:cubicBezTo>
                <a:lnTo>
                  <a:pt x="137404" y="161107"/>
                </a:lnTo>
                <a:cubicBezTo>
                  <a:pt x="137059" y="161855"/>
                  <a:pt x="136367" y="163293"/>
                  <a:pt x="136367" y="163293"/>
                </a:cubicBezTo>
                <a:cubicBezTo>
                  <a:pt x="132507" y="171576"/>
                  <a:pt x="128820" y="179514"/>
                  <a:pt x="127322" y="187913"/>
                </a:cubicBezTo>
                <a:lnTo>
                  <a:pt x="132450" y="243365"/>
                </a:lnTo>
                <a:lnTo>
                  <a:pt x="152038" y="243365"/>
                </a:lnTo>
                <a:lnTo>
                  <a:pt x="168630" y="160819"/>
                </a:lnTo>
                <a:lnTo>
                  <a:pt x="185165" y="160819"/>
                </a:lnTo>
                <a:cubicBezTo>
                  <a:pt x="210283" y="160819"/>
                  <a:pt x="230678" y="181125"/>
                  <a:pt x="230678" y="206263"/>
                </a:cubicBezTo>
                <a:lnTo>
                  <a:pt x="230678" y="338682"/>
                </a:lnTo>
                <a:cubicBezTo>
                  <a:pt x="230678" y="363820"/>
                  <a:pt x="210283" y="384125"/>
                  <a:pt x="185165" y="384125"/>
                </a:cubicBezTo>
                <a:lnTo>
                  <a:pt x="179346" y="384125"/>
                </a:lnTo>
                <a:lnTo>
                  <a:pt x="179346" y="576599"/>
                </a:lnTo>
                <a:cubicBezTo>
                  <a:pt x="179346" y="594316"/>
                  <a:pt x="165000" y="608697"/>
                  <a:pt x="147256" y="608697"/>
                </a:cubicBezTo>
                <a:cubicBezTo>
                  <a:pt x="130721" y="608697"/>
                  <a:pt x="117125" y="596215"/>
                  <a:pt x="115339" y="580223"/>
                </a:cubicBezTo>
                <a:cubicBezTo>
                  <a:pt x="113553" y="596215"/>
                  <a:pt x="99957" y="608697"/>
                  <a:pt x="83422" y="608697"/>
                </a:cubicBezTo>
                <a:cubicBezTo>
                  <a:pt x="65678" y="608697"/>
                  <a:pt x="51332" y="594316"/>
                  <a:pt x="51332" y="576599"/>
                </a:cubicBezTo>
                <a:lnTo>
                  <a:pt x="51332" y="384125"/>
                </a:lnTo>
                <a:lnTo>
                  <a:pt x="45513" y="384125"/>
                </a:lnTo>
                <a:cubicBezTo>
                  <a:pt x="20395" y="384125"/>
                  <a:pt x="0" y="363820"/>
                  <a:pt x="0" y="338682"/>
                </a:cubicBezTo>
                <a:lnTo>
                  <a:pt x="0" y="206263"/>
                </a:lnTo>
                <a:cubicBezTo>
                  <a:pt x="0" y="181125"/>
                  <a:pt x="20395" y="160819"/>
                  <a:pt x="45513" y="160819"/>
                </a:cubicBezTo>
                <a:close/>
                <a:moveTo>
                  <a:pt x="400710" y="89618"/>
                </a:moveTo>
                <a:lnTo>
                  <a:pt x="400710" y="134086"/>
                </a:lnTo>
                <a:cubicBezTo>
                  <a:pt x="375702" y="134086"/>
                  <a:pt x="355362" y="154393"/>
                  <a:pt x="355362" y="179359"/>
                </a:cubicBezTo>
                <a:lnTo>
                  <a:pt x="355362" y="279857"/>
                </a:lnTo>
                <a:lnTo>
                  <a:pt x="401517" y="279857"/>
                </a:lnTo>
                <a:lnTo>
                  <a:pt x="401517" y="324325"/>
                </a:lnTo>
                <a:lnTo>
                  <a:pt x="355362" y="324325"/>
                </a:lnTo>
                <a:lnTo>
                  <a:pt x="355362" y="424823"/>
                </a:lnTo>
                <a:cubicBezTo>
                  <a:pt x="355362" y="449731"/>
                  <a:pt x="375702" y="470038"/>
                  <a:pt x="400710" y="470038"/>
                </a:cubicBezTo>
                <a:lnTo>
                  <a:pt x="400710" y="514563"/>
                </a:lnTo>
                <a:cubicBezTo>
                  <a:pt x="351155" y="514563"/>
                  <a:pt x="310820" y="474295"/>
                  <a:pt x="310820" y="424823"/>
                </a:cubicBezTo>
                <a:lnTo>
                  <a:pt x="310820" y="324325"/>
                </a:lnTo>
                <a:lnTo>
                  <a:pt x="270830" y="324325"/>
                </a:lnTo>
                <a:lnTo>
                  <a:pt x="270830" y="279857"/>
                </a:lnTo>
                <a:lnTo>
                  <a:pt x="310820" y="279857"/>
                </a:lnTo>
                <a:lnTo>
                  <a:pt x="310820" y="179359"/>
                </a:lnTo>
                <a:cubicBezTo>
                  <a:pt x="310820" y="129886"/>
                  <a:pt x="351155" y="89618"/>
                  <a:pt x="400710" y="89618"/>
                </a:cubicBezTo>
                <a:close/>
                <a:moveTo>
                  <a:pt x="487441" y="44033"/>
                </a:moveTo>
                <a:cubicBezTo>
                  <a:pt x="487557" y="44090"/>
                  <a:pt x="487614" y="44090"/>
                  <a:pt x="487729" y="44148"/>
                </a:cubicBezTo>
                <a:cubicBezTo>
                  <a:pt x="521828" y="45471"/>
                  <a:pt x="549246" y="73030"/>
                  <a:pt x="550282" y="107206"/>
                </a:cubicBezTo>
                <a:cubicBezTo>
                  <a:pt x="550282" y="107436"/>
                  <a:pt x="550282" y="107667"/>
                  <a:pt x="550340" y="107897"/>
                </a:cubicBezTo>
                <a:cubicBezTo>
                  <a:pt x="550340" y="108184"/>
                  <a:pt x="550340" y="108472"/>
                  <a:pt x="550340" y="108760"/>
                </a:cubicBezTo>
                <a:cubicBezTo>
                  <a:pt x="550340" y="108875"/>
                  <a:pt x="550340" y="109047"/>
                  <a:pt x="550340" y="109220"/>
                </a:cubicBezTo>
                <a:cubicBezTo>
                  <a:pt x="550340" y="109393"/>
                  <a:pt x="550340" y="109508"/>
                  <a:pt x="550340" y="109680"/>
                </a:cubicBezTo>
                <a:cubicBezTo>
                  <a:pt x="550340" y="110371"/>
                  <a:pt x="550282" y="111119"/>
                  <a:pt x="550282" y="111867"/>
                </a:cubicBezTo>
                <a:cubicBezTo>
                  <a:pt x="550225" y="112384"/>
                  <a:pt x="550225" y="112902"/>
                  <a:pt x="550167" y="113420"/>
                </a:cubicBezTo>
                <a:cubicBezTo>
                  <a:pt x="550167" y="113593"/>
                  <a:pt x="550167" y="113765"/>
                  <a:pt x="550167" y="113938"/>
                </a:cubicBezTo>
                <a:cubicBezTo>
                  <a:pt x="547748" y="147653"/>
                  <a:pt x="519582" y="174349"/>
                  <a:pt x="485137" y="174349"/>
                </a:cubicBezTo>
                <a:cubicBezTo>
                  <a:pt x="484792" y="174349"/>
                  <a:pt x="484446" y="174292"/>
                  <a:pt x="484158" y="174292"/>
                </a:cubicBezTo>
                <a:cubicBezTo>
                  <a:pt x="478629" y="174579"/>
                  <a:pt x="473099" y="173716"/>
                  <a:pt x="467685" y="171933"/>
                </a:cubicBezTo>
                <a:cubicBezTo>
                  <a:pt x="440556" y="164396"/>
                  <a:pt x="420511" y="139828"/>
                  <a:pt x="419993" y="110428"/>
                </a:cubicBezTo>
                <a:cubicBezTo>
                  <a:pt x="419993" y="110313"/>
                  <a:pt x="419935" y="110198"/>
                  <a:pt x="419935" y="110083"/>
                </a:cubicBezTo>
                <a:cubicBezTo>
                  <a:pt x="419935" y="109910"/>
                  <a:pt x="419935" y="109795"/>
                  <a:pt x="419993" y="109680"/>
                </a:cubicBezTo>
                <a:cubicBezTo>
                  <a:pt x="419993" y="109508"/>
                  <a:pt x="419935" y="109335"/>
                  <a:pt x="419935" y="109220"/>
                </a:cubicBezTo>
                <a:cubicBezTo>
                  <a:pt x="419935" y="108990"/>
                  <a:pt x="419935" y="108760"/>
                  <a:pt x="419993" y="108530"/>
                </a:cubicBezTo>
                <a:cubicBezTo>
                  <a:pt x="419993" y="107839"/>
                  <a:pt x="419993" y="107206"/>
                  <a:pt x="419993" y="106516"/>
                </a:cubicBezTo>
                <a:cubicBezTo>
                  <a:pt x="421433" y="71822"/>
                  <a:pt x="450059" y="44090"/>
                  <a:pt x="485137" y="44090"/>
                </a:cubicBezTo>
                <a:cubicBezTo>
                  <a:pt x="485425" y="44090"/>
                  <a:pt x="485713" y="44090"/>
                  <a:pt x="486001" y="44090"/>
                </a:cubicBezTo>
                <a:cubicBezTo>
                  <a:pt x="486462" y="44090"/>
                  <a:pt x="486981" y="44033"/>
                  <a:pt x="487441" y="44033"/>
                </a:cubicBezTo>
                <a:close/>
                <a:moveTo>
                  <a:pt x="114993" y="748"/>
                </a:moveTo>
                <a:lnTo>
                  <a:pt x="115281" y="748"/>
                </a:lnTo>
                <a:lnTo>
                  <a:pt x="115569" y="748"/>
                </a:lnTo>
                <a:cubicBezTo>
                  <a:pt x="145700" y="748"/>
                  <a:pt x="171913" y="21060"/>
                  <a:pt x="179403" y="50176"/>
                </a:cubicBezTo>
                <a:cubicBezTo>
                  <a:pt x="180843" y="55585"/>
                  <a:pt x="181534" y="61224"/>
                  <a:pt x="181534" y="66863"/>
                </a:cubicBezTo>
                <a:cubicBezTo>
                  <a:pt x="181534" y="103115"/>
                  <a:pt x="151980" y="132634"/>
                  <a:pt x="115685" y="132634"/>
                </a:cubicBezTo>
                <a:lnTo>
                  <a:pt x="115397" y="132634"/>
                </a:lnTo>
                <a:lnTo>
                  <a:pt x="115109" y="132634"/>
                </a:lnTo>
                <a:cubicBezTo>
                  <a:pt x="84978" y="132634"/>
                  <a:pt x="58765" y="112321"/>
                  <a:pt x="51275" y="83262"/>
                </a:cubicBezTo>
                <a:cubicBezTo>
                  <a:pt x="49835" y="77854"/>
                  <a:pt x="49144" y="72214"/>
                  <a:pt x="49144" y="66575"/>
                </a:cubicBezTo>
                <a:cubicBezTo>
                  <a:pt x="49144" y="30267"/>
                  <a:pt x="78698" y="748"/>
                  <a:pt x="114993" y="748"/>
                </a:cubicBezTo>
                <a:close/>
                <a:moveTo>
                  <a:pt x="114958" y="423"/>
                </a:moveTo>
                <a:cubicBezTo>
                  <a:pt x="78366" y="423"/>
                  <a:pt x="48690" y="30047"/>
                  <a:pt x="48690" y="66575"/>
                </a:cubicBezTo>
                <a:cubicBezTo>
                  <a:pt x="48690" y="72385"/>
                  <a:pt x="49439" y="78022"/>
                  <a:pt x="50822" y="83372"/>
                </a:cubicBezTo>
                <a:cubicBezTo>
                  <a:pt x="58198" y="111904"/>
                  <a:pt x="84129" y="133015"/>
                  <a:pt x="115073" y="133015"/>
                </a:cubicBezTo>
                <a:cubicBezTo>
                  <a:pt x="115131" y="133015"/>
                  <a:pt x="115246" y="133015"/>
                  <a:pt x="115361" y="133015"/>
                </a:cubicBezTo>
                <a:cubicBezTo>
                  <a:pt x="115419" y="133015"/>
                  <a:pt x="115534" y="133015"/>
                  <a:pt x="115649" y="133015"/>
                </a:cubicBezTo>
                <a:cubicBezTo>
                  <a:pt x="152241" y="133015"/>
                  <a:pt x="181917" y="103391"/>
                  <a:pt x="181917" y="66863"/>
                </a:cubicBezTo>
                <a:cubicBezTo>
                  <a:pt x="181917" y="61053"/>
                  <a:pt x="181168" y="55415"/>
                  <a:pt x="179785" y="50066"/>
                </a:cubicBezTo>
                <a:cubicBezTo>
                  <a:pt x="172409" y="21534"/>
                  <a:pt x="146478" y="423"/>
                  <a:pt x="115534" y="423"/>
                </a:cubicBezTo>
                <a:cubicBezTo>
                  <a:pt x="115476" y="423"/>
                  <a:pt x="115361" y="423"/>
                  <a:pt x="115246" y="423"/>
                </a:cubicBezTo>
                <a:cubicBezTo>
                  <a:pt x="115188" y="423"/>
                  <a:pt x="115073" y="423"/>
                  <a:pt x="114958" y="423"/>
                </a:cubicBezTo>
                <a:close/>
                <a:moveTo>
                  <a:pt x="114993" y="0"/>
                </a:moveTo>
                <a:lnTo>
                  <a:pt x="115281" y="0"/>
                </a:lnTo>
                <a:lnTo>
                  <a:pt x="115569" y="0"/>
                </a:lnTo>
                <a:cubicBezTo>
                  <a:pt x="146046" y="0"/>
                  <a:pt x="172605" y="20542"/>
                  <a:pt x="180152" y="49946"/>
                </a:cubicBezTo>
                <a:cubicBezTo>
                  <a:pt x="181592" y="55470"/>
                  <a:pt x="182341" y="61109"/>
                  <a:pt x="182341" y="66863"/>
                </a:cubicBezTo>
                <a:cubicBezTo>
                  <a:pt x="182341" y="103575"/>
                  <a:pt x="152441" y="133439"/>
                  <a:pt x="115685" y="133439"/>
                </a:cubicBezTo>
                <a:lnTo>
                  <a:pt x="115397" y="133439"/>
                </a:lnTo>
                <a:lnTo>
                  <a:pt x="115109" y="133439"/>
                </a:lnTo>
                <a:cubicBezTo>
                  <a:pt x="84632" y="133439"/>
                  <a:pt x="58073" y="112897"/>
                  <a:pt x="50526" y="83493"/>
                </a:cubicBezTo>
                <a:cubicBezTo>
                  <a:pt x="49086" y="77969"/>
                  <a:pt x="48337" y="72272"/>
                  <a:pt x="48337" y="66575"/>
                </a:cubicBezTo>
                <a:cubicBezTo>
                  <a:pt x="48337" y="29864"/>
                  <a:pt x="78237" y="0"/>
                  <a:pt x="11499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i="1"/>
          </a:p>
        </p:txBody>
      </p:sp>
      <p:sp>
        <p:nvSpPr>
          <p:cNvPr id="54" name="iṡľídê"/>
          <p:cNvSpPr/>
          <p:nvPr/>
        </p:nvSpPr>
        <p:spPr bwMode="auto">
          <a:xfrm>
            <a:off x="3681986" y="1856028"/>
            <a:ext cx="222787" cy="192931"/>
          </a:xfrm>
          <a:custGeom>
            <a:avLst/>
            <a:gdLst>
              <a:gd name="connsiteX0" fmla="*/ 332825 w 599014"/>
              <a:gd name="connsiteY0" fmla="*/ 323318 h 518742"/>
              <a:gd name="connsiteX1" fmla="*/ 480885 w 599014"/>
              <a:gd name="connsiteY1" fmla="*/ 323318 h 518742"/>
              <a:gd name="connsiteX2" fmla="*/ 508708 w 599014"/>
              <a:gd name="connsiteY2" fmla="*/ 351111 h 518742"/>
              <a:gd name="connsiteX3" fmla="*/ 480885 w 599014"/>
              <a:gd name="connsiteY3" fmla="*/ 378903 h 518742"/>
              <a:gd name="connsiteX4" fmla="*/ 332825 w 599014"/>
              <a:gd name="connsiteY4" fmla="*/ 378903 h 518742"/>
              <a:gd name="connsiteX5" fmla="*/ 305002 w 599014"/>
              <a:gd name="connsiteY5" fmla="*/ 351111 h 518742"/>
              <a:gd name="connsiteX6" fmla="*/ 332825 w 599014"/>
              <a:gd name="connsiteY6" fmla="*/ 323318 h 518742"/>
              <a:gd name="connsiteX7" fmla="*/ 332825 w 599014"/>
              <a:gd name="connsiteY7" fmla="*/ 230145 h 518742"/>
              <a:gd name="connsiteX8" fmla="*/ 480885 w 599014"/>
              <a:gd name="connsiteY8" fmla="*/ 230145 h 518742"/>
              <a:gd name="connsiteX9" fmla="*/ 508708 w 599014"/>
              <a:gd name="connsiteY9" fmla="*/ 257937 h 518742"/>
              <a:gd name="connsiteX10" fmla="*/ 480885 w 599014"/>
              <a:gd name="connsiteY10" fmla="*/ 285730 h 518742"/>
              <a:gd name="connsiteX11" fmla="*/ 332825 w 599014"/>
              <a:gd name="connsiteY11" fmla="*/ 285730 h 518742"/>
              <a:gd name="connsiteX12" fmla="*/ 305002 w 599014"/>
              <a:gd name="connsiteY12" fmla="*/ 257937 h 518742"/>
              <a:gd name="connsiteX13" fmla="*/ 332825 w 599014"/>
              <a:gd name="connsiteY13" fmla="*/ 230145 h 518742"/>
              <a:gd name="connsiteX14" fmla="*/ 24843 w 599014"/>
              <a:gd name="connsiteY14" fmla="*/ 151784 h 518742"/>
              <a:gd name="connsiteX15" fmla="*/ 183839 w 599014"/>
              <a:gd name="connsiteY15" fmla="*/ 151784 h 518742"/>
              <a:gd name="connsiteX16" fmla="*/ 207688 w 599014"/>
              <a:gd name="connsiteY16" fmla="*/ 176583 h 518742"/>
              <a:gd name="connsiteX17" fmla="*/ 207688 w 599014"/>
              <a:gd name="connsiteY17" fmla="*/ 329348 h 518742"/>
              <a:gd name="connsiteX18" fmla="*/ 182845 w 599014"/>
              <a:gd name="connsiteY18" fmla="*/ 354147 h 518742"/>
              <a:gd name="connsiteX19" fmla="*/ 163964 w 599014"/>
              <a:gd name="connsiteY19" fmla="*/ 344227 h 518742"/>
              <a:gd name="connsiteX20" fmla="*/ 155021 w 599014"/>
              <a:gd name="connsiteY20" fmla="*/ 494016 h 518742"/>
              <a:gd name="connsiteX21" fmla="*/ 129184 w 599014"/>
              <a:gd name="connsiteY21" fmla="*/ 516831 h 518742"/>
              <a:gd name="connsiteX22" fmla="*/ 78504 w 599014"/>
              <a:gd name="connsiteY22" fmla="*/ 516831 h 518742"/>
              <a:gd name="connsiteX23" fmla="*/ 53661 w 599014"/>
              <a:gd name="connsiteY23" fmla="*/ 494016 h 518742"/>
              <a:gd name="connsiteX24" fmla="*/ 43724 w 599014"/>
              <a:gd name="connsiteY24" fmla="*/ 345219 h 518742"/>
              <a:gd name="connsiteX25" fmla="*/ 24843 w 599014"/>
              <a:gd name="connsiteY25" fmla="*/ 354147 h 518742"/>
              <a:gd name="connsiteX26" fmla="*/ 994 w 599014"/>
              <a:gd name="connsiteY26" fmla="*/ 329348 h 518742"/>
              <a:gd name="connsiteX27" fmla="*/ 0 w 599014"/>
              <a:gd name="connsiteY27" fmla="*/ 176583 h 518742"/>
              <a:gd name="connsiteX28" fmla="*/ 24843 w 599014"/>
              <a:gd name="connsiteY28" fmla="*/ 151784 h 518742"/>
              <a:gd name="connsiteX29" fmla="*/ 332825 w 599014"/>
              <a:gd name="connsiteY29" fmla="*/ 137928 h 518742"/>
              <a:gd name="connsiteX30" fmla="*/ 480885 w 599014"/>
              <a:gd name="connsiteY30" fmla="*/ 137928 h 518742"/>
              <a:gd name="connsiteX31" fmla="*/ 508708 w 599014"/>
              <a:gd name="connsiteY31" fmla="*/ 165721 h 518742"/>
              <a:gd name="connsiteX32" fmla="*/ 480885 w 599014"/>
              <a:gd name="connsiteY32" fmla="*/ 193513 h 518742"/>
              <a:gd name="connsiteX33" fmla="*/ 332825 w 599014"/>
              <a:gd name="connsiteY33" fmla="*/ 193513 h 518742"/>
              <a:gd name="connsiteX34" fmla="*/ 305002 w 599014"/>
              <a:gd name="connsiteY34" fmla="*/ 165721 h 518742"/>
              <a:gd name="connsiteX35" fmla="*/ 332825 w 599014"/>
              <a:gd name="connsiteY35" fmla="*/ 137928 h 518742"/>
              <a:gd name="connsiteX36" fmla="*/ 347698 w 599014"/>
              <a:gd name="connsiteY36" fmla="*/ 55512 h 518742"/>
              <a:gd name="connsiteX37" fmla="*/ 347698 w 599014"/>
              <a:gd name="connsiteY37" fmla="*/ 61464 h 518742"/>
              <a:gd name="connsiteX38" fmla="*/ 283131 w 599014"/>
              <a:gd name="connsiteY38" fmla="*/ 124947 h 518742"/>
              <a:gd name="connsiteX39" fmla="*/ 276178 w 599014"/>
              <a:gd name="connsiteY39" fmla="*/ 124947 h 518742"/>
              <a:gd name="connsiteX40" fmla="*/ 276178 w 599014"/>
              <a:gd name="connsiteY40" fmla="*/ 456251 h 518742"/>
              <a:gd name="connsiteX41" fmla="*/ 283131 w 599014"/>
              <a:gd name="connsiteY41" fmla="*/ 463194 h 518742"/>
              <a:gd name="connsiteX42" fmla="*/ 536433 w 599014"/>
              <a:gd name="connsiteY42" fmla="*/ 463194 h 518742"/>
              <a:gd name="connsiteX43" fmla="*/ 543387 w 599014"/>
              <a:gd name="connsiteY43" fmla="*/ 456251 h 518742"/>
              <a:gd name="connsiteX44" fmla="*/ 542394 w 599014"/>
              <a:gd name="connsiteY44" fmla="*/ 62455 h 518742"/>
              <a:gd name="connsiteX45" fmla="*/ 536433 w 599014"/>
              <a:gd name="connsiteY45" fmla="*/ 55512 h 518742"/>
              <a:gd name="connsiteX46" fmla="*/ 337765 w 599014"/>
              <a:gd name="connsiteY46" fmla="*/ 956 h 518742"/>
              <a:gd name="connsiteX47" fmla="*/ 537427 w 599014"/>
              <a:gd name="connsiteY47" fmla="*/ 956 h 518742"/>
              <a:gd name="connsiteX48" fmla="*/ 599014 w 599014"/>
              <a:gd name="connsiteY48" fmla="*/ 62455 h 518742"/>
              <a:gd name="connsiteX49" fmla="*/ 599014 w 599014"/>
              <a:gd name="connsiteY49" fmla="*/ 456251 h 518742"/>
              <a:gd name="connsiteX50" fmla="*/ 537427 w 599014"/>
              <a:gd name="connsiteY50" fmla="*/ 518742 h 518742"/>
              <a:gd name="connsiteX51" fmla="*/ 283131 w 599014"/>
              <a:gd name="connsiteY51" fmla="*/ 518742 h 518742"/>
              <a:gd name="connsiteX52" fmla="*/ 221544 w 599014"/>
              <a:gd name="connsiteY52" fmla="*/ 456251 h 518742"/>
              <a:gd name="connsiteX53" fmla="*/ 221544 w 599014"/>
              <a:gd name="connsiteY53" fmla="*/ 117011 h 518742"/>
              <a:gd name="connsiteX54" fmla="*/ 237437 w 599014"/>
              <a:gd name="connsiteY54" fmla="*/ 79318 h 518742"/>
              <a:gd name="connsiteX55" fmla="*/ 298031 w 599014"/>
              <a:gd name="connsiteY55" fmla="*/ 17819 h 518742"/>
              <a:gd name="connsiteX56" fmla="*/ 301011 w 599014"/>
              <a:gd name="connsiteY56" fmla="*/ 15835 h 518742"/>
              <a:gd name="connsiteX57" fmla="*/ 337765 w 599014"/>
              <a:gd name="connsiteY57" fmla="*/ 956 h 518742"/>
              <a:gd name="connsiteX58" fmla="*/ 104322 w 599014"/>
              <a:gd name="connsiteY58" fmla="*/ 0 h 518742"/>
              <a:gd name="connsiteX59" fmla="*/ 171853 w 599014"/>
              <a:gd name="connsiteY59" fmla="*/ 67929 h 518742"/>
              <a:gd name="connsiteX60" fmla="*/ 104322 w 599014"/>
              <a:gd name="connsiteY60" fmla="*/ 135858 h 518742"/>
              <a:gd name="connsiteX61" fmla="*/ 36791 w 599014"/>
              <a:gd name="connsiteY61" fmla="*/ 67929 h 518742"/>
              <a:gd name="connsiteX62" fmla="*/ 104322 w 599014"/>
              <a:gd name="connsiteY62" fmla="*/ 0 h 518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599014" h="518742">
                <a:moveTo>
                  <a:pt x="332825" y="323318"/>
                </a:moveTo>
                <a:lnTo>
                  <a:pt x="480885" y="323318"/>
                </a:lnTo>
                <a:cubicBezTo>
                  <a:pt x="495790" y="323318"/>
                  <a:pt x="507714" y="335229"/>
                  <a:pt x="508708" y="351111"/>
                </a:cubicBezTo>
                <a:cubicBezTo>
                  <a:pt x="508708" y="365999"/>
                  <a:pt x="495790" y="378903"/>
                  <a:pt x="480885" y="378903"/>
                </a:cubicBezTo>
                <a:lnTo>
                  <a:pt x="332825" y="378903"/>
                </a:lnTo>
                <a:cubicBezTo>
                  <a:pt x="317920" y="378903"/>
                  <a:pt x="305002" y="365999"/>
                  <a:pt x="305002" y="351111"/>
                </a:cubicBezTo>
                <a:cubicBezTo>
                  <a:pt x="305002" y="335229"/>
                  <a:pt x="317920" y="323318"/>
                  <a:pt x="332825" y="323318"/>
                </a:cubicBezTo>
                <a:close/>
                <a:moveTo>
                  <a:pt x="332825" y="230145"/>
                </a:moveTo>
                <a:lnTo>
                  <a:pt x="480885" y="230145"/>
                </a:lnTo>
                <a:cubicBezTo>
                  <a:pt x="495790" y="230145"/>
                  <a:pt x="508708" y="243049"/>
                  <a:pt x="508708" y="257937"/>
                </a:cubicBezTo>
                <a:cubicBezTo>
                  <a:pt x="508708" y="273819"/>
                  <a:pt x="495790" y="285730"/>
                  <a:pt x="480885" y="285730"/>
                </a:cubicBezTo>
                <a:lnTo>
                  <a:pt x="332825" y="285730"/>
                </a:lnTo>
                <a:cubicBezTo>
                  <a:pt x="317920" y="285730"/>
                  <a:pt x="305002" y="273819"/>
                  <a:pt x="305002" y="257937"/>
                </a:cubicBezTo>
                <a:cubicBezTo>
                  <a:pt x="305002" y="243049"/>
                  <a:pt x="317920" y="230145"/>
                  <a:pt x="332825" y="230145"/>
                </a:cubicBezTo>
                <a:close/>
                <a:moveTo>
                  <a:pt x="24843" y="151784"/>
                </a:moveTo>
                <a:cubicBezTo>
                  <a:pt x="34780" y="151784"/>
                  <a:pt x="183839" y="151784"/>
                  <a:pt x="183839" y="151784"/>
                </a:cubicBezTo>
                <a:cubicBezTo>
                  <a:pt x="196757" y="151784"/>
                  <a:pt x="207688" y="163688"/>
                  <a:pt x="207688" y="176583"/>
                </a:cubicBezTo>
                <a:lnTo>
                  <a:pt x="207688" y="329348"/>
                </a:lnTo>
                <a:cubicBezTo>
                  <a:pt x="207688" y="342243"/>
                  <a:pt x="196757" y="354147"/>
                  <a:pt x="182845" y="354147"/>
                </a:cubicBezTo>
                <a:cubicBezTo>
                  <a:pt x="175889" y="354147"/>
                  <a:pt x="168933" y="350179"/>
                  <a:pt x="163964" y="344227"/>
                </a:cubicBezTo>
                <a:lnTo>
                  <a:pt x="155021" y="494016"/>
                </a:lnTo>
                <a:cubicBezTo>
                  <a:pt x="154027" y="506911"/>
                  <a:pt x="143096" y="516831"/>
                  <a:pt x="129184" y="516831"/>
                </a:cubicBezTo>
                <a:lnTo>
                  <a:pt x="78504" y="516831"/>
                </a:lnTo>
                <a:cubicBezTo>
                  <a:pt x="65586" y="516831"/>
                  <a:pt x="54655" y="506911"/>
                  <a:pt x="53661" y="494016"/>
                </a:cubicBezTo>
                <a:lnTo>
                  <a:pt x="43724" y="345219"/>
                </a:lnTo>
                <a:cubicBezTo>
                  <a:pt x="39749" y="350179"/>
                  <a:pt x="32793" y="354147"/>
                  <a:pt x="24843" y="354147"/>
                </a:cubicBezTo>
                <a:cubicBezTo>
                  <a:pt x="11925" y="354147"/>
                  <a:pt x="994" y="343235"/>
                  <a:pt x="994" y="329348"/>
                </a:cubicBezTo>
                <a:lnTo>
                  <a:pt x="0" y="176583"/>
                </a:lnTo>
                <a:cubicBezTo>
                  <a:pt x="0" y="162696"/>
                  <a:pt x="10931" y="151784"/>
                  <a:pt x="24843" y="151784"/>
                </a:cubicBezTo>
                <a:close/>
                <a:moveTo>
                  <a:pt x="332825" y="137928"/>
                </a:moveTo>
                <a:lnTo>
                  <a:pt x="480885" y="137928"/>
                </a:lnTo>
                <a:cubicBezTo>
                  <a:pt x="495790" y="137928"/>
                  <a:pt x="508708" y="149839"/>
                  <a:pt x="508708" y="165721"/>
                </a:cubicBezTo>
                <a:cubicBezTo>
                  <a:pt x="508708" y="180609"/>
                  <a:pt x="495790" y="193513"/>
                  <a:pt x="480885" y="193513"/>
                </a:cubicBezTo>
                <a:lnTo>
                  <a:pt x="332825" y="193513"/>
                </a:lnTo>
                <a:cubicBezTo>
                  <a:pt x="317920" y="193513"/>
                  <a:pt x="305002" y="180609"/>
                  <a:pt x="305002" y="165721"/>
                </a:cubicBezTo>
                <a:cubicBezTo>
                  <a:pt x="305002" y="149839"/>
                  <a:pt x="317920" y="137928"/>
                  <a:pt x="332825" y="137928"/>
                </a:cubicBezTo>
                <a:close/>
                <a:moveTo>
                  <a:pt x="347698" y="55512"/>
                </a:moveTo>
                <a:lnTo>
                  <a:pt x="347698" y="61464"/>
                </a:lnTo>
                <a:cubicBezTo>
                  <a:pt x="347698" y="96181"/>
                  <a:pt x="318892" y="124947"/>
                  <a:pt x="283131" y="124947"/>
                </a:cubicBezTo>
                <a:lnTo>
                  <a:pt x="276178" y="124947"/>
                </a:lnTo>
                <a:lnTo>
                  <a:pt x="276178" y="456251"/>
                </a:lnTo>
                <a:cubicBezTo>
                  <a:pt x="276178" y="460218"/>
                  <a:pt x="279158" y="463194"/>
                  <a:pt x="283131" y="463194"/>
                </a:cubicBezTo>
                <a:lnTo>
                  <a:pt x="536433" y="463194"/>
                </a:lnTo>
                <a:cubicBezTo>
                  <a:pt x="540407" y="463194"/>
                  <a:pt x="543387" y="460218"/>
                  <a:pt x="543387" y="456251"/>
                </a:cubicBezTo>
                <a:lnTo>
                  <a:pt x="542394" y="62455"/>
                </a:lnTo>
                <a:cubicBezTo>
                  <a:pt x="542394" y="58488"/>
                  <a:pt x="540407" y="55512"/>
                  <a:pt x="536433" y="55512"/>
                </a:cubicBezTo>
                <a:close/>
                <a:moveTo>
                  <a:pt x="337765" y="956"/>
                </a:moveTo>
                <a:lnTo>
                  <a:pt x="537427" y="956"/>
                </a:lnTo>
                <a:cubicBezTo>
                  <a:pt x="571200" y="956"/>
                  <a:pt x="599014" y="27738"/>
                  <a:pt x="599014" y="62455"/>
                </a:cubicBezTo>
                <a:lnTo>
                  <a:pt x="599014" y="456251"/>
                </a:lnTo>
                <a:cubicBezTo>
                  <a:pt x="599014" y="489976"/>
                  <a:pt x="571200" y="518742"/>
                  <a:pt x="537427" y="518742"/>
                </a:cubicBezTo>
                <a:lnTo>
                  <a:pt x="283131" y="518742"/>
                </a:lnTo>
                <a:cubicBezTo>
                  <a:pt x="249358" y="518742"/>
                  <a:pt x="221544" y="489976"/>
                  <a:pt x="221544" y="456251"/>
                </a:cubicBezTo>
                <a:lnTo>
                  <a:pt x="221544" y="117011"/>
                </a:lnTo>
                <a:cubicBezTo>
                  <a:pt x="221544" y="103125"/>
                  <a:pt x="226511" y="89238"/>
                  <a:pt x="237437" y="79318"/>
                </a:cubicBezTo>
                <a:cubicBezTo>
                  <a:pt x="257304" y="58488"/>
                  <a:pt x="278164" y="38649"/>
                  <a:pt x="298031" y="17819"/>
                </a:cubicBezTo>
                <a:cubicBezTo>
                  <a:pt x="298031" y="17819"/>
                  <a:pt x="299025" y="16827"/>
                  <a:pt x="301011" y="15835"/>
                </a:cubicBezTo>
                <a:cubicBezTo>
                  <a:pt x="310945" y="5916"/>
                  <a:pt x="323858" y="956"/>
                  <a:pt x="337765" y="956"/>
                </a:cubicBezTo>
                <a:close/>
                <a:moveTo>
                  <a:pt x="104322" y="0"/>
                </a:moveTo>
                <a:cubicBezTo>
                  <a:pt x="141618" y="0"/>
                  <a:pt x="171853" y="30413"/>
                  <a:pt x="171853" y="67929"/>
                </a:cubicBezTo>
                <a:cubicBezTo>
                  <a:pt x="171853" y="105445"/>
                  <a:pt x="141618" y="135858"/>
                  <a:pt x="104322" y="135858"/>
                </a:cubicBezTo>
                <a:cubicBezTo>
                  <a:pt x="67026" y="135858"/>
                  <a:pt x="36791" y="105445"/>
                  <a:pt x="36791" y="67929"/>
                </a:cubicBezTo>
                <a:cubicBezTo>
                  <a:pt x="36791" y="30413"/>
                  <a:pt x="67026" y="0"/>
                  <a:pt x="1043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i="1"/>
          </a:p>
        </p:txBody>
      </p:sp>
      <p:sp>
        <p:nvSpPr>
          <p:cNvPr id="55" name="íŝḷíḍe"/>
          <p:cNvSpPr/>
          <p:nvPr/>
        </p:nvSpPr>
        <p:spPr bwMode="auto">
          <a:xfrm>
            <a:off x="6015581" y="5012626"/>
            <a:ext cx="212401" cy="222786"/>
          </a:xfrm>
          <a:custGeom>
            <a:avLst/>
            <a:gdLst>
              <a:gd name="connsiteX0" fmla="*/ 272000 w 578707"/>
              <a:gd name="connsiteY0" fmla="*/ 341347 h 607004"/>
              <a:gd name="connsiteX1" fmla="*/ 256491 w 578707"/>
              <a:gd name="connsiteY1" fmla="*/ 346871 h 607004"/>
              <a:gd name="connsiteX2" fmla="*/ 251177 w 578707"/>
              <a:gd name="connsiteY2" fmla="*/ 353152 h 607004"/>
              <a:gd name="connsiteX3" fmla="*/ 251177 w 578707"/>
              <a:gd name="connsiteY3" fmla="*/ 369180 h 607004"/>
              <a:gd name="connsiteX4" fmla="*/ 248682 w 578707"/>
              <a:gd name="connsiteY4" fmla="*/ 370913 h 607004"/>
              <a:gd name="connsiteX5" fmla="*/ 247164 w 578707"/>
              <a:gd name="connsiteY5" fmla="*/ 375786 h 607004"/>
              <a:gd name="connsiteX6" fmla="*/ 250634 w 578707"/>
              <a:gd name="connsiteY6" fmla="*/ 409900 h 607004"/>
              <a:gd name="connsiteX7" fmla="*/ 255298 w 578707"/>
              <a:gd name="connsiteY7" fmla="*/ 415424 h 607004"/>
              <a:gd name="connsiteX8" fmla="*/ 257033 w 578707"/>
              <a:gd name="connsiteY8" fmla="*/ 415640 h 607004"/>
              <a:gd name="connsiteX9" fmla="*/ 262130 w 578707"/>
              <a:gd name="connsiteY9" fmla="*/ 413041 h 607004"/>
              <a:gd name="connsiteX10" fmla="*/ 280134 w 578707"/>
              <a:gd name="connsiteY10" fmla="*/ 389215 h 607004"/>
              <a:gd name="connsiteX11" fmla="*/ 281435 w 578707"/>
              <a:gd name="connsiteY11" fmla="*/ 385317 h 607004"/>
              <a:gd name="connsiteX12" fmla="*/ 281435 w 578707"/>
              <a:gd name="connsiteY12" fmla="*/ 346979 h 607004"/>
              <a:gd name="connsiteX13" fmla="*/ 278290 w 578707"/>
              <a:gd name="connsiteY13" fmla="*/ 341564 h 607004"/>
              <a:gd name="connsiteX14" fmla="*/ 272000 w 578707"/>
              <a:gd name="connsiteY14" fmla="*/ 341347 h 607004"/>
              <a:gd name="connsiteX15" fmla="*/ 190768 w 578707"/>
              <a:gd name="connsiteY15" fmla="*/ 341347 h 607004"/>
              <a:gd name="connsiteX16" fmla="*/ 184478 w 578707"/>
              <a:gd name="connsiteY16" fmla="*/ 341564 h 607004"/>
              <a:gd name="connsiteX17" fmla="*/ 181333 w 578707"/>
              <a:gd name="connsiteY17" fmla="*/ 346979 h 607004"/>
              <a:gd name="connsiteX18" fmla="*/ 181333 w 578707"/>
              <a:gd name="connsiteY18" fmla="*/ 385317 h 607004"/>
              <a:gd name="connsiteX19" fmla="*/ 182634 w 578707"/>
              <a:gd name="connsiteY19" fmla="*/ 389215 h 607004"/>
              <a:gd name="connsiteX20" fmla="*/ 200638 w 578707"/>
              <a:gd name="connsiteY20" fmla="*/ 413041 h 607004"/>
              <a:gd name="connsiteX21" fmla="*/ 205843 w 578707"/>
              <a:gd name="connsiteY21" fmla="*/ 415640 h 607004"/>
              <a:gd name="connsiteX22" fmla="*/ 207579 w 578707"/>
              <a:gd name="connsiteY22" fmla="*/ 415424 h 607004"/>
              <a:gd name="connsiteX23" fmla="*/ 212242 w 578707"/>
              <a:gd name="connsiteY23" fmla="*/ 409900 h 607004"/>
              <a:gd name="connsiteX24" fmla="*/ 215713 w 578707"/>
              <a:gd name="connsiteY24" fmla="*/ 375786 h 607004"/>
              <a:gd name="connsiteX25" fmla="*/ 214086 w 578707"/>
              <a:gd name="connsiteY25" fmla="*/ 370805 h 607004"/>
              <a:gd name="connsiteX26" fmla="*/ 211700 w 578707"/>
              <a:gd name="connsiteY26" fmla="*/ 369180 h 607004"/>
              <a:gd name="connsiteX27" fmla="*/ 211700 w 578707"/>
              <a:gd name="connsiteY27" fmla="*/ 353152 h 607004"/>
              <a:gd name="connsiteX28" fmla="*/ 206386 w 578707"/>
              <a:gd name="connsiteY28" fmla="*/ 346871 h 607004"/>
              <a:gd name="connsiteX29" fmla="*/ 190768 w 578707"/>
              <a:gd name="connsiteY29" fmla="*/ 341347 h 607004"/>
              <a:gd name="connsiteX30" fmla="*/ 200746 w 578707"/>
              <a:gd name="connsiteY30" fmla="*/ 168936 h 607004"/>
              <a:gd name="connsiteX31" fmla="*/ 156172 w 578707"/>
              <a:gd name="connsiteY31" fmla="*/ 180740 h 607004"/>
              <a:gd name="connsiteX32" fmla="*/ 152593 w 578707"/>
              <a:gd name="connsiteY32" fmla="*/ 186480 h 607004"/>
              <a:gd name="connsiteX33" fmla="*/ 152593 w 578707"/>
              <a:gd name="connsiteY33" fmla="*/ 197851 h 607004"/>
              <a:gd name="connsiteX34" fmla="*/ 149990 w 578707"/>
              <a:gd name="connsiteY34" fmla="*/ 197851 h 607004"/>
              <a:gd name="connsiteX35" fmla="*/ 143591 w 578707"/>
              <a:gd name="connsiteY35" fmla="*/ 204349 h 607004"/>
              <a:gd name="connsiteX36" fmla="*/ 143591 w 578707"/>
              <a:gd name="connsiteY36" fmla="*/ 214854 h 607004"/>
              <a:gd name="connsiteX37" fmla="*/ 146520 w 578707"/>
              <a:gd name="connsiteY37" fmla="*/ 220269 h 607004"/>
              <a:gd name="connsiteX38" fmla="*/ 152702 w 578707"/>
              <a:gd name="connsiteY38" fmla="*/ 224276 h 607004"/>
              <a:gd name="connsiteX39" fmla="*/ 153135 w 578707"/>
              <a:gd name="connsiteY39" fmla="*/ 226984 h 607004"/>
              <a:gd name="connsiteX40" fmla="*/ 176127 w 578707"/>
              <a:gd name="connsiteY40" fmla="*/ 280050 h 607004"/>
              <a:gd name="connsiteX41" fmla="*/ 214194 w 578707"/>
              <a:gd name="connsiteY41" fmla="*/ 312973 h 607004"/>
              <a:gd name="connsiteX42" fmla="*/ 248682 w 578707"/>
              <a:gd name="connsiteY42" fmla="*/ 312973 h 607004"/>
              <a:gd name="connsiteX43" fmla="*/ 286749 w 578707"/>
              <a:gd name="connsiteY43" fmla="*/ 280050 h 607004"/>
              <a:gd name="connsiteX44" fmla="*/ 309741 w 578707"/>
              <a:gd name="connsiteY44" fmla="*/ 226984 h 607004"/>
              <a:gd name="connsiteX45" fmla="*/ 310067 w 578707"/>
              <a:gd name="connsiteY45" fmla="*/ 224276 h 607004"/>
              <a:gd name="connsiteX46" fmla="*/ 316357 w 578707"/>
              <a:gd name="connsiteY46" fmla="*/ 220269 h 607004"/>
              <a:gd name="connsiteX47" fmla="*/ 319285 w 578707"/>
              <a:gd name="connsiteY47" fmla="*/ 214854 h 607004"/>
              <a:gd name="connsiteX48" fmla="*/ 319285 w 578707"/>
              <a:gd name="connsiteY48" fmla="*/ 204349 h 607004"/>
              <a:gd name="connsiteX49" fmla="*/ 312778 w 578707"/>
              <a:gd name="connsiteY49" fmla="*/ 197851 h 607004"/>
              <a:gd name="connsiteX50" fmla="*/ 309307 w 578707"/>
              <a:gd name="connsiteY50" fmla="*/ 197851 h 607004"/>
              <a:gd name="connsiteX51" fmla="*/ 307247 w 578707"/>
              <a:gd name="connsiteY51" fmla="*/ 195794 h 607004"/>
              <a:gd name="connsiteX52" fmla="*/ 301173 w 578707"/>
              <a:gd name="connsiteY52" fmla="*/ 195252 h 607004"/>
              <a:gd name="connsiteX53" fmla="*/ 275795 w 578707"/>
              <a:gd name="connsiteY53" fmla="*/ 201100 h 607004"/>
              <a:gd name="connsiteX54" fmla="*/ 236427 w 578707"/>
              <a:gd name="connsiteY54" fmla="*/ 183231 h 607004"/>
              <a:gd name="connsiteX55" fmla="*/ 200746 w 578707"/>
              <a:gd name="connsiteY55" fmla="*/ 168936 h 607004"/>
              <a:gd name="connsiteX56" fmla="*/ 417667 w 578707"/>
              <a:gd name="connsiteY56" fmla="*/ 57723 h 607004"/>
              <a:gd name="connsiteX57" fmla="*/ 430673 w 578707"/>
              <a:gd name="connsiteY57" fmla="*/ 70828 h 607004"/>
              <a:gd name="connsiteX58" fmla="*/ 430673 w 578707"/>
              <a:gd name="connsiteY58" fmla="*/ 154334 h 607004"/>
              <a:gd name="connsiteX59" fmla="*/ 481940 w 578707"/>
              <a:gd name="connsiteY59" fmla="*/ 154334 h 607004"/>
              <a:gd name="connsiteX60" fmla="*/ 494946 w 578707"/>
              <a:gd name="connsiteY60" fmla="*/ 167439 h 607004"/>
              <a:gd name="connsiteX61" fmla="*/ 481940 w 578707"/>
              <a:gd name="connsiteY61" fmla="*/ 180436 h 607004"/>
              <a:gd name="connsiteX62" fmla="*/ 417667 w 578707"/>
              <a:gd name="connsiteY62" fmla="*/ 180436 h 607004"/>
              <a:gd name="connsiteX63" fmla="*/ 404552 w 578707"/>
              <a:gd name="connsiteY63" fmla="*/ 167439 h 607004"/>
              <a:gd name="connsiteX64" fmla="*/ 404552 w 578707"/>
              <a:gd name="connsiteY64" fmla="*/ 70828 h 607004"/>
              <a:gd name="connsiteX65" fmla="*/ 417667 w 578707"/>
              <a:gd name="connsiteY65" fmla="*/ 57723 h 607004"/>
              <a:gd name="connsiteX66" fmla="*/ 215170 w 578707"/>
              <a:gd name="connsiteY66" fmla="*/ 47208 h 607004"/>
              <a:gd name="connsiteX67" fmla="*/ 247706 w 578707"/>
              <a:gd name="connsiteY67" fmla="*/ 47208 h 607004"/>
              <a:gd name="connsiteX68" fmla="*/ 347808 w 578707"/>
              <a:gd name="connsiteY68" fmla="*/ 147276 h 607004"/>
              <a:gd name="connsiteX69" fmla="*/ 347808 w 578707"/>
              <a:gd name="connsiteY69" fmla="*/ 178683 h 607004"/>
              <a:gd name="connsiteX70" fmla="*/ 353556 w 578707"/>
              <a:gd name="connsiteY70" fmla="*/ 196552 h 607004"/>
              <a:gd name="connsiteX71" fmla="*/ 353556 w 578707"/>
              <a:gd name="connsiteY71" fmla="*/ 218861 h 607004"/>
              <a:gd name="connsiteX72" fmla="*/ 342494 w 578707"/>
              <a:gd name="connsiteY72" fmla="*/ 242579 h 607004"/>
              <a:gd name="connsiteX73" fmla="*/ 335987 w 578707"/>
              <a:gd name="connsiteY73" fmla="*/ 259473 h 607004"/>
              <a:gd name="connsiteX74" fmla="*/ 314405 w 578707"/>
              <a:gd name="connsiteY74" fmla="*/ 299977 h 607004"/>
              <a:gd name="connsiteX75" fmla="*/ 299763 w 578707"/>
              <a:gd name="connsiteY75" fmla="*/ 318605 h 607004"/>
              <a:gd name="connsiteX76" fmla="*/ 310717 w 578707"/>
              <a:gd name="connsiteY76" fmla="*/ 332142 h 607004"/>
              <a:gd name="connsiteX77" fmla="*/ 382079 w 578707"/>
              <a:gd name="connsiteY77" fmla="*/ 353693 h 607004"/>
              <a:gd name="connsiteX78" fmla="*/ 462768 w 578707"/>
              <a:gd name="connsiteY78" fmla="*/ 588052 h 607004"/>
              <a:gd name="connsiteX79" fmla="*/ 443789 w 578707"/>
              <a:gd name="connsiteY79" fmla="*/ 607004 h 607004"/>
              <a:gd name="connsiteX80" fmla="*/ 18979 w 578707"/>
              <a:gd name="connsiteY80" fmla="*/ 607004 h 607004"/>
              <a:gd name="connsiteX81" fmla="*/ 0 w 578707"/>
              <a:gd name="connsiteY81" fmla="*/ 588052 h 607004"/>
              <a:gd name="connsiteX82" fmla="*/ 325 w 578707"/>
              <a:gd name="connsiteY82" fmla="*/ 585128 h 607004"/>
              <a:gd name="connsiteX83" fmla="*/ 80689 w 578707"/>
              <a:gd name="connsiteY83" fmla="*/ 353693 h 607004"/>
              <a:gd name="connsiteX84" fmla="*/ 152159 w 578707"/>
              <a:gd name="connsiteY84" fmla="*/ 332142 h 607004"/>
              <a:gd name="connsiteX85" fmla="*/ 163005 w 578707"/>
              <a:gd name="connsiteY85" fmla="*/ 318605 h 607004"/>
              <a:gd name="connsiteX86" fmla="*/ 148363 w 578707"/>
              <a:gd name="connsiteY86" fmla="*/ 299977 h 607004"/>
              <a:gd name="connsiteX87" fmla="*/ 126781 w 578707"/>
              <a:gd name="connsiteY87" fmla="*/ 259582 h 607004"/>
              <a:gd name="connsiteX88" fmla="*/ 120383 w 578707"/>
              <a:gd name="connsiteY88" fmla="*/ 242471 h 607004"/>
              <a:gd name="connsiteX89" fmla="*/ 109320 w 578707"/>
              <a:gd name="connsiteY89" fmla="*/ 218861 h 607004"/>
              <a:gd name="connsiteX90" fmla="*/ 109320 w 578707"/>
              <a:gd name="connsiteY90" fmla="*/ 196552 h 607004"/>
              <a:gd name="connsiteX91" fmla="*/ 115068 w 578707"/>
              <a:gd name="connsiteY91" fmla="*/ 178683 h 607004"/>
              <a:gd name="connsiteX92" fmla="*/ 115068 w 578707"/>
              <a:gd name="connsiteY92" fmla="*/ 147276 h 607004"/>
              <a:gd name="connsiteX93" fmla="*/ 215170 w 578707"/>
              <a:gd name="connsiteY93" fmla="*/ 47208 h 607004"/>
              <a:gd name="connsiteX94" fmla="*/ 415135 w 578707"/>
              <a:gd name="connsiteY94" fmla="*/ 0 h 607004"/>
              <a:gd name="connsiteX95" fmla="*/ 578707 w 578707"/>
              <a:gd name="connsiteY95" fmla="*/ 163305 h 607004"/>
              <a:gd name="connsiteX96" fmla="*/ 415135 w 578707"/>
              <a:gd name="connsiteY96" fmla="*/ 326718 h 607004"/>
              <a:gd name="connsiteX97" fmla="*/ 344955 w 578707"/>
              <a:gd name="connsiteY97" fmla="*/ 310907 h 607004"/>
              <a:gd name="connsiteX98" fmla="*/ 360357 w 578707"/>
              <a:gd name="connsiteY98" fmla="*/ 279719 h 607004"/>
              <a:gd name="connsiteX99" fmla="*/ 415135 w 578707"/>
              <a:gd name="connsiteY99" fmla="*/ 291956 h 607004"/>
              <a:gd name="connsiteX100" fmla="*/ 543888 w 578707"/>
              <a:gd name="connsiteY100" fmla="*/ 163305 h 607004"/>
              <a:gd name="connsiteX101" fmla="*/ 415135 w 578707"/>
              <a:gd name="connsiteY101" fmla="*/ 34762 h 607004"/>
              <a:gd name="connsiteX102" fmla="*/ 339097 w 578707"/>
              <a:gd name="connsiteY102" fmla="*/ 59561 h 607004"/>
              <a:gd name="connsiteX103" fmla="*/ 311546 w 578707"/>
              <a:gd name="connsiteY103" fmla="*/ 37036 h 607004"/>
              <a:gd name="connsiteX104" fmla="*/ 415135 w 578707"/>
              <a:gd name="connsiteY104" fmla="*/ 0 h 607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578707" h="607004">
                <a:moveTo>
                  <a:pt x="272000" y="341347"/>
                </a:moveTo>
                <a:cubicBezTo>
                  <a:pt x="266794" y="344163"/>
                  <a:pt x="261588" y="346004"/>
                  <a:pt x="256491" y="346871"/>
                </a:cubicBezTo>
                <a:cubicBezTo>
                  <a:pt x="253346" y="347412"/>
                  <a:pt x="251177" y="350119"/>
                  <a:pt x="251177" y="353152"/>
                </a:cubicBezTo>
                <a:lnTo>
                  <a:pt x="251177" y="369180"/>
                </a:lnTo>
                <a:cubicBezTo>
                  <a:pt x="250201" y="369505"/>
                  <a:pt x="249441" y="370155"/>
                  <a:pt x="248682" y="370913"/>
                </a:cubicBezTo>
                <a:cubicBezTo>
                  <a:pt x="247489" y="372212"/>
                  <a:pt x="246947" y="374053"/>
                  <a:pt x="247164" y="375786"/>
                </a:cubicBezTo>
                <a:lnTo>
                  <a:pt x="250634" y="409900"/>
                </a:lnTo>
                <a:cubicBezTo>
                  <a:pt x="250960" y="412500"/>
                  <a:pt x="252803" y="414665"/>
                  <a:pt x="255298" y="415424"/>
                </a:cubicBezTo>
                <a:cubicBezTo>
                  <a:pt x="255840" y="415532"/>
                  <a:pt x="256491" y="415640"/>
                  <a:pt x="257033" y="415640"/>
                </a:cubicBezTo>
                <a:cubicBezTo>
                  <a:pt x="258985" y="415640"/>
                  <a:pt x="260937" y="414665"/>
                  <a:pt x="262130" y="413041"/>
                </a:cubicBezTo>
                <a:lnTo>
                  <a:pt x="280134" y="389215"/>
                </a:lnTo>
                <a:cubicBezTo>
                  <a:pt x="281001" y="388132"/>
                  <a:pt x="281435" y="386724"/>
                  <a:pt x="281435" y="385317"/>
                </a:cubicBezTo>
                <a:lnTo>
                  <a:pt x="281435" y="346979"/>
                </a:lnTo>
                <a:cubicBezTo>
                  <a:pt x="281435" y="344813"/>
                  <a:pt x="280242" y="342647"/>
                  <a:pt x="278290" y="341564"/>
                </a:cubicBezTo>
                <a:cubicBezTo>
                  <a:pt x="276446" y="340373"/>
                  <a:pt x="274060" y="340264"/>
                  <a:pt x="272000" y="341347"/>
                </a:cubicBezTo>
                <a:close/>
                <a:moveTo>
                  <a:pt x="190768" y="341347"/>
                </a:moveTo>
                <a:cubicBezTo>
                  <a:pt x="188816" y="340264"/>
                  <a:pt x="186430" y="340373"/>
                  <a:pt x="184478" y="341564"/>
                </a:cubicBezTo>
                <a:cubicBezTo>
                  <a:pt x="182526" y="342647"/>
                  <a:pt x="181333" y="344813"/>
                  <a:pt x="181333" y="346979"/>
                </a:cubicBezTo>
                <a:lnTo>
                  <a:pt x="181333" y="385317"/>
                </a:lnTo>
                <a:cubicBezTo>
                  <a:pt x="181333" y="386724"/>
                  <a:pt x="181767" y="388132"/>
                  <a:pt x="182634" y="389215"/>
                </a:cubicBezTo>
                <a:lnTo>
                  <a:pt x="200638" y="413041"/>
                </a:lnTo>
                <a:cubicBezTo>
                  <a:pt x="201939" y="414665"/>
                  <a:pt x="203783" y="415640"/>
                  <a:pt x="205843" y="415640"/>
                </a:cubicBezTo>
                <a:cubicBezTo>
                  <a:pt x="206386" y="415640"/>
                  <a:pt x="206928" y="415532"/>
                  <a:pt x="207579" y="415424"/>
                </a:cubicBezTo>
                <a:cubicBezTo>
                  <a:pt x="210073" y="414665"/>
                  <a:pt x="211917" y="412500"/>
                  <a:pt x="212242" y="409900"/>
                </a:cubicBezTo>
                <a:lnTo>
                  <a:pt x="215713" y="375786"/>
                </a:lnTo>
                <a:cubicBezTo>
                  <a:pt x="215929" y="374053"/>
                  <a:pt x="215279" y="372212"/>
                  <a:pt x="214086" y="370805"/>
                </a:cubicBezTo>
                <a:cubicBezTo>
                  <a:pt x="213435" y="370155"/>
                  <a:pt x="212567" y="369505"/>
                  <a:pt x="211700" y="369180"/>
                </a:cubicBezTo>
                <a:lnTo>
                  <a:pt x="211700" y="353152"/>
                </a:lnTo>
                <a:cubicBezTo>
                  <a:pt x="211700" y="350119"/>
                  <a:pt x="209422" y="347412"/>
                  <a:pt x="206386" y="346871"/>
                </a:cubicBezTo>
                <a:cubicBezTo>
                  <a:pt x="201288" y="346004"/>
                  <a:pt x="196083" y="344163"/>
                  <a:pt x="190768" y="341347"/>
                </a:cubicBezTo>
                <a:close/>
                <a:moveTo>
                  <a:pt x="200746" y="168936"/>
                </a:moveTo>
                <a:cubicBezTo>
                  <a:pt x="182526" y="168936"/>
                  <a:pt x="165065" y="176300"/>
                  <a:pt x="156172" y="180740"/>
                </a:cubicBezTo>
                <a:cubicBezTo>
                  <a:pt x="154003" y="181823"/>
                  <a:pt x="152593" y="183989"/>
                  <a:pt x="152593" y="186480"/>
                </a:cubicBezTo>
                <a:lnTo>
                  <a:pt x="152593" y="197851"/>
                </a:lnTo>
                <a:lnTo>
                  <a:pt x="149990" y="197851"/>
                </a:lnTo>
                <a:cubicBezTo>
                  <a:pt x="146520" y="197851"/>
                  <a:pt x="143591" y="200776"/>
                  <a:pt x="143591" y="204349"/>
                </a:cubicBezTo>
                <a:lnTo>
                  <a:pt x="143591" y="214854"/>
                </a:lnTo>
                <a:cubicBezTo>
                  <a:pt x="143591" y="217020"/>
                  <a:pt x="144676" y="219078"/>
                  <a:pt x="146520" y="220269"/>
                </a:cubicBezTo>
                <a:lnTo>
                  <a:pt x="152702" y="224276"/>
                </a:lnTo>
                <a:lnTo>
                  <a:pt x="153135" y="226984"/>
                </a:lnTo>
                <a:cubicBezTo>
                  <a:pt x="155087" y="242254"/>
                  <a:pt x="163764" y="262073"/>
                  <a:pt x="176127" y="280050"/>
                </a:cubicBezTo>
                <a:cubicBezTo>
                  <a:pt x="191853" y="302793"/>
                  <a:pt x="206603" y="312973"/>
                  <a:pt x="214194" y="312973"/>
                </a:cubicBezTo>
                <a:lnTo>
                  <a:pt x="248682" y="312973"/>
                </a:lnTo>
                <a:cubicBezTo>
                  <a:pt x="256274" y="312973"/>
                  <a:pt x="271023" y="302793"/>
                  <a:pt x="286749" y="280050"/>
                </a:cubicBezTo>
                <a:cubicBezTo>
                  <a:pt x="299113" y="262073"/>
                  <a:pt x="307681" y="242254"/>
                  <a:pt x="309741" y="226984"/>
                </a:cubicBezTo>
                <a:lnTo>
                  <a:pt x="310067" y="224276"/>
                </a:lnTo>
                <a:lnTo>
                  <a:pt x="316357" y="220269"/>
                </a:lnTo>
                <a:cubicBezTo>
                  <a:pt x="318092" y="219078"/>
                  <a:pt x="319285" y="217020"/>
                  <a:pt x="319285" y="214854"/>
                </a:cubicBezTo>
                <a:lnTo>
                  <a:pt x="319285" y="204349"/>
                </a:lnTo>
                <a:cubicBezTo>
                  <a:pt x="319285" y="200776"/>
                  <a:pt x="316357" y="197851"/>
                  <a:pt x="312778" y="197851"/>
                </a:cubicBezTo>
                <a:lnTo>
                  <a:pt x="309307" y="197851"/>
                </a:lnTo>
                <a:cubicBezTo>
                  <a:pt x="308765" y="197093"/>
                  <a:pt x="308114" y="196335"/>
                  <a:pt x="307247" y="195794"/>
                </a:cubicBezTo>
                <a:cubicBezTo>
                  <a:pt x="305403" y="194603"/>
                  <a:pt x="303125" y="194386"/>
                  <a:pt x="301173" y="195252"/>
                </a:cubicBezTo>
                <a:cubicBezTo>
                  <a:pt x="292606" y="199151"/>
                  <a:pt x="284038" y="201100"/>
                  <a:pt x="275795" y="201100"/>
                </a:cubicBezTo>
                <a:cubicBezTo>
                  <a:pt x="261154" y="201100"/>
                  <a:pt x="247923" y="195036"/>
                  <a:pt x="236427" y="183231"/>
                </a:cubicBezTo>
                <a:cubicBezTo>
                  <a:pt x="227209" y="173701"/>
                  <a:pt x="215279" y="168936"/>
                  <a:pt x="200746" y="168936"/>
                </a:cubicBezTo>
                <a:close/>
                <a:moveTo>
                  <a:pt x="417667" y="57723"/>
                </a:moveTo>
                <a:cubicBezTo>
                  <a:pt x="424820" y="57723"/>
                  <a:pt x="430673" y="63572"/>
                  <a:pt x="430673" y="70828"/>
                </a:cubicBezTo>
                <a:lnTo>
                  <a:pt x="430673" y="154334"/>
                </a:lnTo>
                <a:lnTo>
                  <a:pt x="481940" y="154334"/>
                </a:lnTo>
                <a:cubicBezTo>
                  <a:pt x="489093" y="154334"/>
                  <a:pt x="494946" y="160182"/>
                  <a:pt x="494946" y="167439"/>
                </a:cubicBezTo>
                <a:cubicBezTo>
                  <a:pt x="494946" y="174587"/>
                  <a:pt x="489093" y="180436"/>
                  <a:pt x="481940" y="180436"/>
                </a:cubicBezTo>
                <a:lnTo>
                  <a:pt x="417667" y="180436"/>
                </a:lnTo>
                <a:cubicBezTo>
                  <a:pt x="410405" y="180436"/>
                  <a:pt x="404552" y="174587"/>
                  <a:pt x="404552" y="167439"/>
                </a:cubicBezTo>
                <a:lnTo>
                  <a:pt x="404552" y="70828"/>
                </a:lnTo>
                <a:cubicBezTo>
                  <a:pt x="404552" y="63572"/>
                  <a:pt x="410405" y="57723"/>
                  <a:pt x="417667" y="57723"/>
                </a:cubicBezTo>
                <a:close/>
                <a:moveTo>
                  <a:pt x="215170" y="47208"/>
                </a:moveTo>
                <a:lnTo>
                  <a:pt x="247706" y="47208"/>
                </a:lnTo>
                <a:cubicBezTo>
                  <a:pt x="302909" y="47208"/>
                  <a:pt x="347808" y="92044"/>
                  <a:pt x="347808" y="147276"/>
                </a:cubicBezTo>
                <a:lnTo>
                  <a:pt x="347808" y="178683"/>
                </a:lnTo>
                <a:cubicBezTo>
                  <a:pt x="351495" y="183881"/>
                  <a:pt x="353556" y="190162"/>
                  <a:pt x="353556" y="196552"/>
                </a:cubicBezTo>
                <a:lnTo>
                  <a:pt x="353556" y="218861"/>
                </a:lnTo>
                <a:cubicBezTo>
                  <a:pt x="353556" y="228067"/>
                  <a:pt x="349435" y="236731"/>
                  <a:pt x="342494" y="242579"/>
                </a:cubicBezTo>
                <a:cubicBezTo>
                  <a:pt x="340759" y="248102"/>
                  <a:pt x="338590" y="253842"/>
                  <a:pt x="335987" y="259473"/>
                </a:cubicBezTo>
                <a:cubicBezTo>
                  <a:pt x="330889" y="273011"/>
                  <a:pt x="323406" y="286981"/>
                  <a:pt x="314405" y="299977"/>
                </a:cubicBezTo>
                <a:cubicBezTo>
                  <a:pt x="310717" y="305392"/>
                  <a:pt x="305728" y="311998"/>
                  <a:pt x="299763" y="318605"/>
                </a:cubicBezTo>
                <a:cubicBezTo>
                  <a:pt x="305186" y="322395"/>
                  <a:pt x="308982" y="326944"/>
                  <a:pt x="310717" y="332142"/>
                </a:cubicBezTo>
                <a:lnTo>
                  <a:pt x="382079" y="353693"/>
                </a:lnTo>
                <a:cubicBezTo>
                  <a:pt x="432401" y="368205"/>
                  <a:pt x="462768" y="578955"/>
                  <a:pt x="462768" y="588052"/>
                </a:cubicBezTo>
                <a:cubicBezTo>
                  <a:pt x="462768" y="598448"/>
                  <a:pt x="454309" y="607004"/>
                  <a:pt x="443789" y="607004"/>
                </a:cubicBezTo>
                <a:lnTo>
                  <a:pt x="18979" y="607004"/>
                </a:lnTo>
                <a:cubicBezTo>
                  <a:pt x="8568" y="607004"/>
                  <a:pt x="0" y="598448"/>
                  <a:pt x="0" y="588052"/>
                </a:cubicBezTo>
                <a:cubicBezTo>
                  <a:pt x="0" y="587077"/>
                  <a:pt x="108" y="586102"/>
                  <a:pt x="325" y="585128"/>
                </a:cubicBezTo>
                <a:cubicBezTo>
                  <a:pt x="325" y="585128"/>
                  <a:pt x="30475" y="368205"/>
                  <a:pt x="80689" y="353693"/>
                </a:cubicBezTo>
                <a:lnTo>
                  <a:pt x="152159" y="332142"/>
                </a:lnTo>
                <a:cubicBezTo>
                  <a:pt x="153894" y="326944"/>
                  <a:pt x="157690" y="322395"/>
                  <a:pt x="163005" y="318605"/>
                </a:cubicBezTo>
                <a:cubicBezTo>
                  <a:pt x="157148" y="311998"/>
                  <a:pt x="152159" y="305392"/>
                  <a:pt x="148363" y="299977"/>
                </a:cubicBezTo>
                <a:cubicBezTo>
                  <a:pt x="139470" y="286981"/>
                  <a:pt x="131987" y="273011"/>
                  <a:pt x="126781" y="259582"/>
                </a:cubicBezTo>
                <a:cubicBezTo>
                  <a:pt x="124287" y="253842"/>
                  <a:pt x="122118" y="248102"/>
                  <a:pt x="120383" y="242471"/>
                </a:cubicBezTo>
                <a:cubicBezTo>
                  <a:pt x="113333" y="236731"/>
                  <a:pt x="109320" y="227959"/>
                  <a:pt x="109320" y="218861"/>
                </a:cubicBezTo>
                <a:lnTo>
                  <a:pt x="109320" y="196552"/>
                </a:lnTo>
                <a:cubicBezTo>
                  <a:pt x="109320" y="190162"/>
                  <a:pt x="111273" y="183881"/>
                  <a:pt x="115068" y="178683"/>
                </a:cubicBezTo>
                <a:lnTo>
                  <a:pt x="115068" y="147276"/>
                </a:lnTo>
                <a:cubicBezTo>
                  <a:pt x="115068" y="92044"/>
                  <a:pt x="159968" y="47208"/>
                  <a:pt x="215170" y="47208"/>
                </a:cubicBezTo>
                <a:close/>
                <a:moveTo>
                  <a:pt x="415135" y="0"/>
                </a:moveTo>
                <a:cubicBezTo>
                  <a:pt x="505381" y="0"/>
                  <a:pt x="578707" y="73314"/>
                  <a:pt x="578707" y="163305"/>
                </a:cubicBezTo>
                <a:cubicBezTo>
                  <a:pt x="578707" y="253404"/>
                  <a:pt x="505381" y="326718"/>
                  <a:pt x="415135" y="326718"/>
                </a:cubicBezTo>
                <a:cubicBezTo>
                  <a:pt x="390078" y="326718"/>
                  <a:pt x="366215" y="320979"/>
                  <a:pt x="344955" y="310907"/>
                </a:cubicBezTo>
                <a:cubicBezTo>
                  <a:pt x="351029" y="300620"/>
                  <a:pt x="356236" y="290115"/>
                  <a:pt x="360357" y="279719"/>
                </a:cubicBezTo>
                <a:cubicBezTo>
                  <a:pt x="376953" y="287516"/>
                  <a:pt x="395502" y="291956"/>
                  <a:pt x="415135" y="291956"/>
                </a:cubicBezTo>
                <a:cubicBezTo>
                  <a:pt x="486182" y="291956"/>
                  <a:pt x="543888" y="234236"/>
                  <a:pt x="543888" y="163305"/>
                </a:cubicBezTo>
                <a:cubicBezTo>
                  <a:pt x="543888" y="92482"/>
                  <a:pt x="486182" y="34762"/>
                  <a:pt x="415135" y="34762"/>
                </a:cubicBezTo>
                <a:cubicBezTo>
                  <a:pt x="386716" y="34762"/>
                  <a:pt x="360466" y="43967"/>
                  <a:pt x="339097" y="59561"/>
                </a:cubicBezTo>
                <a:cubicBezTo>
                  <a:pt x="330962" y="50897"/>
                  <a:pt x="321742" y="43317"/>
                  <a:pt x="311546" y="37036"/>
                </a:cubicBezTo>
                <a:cubicBezTo>
                  <a:pt x="339748" y="13861"/>
                  <a:pt x="375869" y="0"/>
                  <a:pt x="41513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i="1"/>
          </a:p>
        </p:txBody>
      </p:sp>
      <p:sp>
        <p:nvSpPr>
          <p:cNvPr id="56" name="íŝḻídé"/>
          <p:cNvSpPr/>
          <p:nvPr/>
        </p:nvSpPr>
        <p:spPr bwMode="auto">
          <a:xfrm>
            <a:off x="8369286" y="1874253"/>
            <a:ext cx="174106" cy="222786"/>
          </a:xfrm>
          <a:custGeom>
            <a:avLst/>
            <a:gdLst>
              <a:gd name="T0" fmla="*/ 202 w 405"/>
              <a:gd name="T1" fmla="*/ 0 h 519"/>
              <a:gd name="T2" fmla="*/ 202 w 405"/>
              <a:gd name="T3" fmla="*/ 117 h 519"/>
              <a:gd name="T4" fmla="*/ 76 w 405"/>
              <a:gd name="T5" fmla="*/ 106 h 519"/>
              <a:gd name="T6" fmla="*/ 76 w 405"/>
              <a:gd name="T7" fmla="*/ 2 h 519"/>
              <a:gd name="T8" fmla="*/ 76 w 405"/>
              <a:gd name="T9" fmla="*/ 106 h 519"/>
              <a:gd name="T10" fmla="*/ 375 w 405"/>
              <a:gd name="T11" fmla="*/ 46 h 519"/>
              <a:gd name="T12" fmla="*/ 284 w 405"/>
              <a:gd name="T13" fmla="*/ 46 h 519"/>
              <a:gd name="T14" fmla="*/ 399 w 405"/>
              <a:gd name="T15" fmla="*/ 126 h 519"/>
              <a:gd name="T16" fmla="*/ 341 w 405"/>
              <a:gd name="T17" fmla="*/ 120 h 519"/>
              <a:gd name="T18" fmla="*/ 348 w 405"/>
              <a:gd name="T19" fmla="*/ 208 h 519"/>
              <a:gd name="T20" fmla="*/ 310 w 405"/>
              <a:gd name="T21" fmla="*/ 208 h 519"/>
              <a:gd name="T22" fmla="*/ 317 w 405"/>
              <a:gd name="T23" fmla="*/ 120 h 519"/>
              <a:gd name="T24" fmla="*/ 273 w 405"/>
              <a:gd name="T25" fmla="*/ 120 h 519"/>
              <a:gd name="T26" fmla="*/ 301 w 405"/>
              <a:gd name="T27" fmla="*/ 155 h 519"/>
              <a:gd name="T28" fmla="*/ 280 w 405"/>
              <a:gd name="T29" fmla="*/ 327 h 519"/>
              <a:gd name="T30" fmla="*/ 307 w 405"/>
              <a:gd name="T31" fmla="*/ 463 h 519"/>
              <a:gd name="T32" fmla="*/ 351 w 405"/>
              <a:gd name="T33" fmla="*/ 463 h 519"/>
              <a:gd name="T34" fmla="*/ 378 w 405"/>
              <a:gd name="T35" fmla="*/ 284 h 519"/>
              <a:gd name="T36" fmla="*/ 403 w 405"/>
              <a:gd name="T37" fmla="*/ 265 h 519"/>
              <a:gd name="T38" fmla="*/ 399 w 405"/>
              <a:gd name="T39" fmla="*/ 126 h 519"/>
              <a:gd name="T40" fmla="*/ 104 w 405"/>
              <a:gd name="T41" fmla="*/ 155 h 519"/>
              <a:gd name="T42" fmla="*/ 131 w 405"/>
              <a:gd name="T43" fmla="*/ 120 h 519"/>
              <a:gd name="T44" fmla="*/ 81 w 405"/>
              <a:gd name="T45" fmla="*/ 130 h 519"/>
              <a:gd name="T46" fmla="*/ 76 w 405"/>
              <a:gd name="T47" fmla="*/ 226 h 519"/>
              <a:gd name="T48" fmla="*/ 71 w 405"/>
              <a:gd name="T49" fmla="*/ 130 h 519"/>
              <a:gd name="T50" fmla="*/ 20 w 405"/>
              <a:gd name="T51" fmla="*/ 120 h 519"/>
              <a:gd name="T52" fmla="*/ 0 w 405"/>
              <a:gd name="T53" fmla="*/ 266 h 519"/>
              <a:gd name="T54" fmla="*/ 27 w 405"/>
              <a:gd name="T55" fmla="*/ 285 h 519"/>
              <a:gd name="T56" fmla="*/ 53 w 405"/>
              <a:gd name="T57" fmla="*/ 463 h 519"/>
              <a:gd name="T58" fmla="*/ 98 w 405"/>
              <a:gd name="T59" fmla="*/ 463 h 519"/>
              <a:gd name="T60" fmla="*/ 125 w 405"/>
              <a:gd name="T61" fmla="*/ 329 h 519"/>
              <a:gd name="T62" fmla="*/ 281 w 405"/>
              <a:gd name="T63" fmla="*/ 139 h 519"/>
              <a:gd name="T64" fmla="*/ 216 w 405"/>
              <a:gd name="T65" fmla="*/ 132 h 519"/>
              <a:gd name="T66" fmla="*/ 223 w 405"/>
              <a:gd name="T67" fmla="*/ 232 h 519"/>
              <a:gd name="T68" fmla="*/ 181 w 405"/>
              <a:gd name="T69" fmla="*/ 232 h 519"/>
              <a:gd name="T70" fmla="*/ 188 w 405"/>
              <a:gd name="T71" fmla="*/ 132 h 519"/>
              <a:gd name="T72" fmla="*/ 117 w 405"/>
              <a:gd name="T73" fmla="*/ 155 h 519"/>
              <a:gd name="T74" fmla="*/ 140 w 405"/>
              <a:gd name="T75" fmla="*/ 319 h 519"/>
              <a:gd name="T76" fmla="*/ 147 w 405"/>
              <a:gd name="T77" fmla="*/ 489 h 519"/>
              <a:gd name="T78" fmla="*/ 202 w 405"/>
              <a:gd name="T79" fmla="*/ 505 h 519"/>
              <a:gd name="T80" fmla="*/ 257 w 405"/>
              <a:gd name="T81" fmla="*/ 489 h 519"/>
              <a:gd name="T82" fmla="*/ 263 w 405"/>
              <a:gd name="T83" fmla="*/ 318 h 519"/>
              <a:gd name="T84" fmla="*/ 287 w 405"/>
              <a:gd name="T85" fmla="*/ 155 h 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405" h="519">
                <a:moveTo>
                  <a:pt x="151" y="49"/>
                </a:moveTo>
                <a:cubicBezTo>
                  <a:pt x="151" y="17"/>
                  <a:pt x="174" y="0"/>
                  <a:pt x="202" y="0"/>
                </a:cubicBezTo>
                <a:cubicBezTo>
                  <a:pt x="231" y="0"/>
                  <a:pt x="254" y="17"/>
                  <a:pt x="254" y="49"/>
                </a:cubicBezTo>
                <a:cubicBezTo>
                  <a:pt x="254" y="82"/>
                  <a:pt x="231" y="117"/>
                  <a:pt x="202" y="117"/>
                </a:cubicBezTo>
                <a:cubicBezTo>
                  <a:pt x="174" y="117"/>
                  <a:pt x="151" y="82"/>
                  <a:pt x="151" y="49"/>
                </a:cubicBezTo>
                <a:close/>
                <a:moveTo>
                  <a:pt x="76" y="106"/>
                </a:moveTo>
                <a:cubicBezTo>
                  <a:pt x="101" y="106"/>
                  <a:pt x="121" y="75"/>
                  <a:pt x="121" y="46"/>
                </a:cubicBezTo>
                <a:cubicBezTo>
                  <a:pt x="121" y="18"/>
                  <a:pt x="101" y="2"/>
                  <a:pt x="76" y="2"/>
                </a:cubicBezTo>
                <a:cubicBezTo>
                  <a:pt x="51" y="2"/>
                  <a:pt x="30" y="18"/>
                  <a:pt x="30" y="46"/>
                </a:cubicBezTo>
                <a:cubicBezTo>
                  <a:pt x="30" y="75"/>
                  <a:pt x="51" y="106"/>
                  <a:pt x="76" y="106"/>
                </a:cubicBezTo>
                <a:close/>
                <a:moveTo>
                  <a:pt x="329" y="106"/>
                </a:moveTo>
                <a:cubicBezTo>
                  <a:pt x="354" y="106"/>
                  <a:pt x="375" y="75"/>
                  <a:pt x="375" y="46"/>
                </a:cubicBezTo>
                <a:cubicBezTo>
                  <a:pt x="375" y="18"/>
                  <a:pt x="354" y="2"/>
                  <a:pt x="329" y="2"/>
                </a:cubicBezTo>
                <a:cubicBezTo>
                  <a:pt x="304" y="2"/>
                  <a:pt x="284" y="18"/>
                  <a:pt x="284" y="46"/>
                </a:cubicBezTo>
                <a:cubicBezTo>
                  <a:pt x="284" y="75"/>
                  <a:pt x="304" y="106"/>
                  <a:pt x="329" y="106"/>
                </a:cubicBezTo>
                <a:close/>
                <a:moveTo>
                  <a:pt x="399" y="126"/>
                </a:moveTo>
                <a:cubicBezTo>
                  <a:pt x="395" y="122"/>
                  <a:pt x="390" y="120"/>
                  <a:pt x="385" y="120"/>
                </a:cubicBezTo>
                <a:lnTo>
                  <a:pt x="341" y="120"/>
                </a:lnTo>
                <a:lnTo>
                  <a:pt x="334" y="130"/>
                </a:lnTo>
                <a:lnTo>
                  <a:pt x="348" y="208"/>
                </a:lnTo>
                <a:lnTo>
                  <a:pt x="329" y="226"/>
                </a:lnTo>
                <a:lnTo>
                  <a:pt x="310" y="208"/>
                </a:lnTo>
                <a:lnTo>
                  <a:pt x="324" y="130"/>
                </a:lnTo>
                <a:lnTo>
                  <a:pt x="317" y="120"/>
                </a:lnTo>
                <a:lnTo>
                  <a:pt x="274" y="120"/>
                </a:lnTo>
                <a:cubicBezTo>
                  <a:pt x="273" y="120"/>
                  <a:pt x="273" y="120"/>
                  <a:pt x="273" y="120"/>
                </a:cubicBezTo>
                <a:cubicBezTo>
                  <a:pt x="279" y="121"/>
                  <a:pt x="286" y="125"/>
                  <a:pt x="290" y="129"/>
                </a:cubicBezTo>
                <a:cubicBezTo>
                  <a:pt x="297" y="136"/>
                  <a:pt x="301" y="146"/>
                  <a:pt x="301" y="155"/>
                </a:cubicBezTo>
                <a:lnTo>
                  <a:pt x="300" y="295"/>
                </a:lnTo>
                <a:cubicBezTo>
                  <a:pt x="299" y="310"/>
                  <a:pt x="292" y="321"/>
                  <a:pt x="280" y="327"/>
                </a:cubicBezTo>
                <a:lnTo>
                  <a:pt x="280" y="436"/>
                </a:lnTo>
                <a:cubicBezTo>
                  <a:pt x="280" y="451"/>
                  <a:pt x="292" y="463"/>
                  <a:pt x="307" y="463"/>
                </a:cubicBezTo>
                <a:cubicBezTo>
                  <a:pt x="316" y="463"/>
                  <a:pt x="324" y="458"/>
                  <a:pt x="329" y="451"/>
                </a:cubicBezTo>
                <a:cubicBezTo>
                  <a:pt x="334" y="458"/>
                  <a:pt x="342" y="463"/>
                  <a:pt x="351" y="463"/>
                </a:cubicBezTo>
                <a:cubicBezTo>
                  <a:pt x="366" y="463"/>
                  <a:pt x="378" y="451"/>
                  <a:pt x="378" y="436"/>
                </a:cubicBezTo>
                <a:lnTo>
                  <a:pt x="378" y="284"/>
                </a:lnTo>
                <a:cubicBezTo>
                  <a:pt x="380" y="284"/>
                  <a:pt x="381" y="284"/>
                  <a:pt x="383" y="284"/>
                </a:cubicBezTo>
                <a:cubicBezTo>
                  <a:pt x="395" y="285"/>
                  <a:pt x="403" y="276"/>
                  <a:pt x="403" y="265"/>
                </a:cubicBezTo>
                <a:lnTo>
                  <a:pt x="405" y="140"/>
                </a:lnTo>
                <a:cubicBezTo>
                  <a:pt x="405" y="135"/>
                  <a:pt x="403" y="129"/>
                  <a:pt x="399" y="126"/>
                </a:cubicBezTo>
                <a:close/>
                <a:moveTo>
                  <a:pt x="104" y="297"/>
                </a:moveTo>
                <a:lnTo>
                  <a:pt x="104" y="155"/>
                </a:lnTo>
                <a:cubicBezTo>
                  <a:pt x="104" y="138"/>
                  <a:pt x="116" y="123"/>
                  <a:pt x="132" y="120"/>
                </a:cubicBezTo>
                <a:cubicBezTo>
                  <a:pt x="132" y="120"/>
                  <a:pt x="131" y="120"/>
                  <a:pt x="131" y="120"/>
                </a:cubicBezTo>
                <a:lnTo>
                  <a:pt x="88" y="120"/>
                </a:lnTo>
                <a:lnTo>
                  <a:pt x="81" y="130"/>
                </a:lnTo>
                <a:lnTo>
                  <a:pt x="94" y="208"/>
                </a:lnTo>
                <a:lnTo>
                  <a:pt x="76" y="226"/>
                </a:lnTo>
                <a:lnTo>
                  <a:pt x="57" y="208"/>
                </a:lnTo>
                <a:lnTo>
                  <a:pt x="71" y="130"/>
                </a:lnTo>
                <a:lnTo>
                  <a:pt x="63" y="120"/>
                </a:lnTo>
                <a:lnTo>
                  <a:pt x="20" y="120"/>
                </a:lnTo>
                <a:cubicBezTo>
                  <a:pt x="9" y="120"/>
                  <a:pt x="0" y="129"/>
                  <a:pt x="0" y="140"/>
                </a:cubicBezTo>
                <a:lnTo>
                  <a:pt x="0" y="266"/>
                </a:lnTo>
                <a:cubicBezTo>
                  <a:pt x="0" y="277"/>
                  <a:pt x="9" y="286"/>
                  <a:pt x="20" y="286"/>
                </a:cubicBezTo>
                <a:cubicBezTo>
                  <a:pt x="22" y="286"/>
                  <a:pt x="25" y="286"/>
                  <a:pt x="27" y="285"/>
                </a:cubicBezTo>
                <a:lnTo>
                  <a:pt x="27" y="436"/>
                </a:lnTo>
                <a:cubicBezTo>
                  <a:pt x="27" y="451"/>
                  <a:pt x="39" y="463"/>
                  <a:pt x="53" y="463"/>
                </a:cubicBezTo>
                <a:cubicBezTo>
                  <a:pt x="63" y="463"/>
                  <a:pt x="71" y="458"/>
                  <a:pt x="76" y="451"/>
                </a:cubicBezTo>
                <a:cubicBezTo>
                  <a:pt x="80" y="458"/>
                  <a:pt x="89" y="463"/>
                  <a:pt x="98" y="463"/>
                </a:cubicBezTo>
                <a:cubicBezTo>
                  <a:pt x="113" y="463"/>
                  <a:pt x="125" y="451"/>
                  <a:pt x="125" y="436"/>
                </a:cubicBezTo>
                <a:lnTo>
                  <a:pt x="125" y="329"/>
                </a:lnTo>
                <a:cubicBezTo>
                  <a:pt x="112" y="324"/>
                  <a:pt x="104" y="311"/>
                  <a:pt x="104" y="297"/>
                </a:cubicBezTo>
                <a:close/>
                <a:moveTo>
                  <a:pt x="281" y="139"/>
                </a:moveTo>
                <a:cubicBezTo>
                  <a:pt x="277" y="135"/>
                  <a:pt x="271" y="132"/>
                  <a:pt x="265" y="132"/>
                </a:cubicBezTo>
                <a:lnTo>
                  <a:pt x="216" y="132"/>
                </a:lnTo>
                <a:lnTo>
                  <a:pt x="208" y="144"/>
                </a:lnTo>
                <a:lnTo>
                  <a:pt x="223" y="232"/>
                </a:lnTo>
                <a:lnTo>
                  <a:pt x="202" y="252"/>
                </a:lnTo>
                <a:lnTo>
                  <a:pt x="181" y="232"/>
                </a:lnTo>
                <a:lnTo>
                  <a:pt x="197" y="144"/>
                </a:lnTo>
                <a:lnTo>
                  <a:pt x="188" y="132"/>
                </a:lnTo>
                <a:lnTo>
                  <a:pt x="140" y="132"/>
                </a:lnTo>
                <a:cubicBezTo>
                  <a:pt x="127" y="132"/>
                  <a:pt x="117" y="142"/>
                  <a:pt x="117" y="155"/>
                </a:cubicBezTo>
                <a:lnTo>
                  <a:pt x="117" y="297"/>
                </a:lnTo>
                <a:cubicBezTo>
                  <a:pt x="117" y="309"/>
                  <a:pt x="127" y="319"/>
                  <a:pt x="140" y="319"/>
                </a:cubicBezTo>
                <a:cubicBezTo>
                  <a:pt x="142" y="319"/>
                  <a:pt x="145" y="319"/>
                  <a:pt x="147" y="318"/>
                </a:cubicBezTo>
                <a:lnTo>
                  <a:pt x="147" y="489"/>
                </a:lnTo>
                <a:cubicBezTo>
                  <a:pt x="147" y="505"/>
                  <a:pt x="161" y="519"/>
                  <a:pt x="177" y="519"/>
                </a:cubicBezTo>
                <a:cubicBezTo>
                  <a:pt x="188" y="519"/>
                  <a:pt x="197" y="513"/>
                  <a:pt x="202" y="505"/>
                </a:cubicBezTo>
                <a:cubicBezTo>
                  <a:pt x="208" y="513"/>
                  <a:pt x="217" y="519"/>
                  <a:pt x="227" y="519"/>
                </a:cubicBezTo>
                <a:cubicBezTo>
                  <a:pt x="244" y="519"/>
                  <a:pt x="257" y="505"/>
                  <a:pt x="257" y="489"/>
                </a:cubicBezTo>
                <a:lnTo>
                  <a:pt x="257" y="317"/>
                </a:lnTo>
                <a:cubicBezTo>
                  <a:pt x="259" y="317"/>
                  <a:pt x="261" y="318"/>
                  <a:pt x="263" y="318"/>
                </a:cubicBezTo>
                <a:cubicBezTo>
                  <a:pt x="276" y="318"/>
                  <a:pt x="286" y="308"/>
                  <a:pt x="286" y="295"/>
                </a:cubicBezTo>
                <a:lnTo>
                  <a:pt x="287" y="155"/>
                </a:lnTo>
                <a:cubicBezTo>
                  <a:pt x="287" y="149"/>
                  <a:pt x="285" y="143"/>
                  <a:pt x="281" y="13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i="1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4677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3099" y="2001546"/>
            <a:ext cx="10845800" cy="3912007"/>
            <a:chOff x="673099" y="1544340"/>
            <a:chExt cx="10845800" cy="3912007"/>
          </a:xfrm>
        </p:grpSpPr>
        <p:grpSp>
          <p:nvGrpSpPr>
            <p:cNvPr id="4" name="îSḻîde"/>
            <p:cNvGrpSpPr/>
            <p:nvPr/>
          </p:nvGrpSpPr>
          <p:grpSpPr>
            <a:xfrm>
              <a:off x="1060729" y="2013946"/>
              <a:ext cx="1885667" cy="1975570"/>
              <a:chOff x="4438238" y="2424332"/>
              <a:chExt cx="2030357" cy="2127157"/>
            </a:xfrm>
          </p:grpSpPr>
          <p:sp>
            <p:nvSpPr>
              <p:cNvPr id="39" name="îṩ1iḋe"/>
              <p:cNvSpPr/>
              <p:nvPr/>
            </p:nvSpPr>
            <p:spPr>
              <a:xfrm rot="16200000">
                <a:off x="5034875" y="1827695"/>
                <a:ext cx="837084" cy="2030357"/>
              </a:xfrm>
              <a:prstGeom prst="homePlate">
                <a:avLst/>
              </a:prstGeom>
              <a:solidFill>
                <a:schemeClr val="accent1">
                  <a:lumMod val="25000"/>
                  <a:lumOff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40" name="îṥľîďê"/>
              <p:cNvSpPr/>
              <p:nvPr/>
            </p:nvSpPr>
            <p:spPr>
              <a:xfrm rot="5400000" flipV="1">
                <a:off x="4829543" y="2912437"/>
                <a:ext cx="1247747" cy="2030357"/>
              </a:xfrm>
              <a:prstGeom prst="homePlat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" name="i$ḻïḓé"/>
            <p:cNvGrpSpPr/>
            <p:nvPr/>
          </p:nvGrpSpPr>
          <p:grpSpPr>
            <a:xfrm>
              <a:off x="3789021" y="2013946"/>
              <a:ext cx="1885667" cy="1975570"/>
              <a:chOff x="4438238" y="2424332"/>
              <a:chExt cx="2030357" cy="2127157"/>
            </a:xfrm>
          </p:grpSpPr>
          <p:sp>
            <p:nvSpPr>
              <p:cNvPr id="37" name="îSlîde"/>
              <p:cNvSpPr/>
              <p:nvPr/>
            </p:nvSpPr>
            <p:spPr>
              <a:xfrm rot="16200000">
                <a:off x="5034875" y="1827695"/>
                <a:ext cx="837084" cy="2030357"/>
              </a:xfrm>
              <a:prstGeom prst="homePlate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8" name="îšḷîḍê"/>
              <p:cNvSpPr/>
              <p:nvPr/>
            </p:nvSpPr>
            <p:spPr>
              <a:xfrm rot="5400000" flipV="1">
                <a:off x="4829543" y="2912437"/>
                <a:ext cx="1247747" cy="2030357"/>
              </a:xfrm>
              <a:prstGeom prst="homePlat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" name="ïṧ1ïḑè"/>
            <p:cNvGrpSpPr/>
            <p:nvPr/>
          </p:nvGrpSpPr>
          <p:grpSpPr>
            <a:xfrm>
              <a:off x="6517312" y="2013946"/>
              <a:ext cx="1885667" cy="1975570"/>
              <a:chOff x="4438238" y="2424332"/>
              <a:chExt cx="2030357" cy="2127157"/>
            </a:xfrm>
          </p:grpSpPr>
          <p:sp>
            <p:nvSpPr>
              <p:cNvPr id="35" name="ïşlîďê"/>
              <p:cNvSpPr/>
              <p:nvPr/>
            </p:nvSpPr>
            <p:spPr>
              <a:xfrm rot="16200000">
                <a:off x="5034875" y="1827695"/>
                <a:ext cx="837084" cy="2030357"/>
              </a:xfrm>
              <a:prstGeom prst="homePlate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6" name="îŝḷiďé"/>
              <p:cNvSpPr/>
              <p:nvPr/>
            </p:nvSpPr>
            <p:spPr>
              <a:xfrm rot="5400000" flipV="1">
                <a:off x="4829543" y="2912437"/>
                <a:ext cx="1247747" cy="2030357"/>
              </a:xfrm>
              <a:prstGeom prst="homePlat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" name="îşľíḍé"/>
            <p:cNvGrpSpPr/>
            <p:nvPr/>
          </p:nvGrpSpPr>
          <p:grpSpPr>
            <a:xfrm>
              <a:off x="9245603" y="2013946"/>
              <a:ext cx="1885667" cy="1975570"/>
              <a:chOff x="4438238" y="2424332"/>
              <a:chExt cx="2030357" cy="2127157"/>
            </a:xfrm>
          </p:grpSpPr>
          <p:sp>
            <p:nvSpPr>
              <p:cNvPr id="33" name="îšḻïḑê"/>
              <p:cNvSpPr/>
              <p:nvPr/>
            </p:nvSpPr>
            <p:spPr>
              <a:xfrm rot="16200000">
                <a:off x="5034875" y="1827695"/>
                <a:ext cx="837084" cy="2030357"/>
              </a:xfrm>
              <a:prstGeom prst="homePlate">
                <a:avLst/>
              </a:prstGeom>
              <a:solidFill>
                <a:srgbClr val="9E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4" name="îš1iḍé"/>
              <p:cNvSpPr/>
              <p:nvPr/>
            </p:nvSpPr>
            <p:spPr>
              <a:xfrm rot="5400000" flipV="1">
                <a:off x="4829543" y="2912437"/>
                <a:ext cx="1247747" cy="2030357"/>
              </a:xfrm>
              <a:prstGeom prst="homePlat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8" name="iṧḷïḓe"/>
            <p:cNvSpPr txBox="1"/>
            <p:nvPr/>
          </p:nvSpPr>
          <p:spPr bwMode="auto">
            <a:xfrm>
              <a:off x="1060730" y="2127800"/>
              <a:ext cx="1885667" cy="66357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>
                  <a:solidFill>
                    <a:schemeClr val="bg1"/>
                  </a:solidFill>
                  <a:latin typeface="+mn-ea"/>
                </a:rPr>
                <a:t>用户注册</a:t>
              </a:r>
              <a:endParaRPr lang="en-US" altLang="zh-CN" sz="2000" b="1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9" name="îS1iḋè"/>
            <p:cNvSpPr txBox="1"/>
            <p:nvPr/>
          </p:nvSpPr>
          <p:spPr bwMode="auto">
            <a:xfrm>
              <a:off x="3789021" y="2358777"/>
              <a:ext cx="1885667" cy="43259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2000" b="1" dirty="0">
                  <a:solidFill>
                    <a:schemeClr val="bg1"/>
                  </a:solidFill>
                </a:rPr>
                <a:t>初步沟通</a:t>
              </a:r>
              <a:endParaRPr lang="en-US" altLang="zh-CN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iSļíďe"/>
            <p:cNvSpPr txBox="1"/>
            <p:nvPr/>
          </p:nvSpPr>
          <p:spPr bwMode="auto">
            <a:xfrm>
              <a:off x="6517312" y="2358777"/>
              <a:ext cx="1885667" cy="43259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2000" b="1" dirty="0">
                  <a:solidFill>
                    <a:schemeClr val="bg1"/>
                  </a:solidFill>
                </a:rPr>
                <a:t>深入合作</a:t>
              </a:r>
              <a:endParaRPr lang="en-US" altLang="zh-CN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íṩ1îďe"/>
            <p:cNvSpPr txBox="1"/>
            <p:nvPr/>
          </p:nvSpPr>
          <p:spPr bwMode="auto">
            <a:xfrm>
              <a:off x="9245603" y="2358777"/>
              <a:ext cx="1885667" cy="43259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2000" b="1" dirty="0">
                  <a:solidFill>
                    <a:schemeClr val="bg1"/>
                  </a:solidFill>
                </a:rPr>
                <a:t>成功入职</a:t>
              </a:r>
              <a:endParaRPr lang="en-US" altLang="zh-CN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iṧlïdé"/>
            <p:cNvSpPr/>
            <p:nvPr/>
          </p:nvSpPr>
          <p:spPr>
            <a:xfrm>
              <a:off x="673099" y="5234892"/>
              <a:ext cx="10845800" cy="14287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3" name="ïšľíḍe"/>
            <p:cNvSpPr/>
            <p:nvPr/>
          </p:nvSpPr>
          <p:spPr>
            <a:xfrm>
              <a:off x="1853544" y="5156310"/>
              <a:ext cx="300037" cy="300037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47500" lnSpcReduction="20000"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4" name="iş1îḍê"/>
            <p:cNvSpPr/>
            <p:nvPr/>
          </p:nvSpPr>
          <p:spPr>
            <a:xfrm>
              <a:off x="4581835" y="5156310"/>
              <a:ext cx="300037" cy="300037"/>
            </a:xfrm>
            <a:prstGeom prst="ellipse">
              <a:avLst/>
            </a:prstGeom>
            <a:solidFill>
              <a:srgbClr val="D9AB00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47500" lnSpcReduction="20000"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5" name="îṥḷîḓé"/>
            <p:cNvSpPr/>
            <p:nvPr/>
          </p:nvSpPr>
          <p:spPr>
            <a:xfrm>
              <a:off x="7310126" y="5156310"/>
              <a:ext cx="300037" cy="300037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47500" lnSpcReduction="20000"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6" name="ísḻïďê"/>
            <p:cNvSpPr/>
            <p:nvPr/>
          </p:nvSpPr>
          <p:spPr>
            <a:xfrm>
              <a:off x="10038417" y="5156310"/>
              <a:ext cx="300037" cy="300037"/>
            </a:xfrm>
            <a:prstGeom prst="ellipse">
              <a:avLst/>
            </a:prstGeom>
            <a:solidFill>
              <a:srgbClr val="9E0000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47500" lnSpcReduction="20000"/>
            </a:bodyPr>
            <a:lstStyle/>
            <a:p>
              <a:pPr algn="ctr"/>
              <a:endParaRPr lang="zh-CN" altLang="en-US"/>
            </a:p>
          </p:txBody>
        </p:sp>
        <p:cxnSp>
          <p:nvCxnSpPr>
            <p:cNvPr id="17" name="直接连接符 16"/>
            <p:cNvCxnSpPr>
              <a:stCxn id="34" idx="3"/>
              <a:endCxn id="16" idx="0"/>
            </p:cNvCxnSpPr>
            <p:nvPr/>
          </p:nvCxnSpPr>
          <p:spPr>
            <a:xfrm flipH="1">
              <a:off x="10188436" y="3989514"/>
              <a:ext cx="1" cy="116679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/>
            <p:cNvCxnSpPr>
              <a:stCxn id="36" idx="3"/>
              <a:endCxn id="15" idx="0"/>
            </p:cNvCxnSpPr>
            <p:nvPr/>
          </p:nvCxnSpPr>
          <p:spPr>
            <a:xfrm flipH="1">
              <a:off x="7460145" y="3989514"/>
              <a:ext cx="1" cy="116679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/>
            <p:cNvCxnSpPr>
              <a:stCxn id="38" idx="3"/>
              <a:endCxn id="14" idx="0"/>
            </p:cNvCxnSpPr>
            <p:nvPr/>
          </p:nvCxnSpPr>
          <p:spPr>
            <a:xfrm flipH="1">
              <a:off x="4731854" y="3989514"/>
              <a:ext cx="1" cy="116679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/>
            <p:cNvCxnSpPr>
              <a:stCxn id="40" idx="3"/>
              <a:endCxn id="13" idx="0"/>
            </p:cNvCxnSpPr>
            <p:nvPr/>
          </p:nvCxnSpPr>
          <p:spPr>
            <a:xfrm>
              <a:off x="2003563" y="3989514"/>
              <a:ext cx="0" cy="116679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îṩḷîḑê"/>
            <p:cNvSpPr/>
            <p:nvPr/>
          </p:nvSpPr>
          <p:spPr bwMode="auto">
            <a:xfrm>
              <a:off x="1844897" y="1563136"/>
              <a:ext cx="317332" cy="279740"/>
            </a:xfrm>
            <a:custGeom>
              <a:avLst/>
              <a:gdLst>
                <a:gd name="T0" fmla="*/ 4218 w 4948"/>
                <a:gd name="T1" fmla="*/ 571 h 4368"/>
                <a:gd name="T2" fmla="*/ 2474 w 4948"/>
                <a:gd name="T3" fmla="*/ 0 h 4368"/>
                <a:gd name="T4" fmla="*/ 730 w 4948"/>
                <a:gd name="T5" fmla="*/ 571 h 4368"/>
                <a:gd name="T6" fmla="*/ 0 w 4948"/>
                <a:gd name="T7" fmla="*/ 1967 h 4368"/>
                <a:gd name="T8" fmla="*/ 282 w 4948"/>
                <a:gd name="T9" fmla="*/ 2879 h 4368"/>
                <a:gd name="T10" fmla="*/ 990 w 4948"/>
                <a:gd name="T11" fmla="*/ 3540 h 4368"/>
                <a:gd name="T12" fmla="*/ 511 w 4948"/>
                <a:gd name="T13" fmla="*/ 4244 h 4368"/>
                <a:gd name="T14" fmla="*/ 490 w 4948"/>
                <a:gd name="T15" fmla="*/ 4313 h 4368"/>
                <a:gd name="T16" fmla="*/ 545 w 4948"/>
                <a:gd name="T17" fmla="*/ 4361 h 4368"/>
                <a:gd name="T18" fmla="*/ 706 w 4948"/>
                <a:gd name="T19" fmla="*/ 4368 h 4368"/>
                <a:gd name="T20" fmla="*/ 2307 w 4948"/>
                <a:gd name="T21" fmla="*/ 3929 h 4368"/>
                <a:gd name="T22" fmla="*/ 2474 w 4948"/>
                <a:gd name="T23" fmla="*/ 3933 h 4368"/>
                <a:gd name="T24" fmla="*/ 4218 w 4948"/>
                <a:gd name="T25" fmla="*/ 3362 h 4368"/>
                <a:gd name="T26" fmla="*/ 4948 w 4948"/>
                <a:gd name="T27" fmla="*/ 1967 h 4368"/>
                <a:gd name="T28" fmla="*/ 4218 w 4948"/>
                <a:gd name="T29" fmla="*/ 571 h 4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48" h="4368">
                  <a:moveTo>
                    <a:pt x="4218" y="571"/>
                  </a:moveTo>
                  <a:cubicBezTo>
                    <a:pt x="3751" y="203"/>
                    <a:pt x="3132" y="0"/>
                    <a:pt x="2474" y="0"/>
                  </a:cubicBezTo>
                  <a:cubicBezTo>
                    <a:pt x="1816" y="0"/>
                    <a:pt x="1197" y="203"/>
                    <a:pt x="730" y="571"/>
                  </a:cubicBezTo>
                  <a:cubicBezTo>
                    <a:pt x="259" y="943"/>
                    <a:pt x="0" y="1438"/>
                    <a:pt x="0" y="1967"/>
                  </a:cubicBezTo>
                  <a:cubicBezTo>
                    <a:pt x="0" y="2284"/>
                    <a:pt x="97" y="2600"/>
                    <a:pt x="282" y="2879"/>
                  </a:cubicBezTo>
                  <a:cubicBezTo>
                    <a:pt x="452" y="3137"/>
                    <a:pt x="696" y="3365"/>
                    <a:pt x="990" y="3540"/>
                  </a:cubicBezTo>
                  <a:cubicBezTo>
                    <a:pt x="976" y="3635"/>
                    <a:pt x="903" y="3913"/>
                    <a:pt x="511" y="4244"/>
                  </a:cubicBezTo>
                  <a:cubicBezTo>
                    <a:pt x="491" y="4261"/>
                    <a:pt x="483" y="4288"/>
                    <a:pt x="490" y="4313"/>
                  </a:cubicBezTo>
                  <a:cubicBezTo>
                    <a:pt x="498" y="4339"/>
                    <a:pt x="519" y="4357"/>
                    <a:pt x="545" y="4361"/>
                  </a:cubicBezTo>
                  <a:cubicBezTo>
                    <a:pt x="548" y="4361"/>
                    <a:pt x="605" y="4368"/>
                    <a:pt x="706" y="4368"/>
                  </a:cubicBezTo>
                  <a:cubicBezTo>
                    <a:pt x="995" y="4368"/>
                    <a:pt x="1585" y="4311"/>
                    <a:pt x="2307" y="3929"/>
                  </a:cubicBezTo>
                  <a:cubicBezTo>
                    <a:pt x="2363" y="3932"/>
                    <a:pt x="2419" y="3933"/>
                    <a:pt x="2474" y="3933"/>
                  </a:cubicBezTo>
                  <a:cubicBezTo>
                    <a:pt x="3132" y="3933"/>
                    <a:pt x="3751" y="3730"/>
                    <a:pt x="4218" y="3362"/>
                  </a:cubicBezTo>
                  <a:cubicBezTo>
                    <a:pt x="4689" y="2991"/>
                    <a:pt x="4948" y="2495"/>
                    <a:pt x="4948" y="1967"/>
                  </a:cubicBezTo>
                  <a:cubicBezTo>
                    <a:pt x="4948" y="1438"/>
                    <a:pt x="4689" y="943"/>
                    <a:pt x="4218" y="571"/>
                  </a:cubicBezTo>
                  <a:close/>
                </a:path>
              </a:pathLst>
            </a:cu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2" name="ïšḻíḋè"/>
            <p:cNvSpPr/>
            <p:nvPr/>
          </p:nvSpPr>
          <p:spPr bwMode="auto">
            <a:xfrm>
              <a:off x="4558327" y="1551670"/>
              <a:ext cx="317332" cy="302671"/>
            </a:xfrm>
            <a:custGeom>
              <a:avLst/>
              <a:gdLst>
                <a:gd name="connsiteX0" fmla="*/ 0 w 574179"/>
                <a:gd name="connsiteY0" fmla="*/ 451358 h 547653"/>
                <a:gd name="connsiteX1" fmla="*/ 574179 w 574179"/>
                <a:gd name="connsiteY1" fmla="*/ 451358 h 547653"/>
                <a:gd name="connsiteX2" fmla="*/ 574179 w 574179"/>
                <a:gd name="connsiteY2" fmla="*/ 475432 h 547653"/>
                <a:gd name="connsiteX3" fmla="*/ 531137 w 574179"/>
                <a:gd name="connsiteY3" fmla="*/ 547653 h 547653"/>
                <a:gd name="connsiteX4" fmla="*/ 42181 w 574179"/>
                <a:gd name="connsiteY4" fmla="*/ 547653 h 547653"/>
                <a:gd name="connsiteX5" fmla="*/ 0 w 574179"/>
                <a:gd name="connsiteY5" fmla="*/ 475432 h 547653"/>
                <a:gd name="connsiteX6" fmla="*/ 392503 w 574179"/>
                <a:gd name="connsiteY6" fmla="*/ 318175 h 547653"/>
                <a:gd name="connsiteX7" fmla="*/ 416711 w 574179"/>
                <a:gd name="connsiteY7" fmla="*/ 337076 h 547653"/>
                <a:gd name="connsiteX8" fmla="*/ 419305 w 574179"/>
                <a:gd name="connsiteY8" fmla="*/ 345668 h 547653"/>
                <a:gd name="connsiteX9" fmla="*/ 395097 w 574179"/>
                <a:gd name="connsiteY9" fmla="*/ 343091 h 547653"/>
                <a:gd name="connsiteX10" fmla="*/ 298695 w 574179"/>
                <a:gd name="connsiteY10" fmla="*/ 263188 h 547653"/>
                <a:gd name="connsiteX11" fmla="*/ 320244 w 574179"/>
                <a:gd name="connsiteY11" fmla="*/ 272640 h 547653"/>
                <a:gd name="connsiteX12" fmla="*/ 330588 w 574179"/>
                <a:gd name="connsiteY12" fmla="*/ 270062 h 547653"/>
                <a:gd name="connsiteX13" fmla="*/ 377997 w 574179"/>
                <a:gd name="connsiteY13" fmla="*/ 307013 h 547653"/>
                <a:gd name="connsiteX14" fmla="*/ 377997 w 574179"/>
                <a:gd name="connsiteY14" fmla="*/ 341385 h 547653"/>
                <a:gd name="connsiteX15" fmla="*/ 308177 w 574179"/>
                <a:gd name="connsiteY15" fmla="*/ 338807 h 547653"/>
                <a:gd name="connsiteX16" fmla="*/ 320247 w 574179"/>
                <a:gd name="connsiteY16" fmla="*/ 224505 h 547653"/>
                <a:gd name="connsiteX17" fmla="*/ 336603 w 574179"/>
                <a:gd name="connsiteY17" fmla="*/ 241694 h 547653"/>
                <a:gd name="connsiteX18" fmla="*/ 335742 w 574179"/>
                <a:gd name="connsiteY18" fmla="*/ 246851 h 547653"/>
                <a:gd name="connsiteX19" fmla="*/ 433876 w 574179"/>
                <a:gd name="connsiteY19" fmla="*/ 324202 h 547653"/>
                <a:gd name="connsiteX20" fmla="*/ 435597 w 574179"/>
                <a:gd name="connsiteY20" fmla="*/ 325921 h 547653"/>
                <a:gd name="connsiteX21" fmla="*/ 446788 w 574179"/>
                <a:gd name="connsiteY21" fmla="*/ 364597 h 547653"/>
                <a:gd name="connsiteX22" fmla="*/ 499298 w 574179"/>
                <a:gd name="connsiteY22" fmla="*/ 380926 h 547653"/>
                <a:gd name="connsiteX23" fmla="*/ 499298 w 574179"/>
                <a:gd name="connsiteY23" fmla="*/ 438510 h 547653"/>
                <a:gd name="connsiteX24" fmla="*/ 74052 w 574179"/>
                <a:gd name="connsiteY24" fmla="*/ 438510 h 547653"/>
                <a:gd name="connsiteX25" fmla="*/ 74052 w 574179"/>
                <a:gd name="connsiteY25" fmla="*/ 380926 h 547653"/>
                <a:gd name="connsiteX26" fmla="*/ 286675 w 574179"/>
                <a:gd name="connsiteY26" fmla="*/ 352564 h 547653"/>
                <a:gd name="connsiteX27" fmla="*/ 439040 w 574179"/>
                <a:gd name="connsiteY27" fmla="*/ 362878 h 547653"/>
                <a:gd name="connsiteX28" fmla="*/ 428711 w 574179"/>
                <a:gd name="connsiteY28" fmla="*/ 329359 h 547653"/>
                <a:gd name="connsiteX29" fmla="*/ 332299 w 574179"/>
                <a:gd name="connsiteY29" fmla="*/ 252867 h 547653"/>
                <a:gd name="connsiteX30" fmla="*/ 320247 w 574179"/>
                <a:gd name="connsiteY30" fmla="*/ 258024 h 547653"/>
                <a:gd name="connsiteX31" fmla="*/ 303031 w 574179"/>
                <a:gd name="connsiteY31" fmla="*/ 241694 h 547653"/>
                <a:gd name="connsiteX32" fmla="*/ 320247 w 574179"/>
                <a:gd name="connsiteY32" fmla="*/ 224505 h 547653"/>
                <a:gd name="connsiteX33" fmla="*/ 299567 w 574179"/>
                <a:gd name="connsiteY33" fmla="*/ 186650 h 547653"/>
                <a:gd name="connsiteX34" fmla="*/ 427837 w 574179"/>
                <a:gd name="connsiteY34" fmla="*/ 215021 h 547653"/>
                <a:gd name="connsiteX35" fmla="*/ 433002 w 574179"/>
                <a:gd name="connsiteY35" fmla="*/ 217600 h 547653"/>
                <a:gd name="connsiteX36" fmla="*/ 438168 w 574179"/>
                <a:gd name="connsiteY36" fmla="*/ 220179 h 547653"/>
                <a:gd name="connsiteX37" fmla="*/ 442472 w 574179"/>
                <a:gd name="connsiteY37" fmla="*/ 225337 h 547653"/>
                <a:gd name="connsiteX38" fmla="*/ 445915 w 574179"/>
                <a:gd name="connsiteY38" fmla="*/ 230496 h 547653"/>
                <a:gd name="connsiteX39" fmla="*/ 447637 w 574179"/>
                <a:gd name="connsiteY39" fmla="*/ 237374 h 547653"/>
                <a:gd name="connsiteX40" fmla="*/ 449359 w 574179"/>
                <a:gd name="connsiteY40" fmla="*/ 241672 h 547653"/>
                <a:gd name="connsiteX41" fmla="*/ 462272 w 574179"/>
                <a:gd name="connsiteY41" fmla="*/ 352576 h 547653"/>
                <a:gd name="connsiteX42" fmla="*/ 457968 w 574179"/>
                <a:gd name="connsiteY42" fmla="*/ 351716 h 547653"/>
                <a:gd name="connsiteX43" fmla="*/ 448498 w 574179"/>
                <a:gd name="connsiteY43" fmla="*/ 321626 h 547653"/>
                <a:gd name="connsiteX44" fmla="*/ 446776 w 574179"/>
                <a:gd name="connsiteY44" fmla="*/ 315608 h 547653"/>
                <a:gd name="connsiteX45" fmla="*/ 351219 w 574179"/>
                <a:gd name="connsiteY45" fmla="*/ 240812 h 547653"/>
                <a:gd name="connsiteX46" fmla="*/ 320228 w 574179"/>
                <a:gd name="connsiteY46" fmla="*/ 210722 h 547653"/>
                <a:gd name="connsiteX47" fmla="*/ 293541 w 574179"/>
                <a:gd name="connsiteY47" fmla="*/ 226197 h 547653"/>
                <a:gd name="connsiteX48" fmla="*/ 290958 w 574179"/>
                <a:gd name="connsiteY48" fmla="*/ 203844 h 547653"/>
                <a:gd name="connsiteX49" fmla="*/ 274612 w 574179"/>
                <a:gd name="connsiteY49" fmla="*/ 186650 h 547653"/>
                <a:gd name="connsiteX50" fmla="*/ 282360 w 574179"/>
                <a:gd name="connsiteY50" fmla="*/ 203844 h 547653"/>
                <a:gd name="connsiteX51" fmla="*/ 283221 w 574179"/>
                <a:gd name="connsiteY51" fmla="*/ 203844 h 547653"/>
                <a:gd name="connsiteX52" fmla="*/ 265143 w 574179"/>
                <a:gd name="connsiteY52" fmla="*/ 338820 h 547653"/>
                <a:gd name="connsiteX53" fmla="*/ 195412 w 574179"/>
                <a:gd name="connsiteY53" fmla="*/ 341400 h 547653"/>
                <a:gd name="connsiteX54" fmla="*/ 195412 w 574179"/>
                <a:gd name="connsiteY54" fmla="*/ 266604 h 547653"/>
                <a:gd name="connsiteX55" fmla="*/ 186803 w 574179"/>
                <a:gd name="connsiteY55" fmla="*/ 269183 h 547653"/>
                <a:gd name="connsiteX56" fmla="*/ 178194 w 574179"/>
                <a:gd name="connsiteY56" fmla="*/ 343119 h 547653"/>
                <a:gd name="connsiteX57" fmla="*/ 111907 w 574179"/>
                <a:gd name="connsiteY57" fmla="*/ 352576 h 547653"/>
                <a:gd name="connsiteX58" fmla="*/ 124820 w 574179"/>
                <a:gd name="connsiteY58" fmla="*/ 241672 h 547653"/>
                <a:gd name="connsiteX59" fmla="*/ 125681 w 574179"/>
                <a:gd name="connsiteY59" fmla="*/ 237373 h 547653"/>
                <a:gd name="connsiteX60" fmla="*/ 128264 w 574179"/>
                <a:gd name="connsiteY60" fmla="*/ 230496 h 547653"/>
                <a:gd name="connsiteX61" fmla="*/ 131707 w 574179"/>
                <a:gd name="connsiteY61" fmla="*/ 226197 h 547653"/>
                <a:gd name="connsiteX62" fmla="*/ 136011 w 574179"/>
                <a:gd name="connsiteY62" fmla="*/ 220179 h 547653"/>
                <a:gd name="connsiteX63" fmla="*/ 141177 w 574179"/>
                <a:gd name="connsiteY63" fmla="*/ 217600 h 547653"/>
                <a:gd name="connsiteX64" fmla="*/ 145481 w 574179"/>
                <a:gd name="connsiteY64" fmla="*/ 215021 h 547653"/>
                <a:gd name="connsiteX65" fmla="*/ 274612 w 574179"/>
                <a:gd name="connsiteY65" fmla="*/ 186650 h 547653"/>
                <a:gd name="connsiteX66" fmla="*/ 287089 w 574179"/>
                <a:gd name="connsiteY66" fmla="*/ 0 h 547653"/>
                <a:gd name="connsiteX67" fmla="*/ 369292 w 574179"/>
                <a:gd name="connsiteY67" fmla="*/ 89871 h 547653"/>
                <a:gd name="connsiteX68" fmla="*/ 287089 w 574179"/>
                <a:gd name="connsiteY68" fmla="*/ 179742 h 547653"/>
                <a:gd name="connsiteX69" fmla="*/ 204886 w 574179"/>
                <a:gd name="connsiteY69" fmla="*/ 89871 h 547653"/>
                <a:gd name="connsiteX70" fmla="*/ 287089 w 574179"/>
                <a:gd name="connsiteY70" fmla="*/ 0 h 54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574179" h="547653">
                  <a:moveTo>
                    <a:pt x="0" y="451358"/>
                  </a:moveTo>
                  <a:lnTo>
                    <a:pt x="574179" y="451358"/>
                  </a:lnTo>
                  <a:lnTo>
                    <a:pt x="574179" y="475432"/>
                  </a:lnTo>
                  <a:lnTo>
                    <a:pt x="531137" y="547653"/>
                  </a:lnTo>
                  <a:lnTo>
                    <a:pt x="42181" y="547653"/>
                  </a:lnTo>
                  <a:lnTo>
                    <a:pt x="0" y="475432"/>
                  </a:lnTo>
                  <a:close/>
                  <a:moveTo>
                    <a:pt x="392503" y="318175"/>
                  </a:moveTo>
                  <a:lnTo>
                    <a:pt x="416711" y="337076"/>
                  </a:lnTo>
                  <a:lnTo>
                    <a:pt x="419305" y="345668"/>
                  </a:lnTo>
                  <a:cubicBezTo>
                    <a:pt x="411524" y="344809"/>
                    <a:pt x="403743" y="343950"/>
                    <a:pt x="395097" y="343091"/>
                  </a:cubicBezTo>
                  <a:close/>
                  <a:moveTo>
                    <a:pt x="298695" y="263188"/>
                  </a:moveTo>
                  <a:cubicBezTo>
                    <a:pt x="304729" y="269203"/>
                    <a:pt x="311625" y="272640"/>
                    <a:pt x="320244" y="272640"/>
                  </a:cubicBezTo>
                  <a:cubicBezTo>
                    <a:pt x="323692" y="272640"/>
                    <a:pt x="327140" y="271781"/>
                    <a:pt x="330588" y="270062"/>
                  </a:cubicBezTo>
                  <a:lnTo>
                    <a:pt x="377997" y="307013"/>
                  </a:lnTo>
                  <a:lnTo>
                    <a:pt x="377997" y="341385"/>
                  </a:lnTo>
                  <a:cubicBezTo>
                    <a:pt x="356448" y="339666"/>
                    <a:pt x="333174" y="338807"/>
                    <a:pt x="308177" y="338807"/>
                  </a:cubicBezTo>
                  <a:close/>
                  <a:moveTo>
                    <a:pt x="320247" y="224505"/>
                  </a:moveTo>
                  <a:cubicBezTo>
                    <a:pt x="329716" y="224505"/>
                    <a:pt x="336603" y="232240"/>
                    <a:pt x="336603" y="241694"/>
                  </a:cubicBezTo>
                  <a:cubicBezTo>
                    <a:pt x="336603" y="243413"/>
                    <a:pt x="336603" y="245132"/>
                    <a:pt x="335742" y="246851"/>
                  </a:cubicBezTo>
                  <a:lnTo>
                    <a:pt x="433876" y="324202"/>
                  </a:lnTo>
                  <a:cubicBezTo>
                    <a:pt x="434736" y="325062"/>
                    <a:pt x="434736" y="325062"/>
                    <a:pt x="435597" y="325921"/>
                  </a:cubicBezTo>
                  <a:lnTo>
                    <a:pt x="446788" y="364597"/>
                  </a:lnTo>
                  <a:cubicBezTo>
                    <a:pt x="488107" y="372332"/>
                    <a:pt x="499298" y="380926"/>
                    <a:pt x="499298" y="380926"/>
                  </a:cubicBezTo>
                  <a:lnTo>
                    <a:pt x="499298" y="438510"/>
                  </a:lnTo>
                  <a:lnTo>
                    <a:pt x="74052" y="438510"/>
                  </a:lnTo>
                  <a:lnTo>
                    <a:pt x="74052" y="380926"/>
                  </a:lnTo>
                  <a:cubicBezTo>
                    <a:pt x="74052" y="380926"/>
                    <a:pt x="109346" y="352564"/>
                    <a:pt x="286675" y="352564"/>
                  </a:cubicBezTo>
                  <a:cubicBezTo>
                    <a:pt x="358984" y="352564"/>
                    <a:pt x="406329" y="357721"/>
                    <a:pt x="439040" y="362878"/>
                  </a:cubicBezTo>
                  <a:lnTo>
                    <a:pt x="428711" y="329359"/>
                  </a:lnTo>
                  <a:lnTo>
                    <a:pt x="332299" y="252867"/>
                  </a:lnTo>
                  <a:cubicBezTo>
                    <a:pt x="328855" y="256305"/>
                    <a:pt x="324551" y="258024"/>
                    <a:pt x="320247" y="258024"/>
                  </a:cubicBezTo>
                  <a:cubicBezTo>
                    <a:pt x="310778" y="258024"/>
                    <a:pt x="303031" y="250289"/>
                    <a:pt x="303031" y="241694"/>
                  </a:cubicBezTo>
                  <a:cubicBezTo>
                    <a:pt x="303031" y="232240"/>
                    <a:pt x="310778" y="224505"/>
                    <a:pt x="320247" y="224505"/>
                  </a:cubicBezTo>
                  <a:close/>
                  <a:moveTo>
                    <a:pt x="299567" y="186650"/>
                  </a:moveTo>
                  <a:cubicBezTo>
                    <a:pt x="359828" y="190089"/>
                    <a:pt x="425254" y="213301"/>
                    <a:pt x="427837" y="215021"/>
                  </a:cubicBezTo>
                  <a:cubicBezTo>
                    <a:pt x="430420" y="215021"/>
                    <a:pt x="431281" y="216740"/>
                    <a:pt x="433002" y="217600"/>
                  </a:cubicBezTo>
                  <a:cubicBezTo>
                    <a:pt x="434724" y="218460"/>
                    <a:pt x="436446" y="219319"/>
                    <a:pt x="438168" y="220179"/>
                  </a:cubicBezTo>
                  <a:cubicBezTo>
                    <a:pt x="439889" y="221899"/>
                    <a:pt x="440750" y="223618"/>
                    <a:pt x="442472" y="225337"/>
                  </a:cubicBezTo>
                  <a:cubicBezTo>
                    <a:pt x="443333" y="227057"/>
                    <a:pt x="445055" y="228776"/>
                    <a:pt x="445915" y="230496"/>
                  </a:cubicBezTo>
                  <a:cubicBezTo>
                    <a:pt x="446776" y="232215"/>
                    <a:pt x="447637" y="234794"/>
                    <a:pt x="447637" y="237374"/>
                  </a:cubicBezTo>
                  <a:cubicBezTo>
                    <a:pt x="448498" y="238233"/>
                    <a:pt x="449359" y="239953"/>
                    <a:pt x="449359" y="241672"/>
                  </a:cubicBezTo>
                  <a:lnTo>
                    <a:pt x="462272" y="352576"/>
                  </a:lnTo>
                  <a:cubicBezTo>
                    <a:pt x="460550" y="352576"/>
                    <a:pt x="459689" y="352576"/>
                    <a:pt x="457968" y="351716"/>
                  </a:cubicBezTo>
                  <a:lnTo>
                    <a:pt x="448498" y="321626"/>
                  </a:lnTo>
                  <a:lnTo>
                    <a:pt x="446776" y="315608"/>
                  </a:lnTo>
                  <a:lnTo>
                    <a:pt x="351219" y="240812"/>
                  </a:lnTo>
                  <a:cubicBezTo>
                    <a:pt x="351219" y="224478"/>
                    <a:pt x="337445" y="210722"/>
                    <a:pt x="320228" y="210722"/>
                  </a:cubicBezTo>
                  <a:cubicBezTo>
                    <a:pt x="309036" y="210722"/>
                    <a:pt x="299567" y="216740"/>
                    <a:pt x="293541" y="226197"/>
                  </a:cubicBezTo>
                  <a:lnTo>
                    <a:pt x="290958" y="203844"/>
                  </a:lnTo>
                  <a:close/>
                  <a:moveTo>
                    <a:pt x="274612" y="186650"/>
                  </a:moveTo>
                  <a:lnTo>
                    <a:pt x="282360" y="203844"/>
                  </a:lnTo>
                  <a:lnTo>
                    <a:pt x="283221" y="203844"/>
                  </a:lnTo>
                  <a:lnTo>
                    <a:pt x="265143" y="338820"/>
                  </a:lnTo>
                  <a:cubicBezTo>
                    <a:pt x="239316" y="338820"/>
                    <a:pt x="216073" y="340540"/>
                    <a:pt x="195412" y="341400"/>
                  </a:cubicBezTo>
                  <a:lnTo>
                    <a:pt x="195412" y="266604"/>
                  </a:lnTo>
                  <a:cubicBezTo>
                    <a:pt x="192829" y="268323"/>
                    <a:pt x="189386" y="269183"/>
                    <a:pt x="186803" y="269183"/>
                  </a:cubicBezTo>
                  <a:lnTo>
                    <a:pt x="178194" y="343119"/>
                  </a:lnTo>
                  <a:cubicBezTo>
                    <a:pt x="149785" y="345698"/>
                    <a:pt x="128264" y="349137"/>
                    <a:pt x="111907" y="352576"/>
                  </a:cubicBezTo>
                  <a:lnTo>
                    <a:pt x="124820" y="241672"/>
                  </a:lnTo>
                  <a:cubicBezTo>
                    <a:pt x="124820" y="239953"/>
                    <a:pt x="125681" y="239093"/>
                    <a:pt x="125681" y="237373"/>
                  </a:cubicBezTo>
                  <a:cubicBezTo>
                    <a:pt x="126542" y="234794"/>
                    <a:pt x="126542" y="232215"/>
                    <a:pt x="128264" y="230496"/>
                  </a:cubicBezTo>
                  <a:cubicBezTo>
                    <a:pt x="129124" y="228776"/>
                    <a:pt x="129985" y="227057"/>
                    <a:pt x="131707" y="226197"/>
                  </a:cubicBezTo>
                  <a:cubicBezTo>
                    <a:pt x="132568" y="223618"/>
                    <a:pt x="134290" y="221899"/>
                    <a:pt x="136011" y="220179"/>
                  </a:cubicBezTo>
                  <a:cubicBezTo>
                    <a:pt x="137733" y="219319"/>
                    <a:pt x="139455" y="218460"/>
                    <a:pt x="141177" y="217600"/>
                  </a:cubicBezTo>
                  <a:cubicBezTo>
                    <a:pt x="142898" y="216740"/>
                    <a:pt x="143759" y="215021"/>
                    <a:pt x="145481" y="215021"/>
                  </a:cubicBezTo>
                  <a:cubicBezTo>
                    <a:pt x="148925" y="213301"/>
                    <a:pt x="214351" y="190089"/>
                    <a:pt x="274612" y="186650"/>
                  </a:cubicBezTo>
                  <a:close/>
                  <a:moveTo>
                    <a:pt x="287089" y="0"/>
                  </a:moveTo>
                  <a:cubicBezTo>
                    <a:pt x="332488" y="0"/>
                    <a:pt x="369292" y="40237"/>
                    <a:pt x="369292" y="89871"/>
                  </a:cubicBezTo>
                  <a:cubicBezTo>
                    <a:pt x="369292" y="139505"/>
                    <a:pt x="332488" y="179742"/>
                    <a:pt x="287089" y="179742"/>
                  </a:cubicBezTo>
                  <a:cubicBezTo>
                    <a:pt x="241690" y="179742"/>
                    <a:pt x="204886" y="139505"/>
                    <a:pt x="204886" y="89871"/>
                  </a:cubicBezTo>
                  <a:cubicBezTo>
                    <a:pt x="204886" y="40237"/>
                    <a:pt x="241690" y="0"/>
                    <a:pt x="287089" y="0"/>
                  </a:cubicBezTo>
                  <a:close/>
                </a:path>
              </a:pathLst>
            </a:custGeom>
            <a:solidFill>
              <a:srgbClr val="D9AB00"/>
            </a:solidFill>
            <a:ln>
              <a:noFill/>
            </a:ln>
          </p:spPr>
          <p:txBody>
            <a:bodyPr wrap="square" lIns="91440" tIns="45720" rIns="91440" bIns="45720">
              <a:normAutofit fontScale="92500" lnSpcReduction="20000"/>
            </a:bodyPr>
            <a:lstStyle/>
            <a:p>
              <a:endParaRPr lang="zh-CN" altLang="en-US"/>
            </a:p>
          </p:txBody>
        </p:sp>
        <p:sp>
          <p:nvSpPr>
            <p:cNvPr id="23" name="ïṥļíḋe"/>
            <p:cNvSpPr/>
            <p:nvPr/>
          </p:nvSpPr>
          <p:spPr bwMode="auto">
            <a:xfrm>
              <a:off x="7279711" y="1544340"/>
              <a:ext cx="301423" cy="317332"/>
            </a:xfrm>
            <a:custGeom>
              <a:avLst/>
              <a:gdLst>
                <a:gd name="connsiteX0" fmla="*/ 17244 w 576909"/>
                <a:gd name="connsiteY0" fmla="*/ 412385 h 607357"/>
                <a:gd name="connsiteX1" fmla="*/ 49769 w 576909"/>
                <a:gd name="connsiteY1" fmla="*/ 412385 h 607357"/>
                <a:gd name="connsiteX2" fmla="*/ 57152 w 576909"/>
                <a:gd name="connsiteY2" fmla="*/ 412385 h 607357"/>
                <a:gd name="connsiteX3" fmla="*/ 60095 w 576909"/>
                <a:gd name="connsiteY3" fmla="*/ 412643 h 607357"/>
                <a:gd name="connsiteX4" fmla="*/ 72020 w 576909"/>
                <a:gd name="connsiteY4" fmla="*/ 420839 h 607357"/>
                <a:gd name="connsiteX5" fmla="*/ 74292 w 576909"/>
                <a:gd name="connsiteY5" fmla="*/ 429498 h 607357"/>
                <a:gd name="connsiteX6" fmla="*/ 74447 w 576909"/>
                <a:gd name="connsiteY6" fmla="*/ 577176 h 607357"/>
                <a:gd name="connsiteX7" fmla="*/ 72588 w 576909"/>
                <a:gd name="connsiteY7" fmla="*/ 585011 h 607357"/>
                <a:gd name="connsiteX8" fmla="*/ 60714 w 576909"/>
                <a:gd name="connsiteY8" fmla="*/ 594083 h 607357"/>
                <a:gd name="connsiteX9" fmla="*/ 57307 w 576909"/>
                <a:gd name="connsiteY9" fmla="*/ 594444 h 607357"/>
                <a:gd name="connsiteX10" fmla="*/ 50389 w 576909"/>
                <a:gd name="connsiteY10" fmla="*/ 594444 h 607357"/>
                <a:gd name="connsiteX11" fmla="*/ 17347 w 576909"/>
                <a:gd name="connsiteY11" fmla="*/ 594444 h 607357"/>
                <a:gd name="connsiteX12" fmla="*/ 155 w 576909"/>
                <a:gd name="connsiteY12" fmla="*/ 577280 h 607357"/>
                <a:gd name="connsiteX13" fmla="*/ 0 w 576909"/>
                <a:gd name="connsiteY13" fmla="*/ 429550 h 607357"/>
                <a:gd name="connsiteX14" fmla="*/ 17244 w 576909"/>
                <a:gd name="connsiteY14" fmla="*/ 412385 h 607357"/>
                <a:gd name="connsiteX15" fmla="*/ 196520 w 576909"/>
                <a:gd name="connsiteY15" fmla="*/ 401870 h 607357"/>
                <a:gd name="connsiteX16" fmla="*/ 308583 w 576909"/>
                <a:gd name="connsiteY16" fmla="*/ 433626 h 607357"/>
                <a:gd name="connsiteX17" fmla="*/ 325823 w 576909"/>
                <a:gd name="connsiteY17" fmla="*/ 438369 h 607357"/>
                <a:gd name="connsiteX18" fmla="*/ 392669 w 576909"/>
                <a:gd name="connsiteY18" fmla="*/ 438782 h 607357"/>
                <a:gd name="connsiteX19" fmla="*/ 409806 w 576909"/>
                <a:gd name="connsiteY19" fmla="*/ 456052 h 607357"/>
                <a:gd name="connsiteX20" fmla="*/ 409651 w 576909"/>
                <a:gd name="connsiteY20" fmla="*/ 484096 h 607357"/>
                <a:gd name="connsiteX21" fmla="*/ 409599 w 576909"/>
                <a:gd name="connsiteY21" fmla="*/ 494252 h 607357"/>
                <a:gd name="connsiteX22" fmla="*/ 392410 w 576909"/>
                <a:gd name="connsiteY22" fmla="*/ 511367 h 607357"/>
                <a:gd name="connsiteX23" fmla="*/ 257584 w 576909"/>
                <a:gd name="connsiteY23" fmla="*/ 511161 h 607357"/>
                <a:gd name="connsiteX24" fmla="*/ 249325 w 576909"/>
                <a:gd name="connsiteY24" fmla="*/ 519358 h 607357"/>
                <a:gd name="connsiteX25" fmla="*/ 249325 w 576909"/>
                <a:gd name="connsiteY25" fmla="*/ 521987 h 607357"/>
                <a:gd name="connsiteX26" fmla="*/ 257584 w 576909"/>
                <a:gd name="connsiteY26" fmla="*/ 530287 h 607357"/>
                <a:gd name="connsiteX27" fmla="*/ 407122 w 576909"/>
                <a:gd name="connsiteY27" fmla="*/ 530493 h 607357"/>
                <a:gd name="connsiteX28" fmla="*/ 407793 w 576909"/>
                <a:gd name="connsiteY28" fmla="*/ 530493 h 607357"/>
                <a:gd name="connsiteX29" fmla="*/ 507519 w 576909"/>
                <a:gd name="connsiteY29" fmla="*/ 429296 h 607357"/>
                <a:gd name="connsiteX30" fmla="*/ 524656 w 576909"/>
                <a:gd name="connsiteY30" fmla="*/ 413573 h 607357"/>
                <a:gd name="connsiteX31" fmla="*/ 524811 w 576909"/>
                <a:gd name="connsiteY31" fmla="*/ 413573 h 607357"/>
                <a:gd name="connsiteX32" fmla="*/ 529921 w 576909"/>
                <a:gd name="connsiteY32" fmla="*/ 413573 h 607357"/>
                <a:gd name="connsiteX33" fmla="*/ 560066 w 576909"/>
                <a:gd name="connsiteY33" fmla="*/ 413779 h 607357"/>
                <a:gd name="connsiteX34" fmla="*/ 576842 w 576909"/>
                <a:gd name="connsiteY34" fmla="*/ 432131 h 607357"/>
                <a:gd name="connsiteX35" fmla="*/ 416258 w 576909"/>
                <a:gd name="connsiteY35" fmla="*/ 607357 h 607357"/>
                <a:gd name="connsiteX36" fmla="*/ 360252 w 576909"/>
                <a:gd name="connsiteY36" fmla="*/ 606996 h 607357"/>
                <a:gd name="connsiteX37" fmla="*/ 233943 w 576909"/>
                <a:gd name="connsiteY37" fmla="*/ 594779 h 607357"/>
                <a:gd name="connsiteX38" fmla="*/ 197191 w 576909"/>
                <a:gd name="connsiteY38" fmla="*/ 587819 h 607357"/>
                <a:gd name="connsiteX39" fmla="*/ 168801 w 576909"/>
                <a:gd name="connsiteY39" fmla="*/ 585138 h 607357"/>
                <a:gd name="connsiteX40" fmla="*/ 94162 w 576909"/>
                <a:gd name="connsiteY40" fmla="*/ 585138 h 607357"/>
                <a:gd name="connsiteX41" fmla="*/ 94988 w 576909"/>
                <a:gd name="connsiteY41" fmla="*/ 577302 h 607357"/>
                <a:gd name="connsiteX42" fmla="*/ 94884 w 576909"/>
                <a:gd name="connsiteY42" fmla="*/ 429605 h 607357"/>
                <a:gd name="connsiteX43" fmla="*/ 93852 w 576909"/>
                <a:gd name="connsiteY43" fmla="*/ 420738 h 607357"/>
                <a:gd name="connsiteX44" fmla="*/ 117028 w 576909"/>
                <a:gd name="connsiteY44" fmla="*/ 420584 h 607357"/>
                <a:gd name="connsiteX45" fmla="*/ 196520 w 576909"/>
                <a:gd name="connsiteY45" fmla="*/ 401870 h 607357"/>
                <a:gd name="connsiteX46" fmla="*/ 468886 w 576909"/>
                <a:gd name="connsiteY46" fmla="*/ 357273 h 607357"/>
                <a:gd name="connsiteX47" fmla="*/ 512800 w 576909"/>
                <a:gd name="connsiteY47" fmla="*/ 357273 h 607357"/>
                <a:gd name="connsiteX48" fmla="*/ 529984 w 576909"/>
                <a:gd name="connsiteY48" fmla="*/ 374594 h 607357"/>
                <a:gd name="connsiteX49" fmla="*/ 529881 w 576909"/>
                <a:gd name="connsiteY49" fmla="*/ 392946 h 607357"/>
                <a:gd name="connsiteX50" fmla="*/ 524772 w 576909"/>
                <a:gd name="connsiteY50" fmla="*/ 392946 h 607357"/>
                <a:gd name="connsiteX51" fmla="*/ 524566 w 576909"/>
                <a:gd name="connsiteY51" fmla="*/ 392946 h 607357"/>
                <a:gd name="connsiteX52" fmla="*/ 498971 w 576909"/>
                <a:gd name="connsiteY52" fmla="*/ 402895 h 607357"/>
                <a:gd name="connsiteX53" fmla="*/ 486844 w 576909"/>
                <a:gd name="connsiteY53" fmla="*/ 427485 h 607357"/>
                <a:gd name="connsiteX54" fmla="*/ 447368 w 576909"/>
                <a:gd name="connsiteY54" fmla="*/ 498985 h 607357"/>
                <a:gd name="connsiteX55" fmla="*/ 428120 w 576909"/>
                <a:gd name="connsiteY55" fmla="*/ 506872 h 607357"/>
                <a:gd name="connsiteX56" fmla="*/ 430287 w 576909"/>
                <a:gd name="connsiteY56" fmla="*/ 494449 h 607357"/>
                <a:gd name="connsiteX57" fmla="*/ 430391 w 576909"/>
                <a:gd name="connsiteY57" fmla="*/ 470478 h 607357"/>
                <a:gd name="connsiteX58" fmla="*/ 451496 w 576909"/>
                <a:gd name="connsiteY58" fmla="*/ 405524 h 607357"/>
                <a:gd name="connsiteX59" fmla="*/ 451702 w 576909"/>
                <a:gd name="connsiteY59" fmla="*/ 374285 h 607357"/>
                <a:gd name="connsiteX60" fmla="*/ 468886 w 576909"/>
                <a:gd name="connsiteY60" fmla="*/ 357273 h 607357"/>
                <a:gd name="connsiteX61" fmla="*/ 361457 w 576909"/>
                <a:gd name="connsiteY61" fmla="*/ 0 h 607357"/>
                <a:gd name="connsiteX62" fmla="*/ 386592 w 576909"/>
                <a:gd name="connsiteY62" fmla="*/ 0 h 607357"/>
                <a:gd name="connsiteX63" fmla="*/ 407237 w 576909"/>
                <a:gd name="connsiteY63" fmla="*/ 20619 h 607357"/>
                <a:gd name="connsiteX64" fmla="*/ 407237 w 576909"/>
                <a:gd name="connsiteY64" fmla="*/ 127010 h 607357"/>
                <a:gd name="connsiteX65" fmla="*/ 455649 w 576909"/>
                <a:gd name="connsiteY65" fmla="*/ 175463 h 607357"/>
                <a:gd name="connsiteX66" fmla="*/ 445946 w 576909"/>
                <a:gd name="connsiteY66" fmla="*/ 198917 h 607357"/>
                <a:gd name="connsiteX67" fmla="*/ 423753 w 576909"/>
                <a:gd name="connsiteY67" fmla="*/ 198917 h 607357"/>
                <a:gd name="connsiteX68" fmla="*/ 406514 w 576909"/>
                <a:gd name="connsiteY68" fmla="*/ 216081 h 607357"/>
                <a:gd name="connsiteX69" fmla="*/ 406514 w 576909"/>
                <a:gd name="connsiteY69" fmla="*/ 349070 h 607357"/>
                <a:gd name="connsiteX70" fmla="*/ 389327 w 576909"/>
                <a:gd name="connsiteY70" fmla="*/ 366235 h 607357"/>
                <a:gd name="connsiteX71" fmla="*/ 352631 w 576909"/>
                <a:gd name="connsiteY71" fmla="*/ 366235 h 607357"/>
                <a:gd name="connsiteX72" fmla="*/ 335444 w 576909"/>
                <a:gd name="connsiteY72" fmla="*/ 349070 h 607357"/>
                <a:gd name="connsiteX73" fmla="*/ 335444 w 576909"/>
                <a:gd name="connsiteY73" fmla="*/ 289895 h 607357"/>
                <a:gd name="connsiteX74" fmla="*/ 318257 w 576909"/>
                <a:gd name="connsiteY74" fmla="*/ 272731 h 607357"/>
                <a:gd name="connsiteX75" fmla="*/ 241871 w 576909"/>
                <a:gd name="connsiteY75" fmla="*/ 272731 h 607357"/>
                <a:gd name="connsiteX76" fmla="*/ 224633 w 576909"/>
                <a:gd name="connsiteY76" fmla="*/ 289895 h 607357"/>
                <a:gd name="connsiteX77" fmla="*/ 224633 w 576909"/>
                <a:gd name="connsiteY77" fmla="*/ 349019 h 607357"/>
                <a:gd name="connsiteX78" fmla="*/ 207446 w 576909"/>
                <a:gd name="connsiteY78" fmla="*/ 366184 h 607357"/>
                <a:gd name="connsiteX79" fmla="*/ 170750 w 576909"/>
                <a:gd name="connsiteY79" fmla="*/ 366184 h 607357"/>
                <a:gd name="connsiteX80" fmla="*/ 153563 w 576909"/>
                <a:gd name="connsiteY80" fmla="*/ 349019 h 607357"/>
                <a:gd name="connsiteX81" fmla="*/ 153563 w 576909"/>
                <a:gd name="connsiteY81" fmla="*/ 216030 h 607357"/>
                <a:gd name="connsiteX82" fmla="*/ 136376 w 576909"/>
                <a:gd name="connsiteY82" fmla="*/ 198814 h 607357"/>
                <a:gd name="connsiteX83" fmla="*/ 114131 w 576909"/>
                <a:gd name="connsiteY83" fmla="*/ 198814 h 607357"/>
                <a:gd name="connsiteX84" fmla="*/ 104428 w 576909"/>
                <a:gd name="connsiteY84" fmla="*/ 175412 h 607357"/>
                <a:gd name="connsiteX85" fmla="*/ 267884 w 576909"/>
                <a:gd name="connsiteY85" fmla="*/ 12165 h 607357"/>
                <a:gd name="connsiteX86" fmla="*/ 292245 w 576909"/>
                <a:gd name="connsiteY86" fmla="*/ 12165 h 607357"/>
                <a:gd name="connsiteX87" fmla="*/ 340812 w 576909"/>
                <a:gd name="connsiteY87" fmla="*/ 60670 h 607357"/>
                <a:gd name="connsiteX88" fmla="*/ 340812 w 576909"/>
                <a:gd name="connsiteY88" fmla="*/ 20619 h 607357"/>
                <a:gd name="connsiteX89" fmla="*/ 361457 w 576909"/>
                <a:gd name="connsiteY89" fmla="*/ 0 h 607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576909" h="607357">
                  <a:moveTo>
                    <a:pt x="17244" y="412385"/>
                  </a:moveTo>
                  <a:lnTo>
                    <a:pt x="49769" y="412385"/>
                  </a:lnTo>
                  <a:lnTo>
                    <a:pt x="57152" y="412385"/>
                  </a:lnTo>
                  <a:cubicBezTo>
                    <a:pt x="58184" y="412385"/>
                    <a:pt x="59165" y="412540"/>
                    <a:pt x="60095" y="412643"/>
                  </a:cubicBezTo>
                  <a:cubicBezTo>
                    <a:pt x="65206" y="413571"/>
                    <a:pt x="69491" y="416560"/>
                    <a:pt x="72020" y="420839"/>
                  </a:cubicBezTo>
                  <a:cubicBezTo>
                    <a:pt x="73518" y="423364"/>
                    <a:pt x="74447" y="426406"/>
                    <a:pt x="74292" y="429498"/>
                  </a:cubicBezTo>
                  <a:lnTo>
                    <a:pt x="74447" y="577176"/>
                  </a:lnTo>
                  <a:cubicBezTo>
                    <a:pt x="74447" y="580011"/>
                    <a:pt x="73724" y="582692"/>
                    <a:pt x="72588" y="585011"/>
                  </a:cubicBezTo>
                  <a:cubicBezTo>
                    <a:pt x="70214" y="589651"/>
                    <a:pt x="65877" y="593053"/>
                    <a:pt x="60714" y="594083"/>
                  </a:cubicBezTo>
                  <a:cubicBezTo>
                    <a:pt x="59630" y="594290"/>
                    <a:pt x="58442" y="594444"/>
                    <a:pt x="57307" y="594444"/>
                  </a:cubicBezTo>
                  <a:lnTo>
                    <a:pt x="50389" y="594444"/>
                  </a:lnTo>
                  <a:lnTo>
                    <a:pt x="17347" y="594444"/>
                  </a:lnTo>
                  <a:cubicBezTo>
                    <a:pt x="7847" y="594444"/>
                    <a:pt x="155" y="586764"/>
                    <a:pt x="155" y="577280"/>
                  </a:cubicBezTo>
                  <a:lnTo>
                    <a:pt x="0" y="429550"/>
                  </a:lnTo>
                  <a:cubicBezTo>
                    <a:pt x="0" y="420066"/>
                    <a:pt x="7744" y="412385"/>
                    <a:pt x="17244" y="412385"/>
                  </a:cubicBezTo>
                  <a:close/>
                  <a:moveTo>
                    <a:pt x="196520" y="401870"/>
                  </a:moveTo>
                  <a:cubicBezTo>
                    <a:pt x="248809" y="401870"/>
                    <a:pt x="291859" y="423831"/>
                    <a:pt x="308583" y="433626"/>
                  </a:cubicBezTo>
                  <a:cubicBezTo>
                    <a:pt x="313796" y="436720"/>
                    <a:pt x="319784" y="438318"/>
                    <a:pt x="325823" y="438369"/>
                  </a:cubicBezTo>
                  <a:lnTo>
                    <a:pt x="392669" y="438782"/>
                  </a:lnTo>
                  <a:cubicBezTo>
                    <a:pt x="402218" y="438782"/>
                    <a:pt x="409857" y="446566"/>
                    <a:pt x="409806" y="456052"/>
                  </a:cubicBezTo>
                  <a:lnTo>
                    <a:pt x="409651" y="484096"/>
                  </a:lnTo>
                  <a:lnTo>
                    <a:pt x="409599" y="494252"/>
                  </a:lnTo>
                  <a:cubicBezTo>
                    <a:pt x="409548" y="503737"/>
                    <a:pt x="401805" y="511367"/>
                    <a:pt x="392410" y="511367"/>
                  </a:cubicBezTo>
                  <a:lnTo>
                    <a:pt x="257584" y="511161"/>
                  </a:lnTo>
                  <a:cubicBezTo>
                    <a:pt x="253042" y="511161"/>
                    <a:pt x="249325" y="514821"/>
                    <a:pt x="249325" y="519358"/>
                  </a:cubicBezTo>
                  <a:lnTo>
                    <a:pt x="249325" y="521987"/>
                  </a:lnTo>
                  <a:cubicBezTo>
                    <a:pt x="249325" y="526575"/>
                    <a:pt x="253042" y="530287"/>
                    <a:pt x="257584" y="530287"/>
                  </a:cubicBezTo>
                  <a:lnTo>
                    <a:pt x="407122" y="530493"/>
                  </a:lnTo>
                  <a:lnTo>
                    <a:pt x="407793" y="530493"/>
                  </a:lnTo>
                  <a:cubicBezTo>
                    <a:pt x="416361" y="530493"/>
                    <a:pt x="499002" y="527967"/>
                    <a:pt x="507519" y="429296"/>
                  </a:cubicBezTo>
                  <a:cubicBezTo>
                    <a:pt x="508293" y="420377"/>
                    <a:pt x="515726" y="413573"/>
                    <a:pt x="524656" y="413573"/>
                  </a:cubicBezTo>
                  <a:lnTo>
                    <a:pt x="524811" y="413573"/>
                  </a:lnTo>
                  <a:lnTo>
                    <a:pt x="529921" y="413573"/>
                  </a:lnTo>
                  <a:lnTo>
                    <a:pt x="560066" y="413779"/>
                  </a:lnTo>
                  <a:cubicBezTo>
                    <a:pt x="569976" y="413830"/>
                    <a:pt x="577719" y="422233"/>
                    <a:pt x="576842" y="432131"/>
                  </a:cubicBezTo>
                  <a:cubicBezTo>
                    <a:pt x="565744" y="600346"/>
                    <a:pt x="416258" y="607357"/>
                    <a:pt x="416258" y="607357"/>
                  </a:cubicBezTo>
                  <a:lnTo>
                    <a:pt x="360252" y="606996"/>
                  </a:lnTo>
                  <a:cubicBezTo>
                    <a:pt x="317874" y="606739"/>
                    <a:pt x="275599" y="602666"/>
                    <a:pt x="233943" y="594779"/>
                  </a:cubicBezTo>
                  <a:lnTo>
                    <a:pt x="197191" y="587819"/>
                  </a:lnTo>
                  <a:cubicBezTo>
                    <a:pt x="187848" y="586015"/>
                    <a:pt x="178351" y="585138"/>
                    <a:pt x="168801" y="585138"/>
                  </a:cubicBezTo>
                  <a:lnTo>
                    <a:pt x="94162" y="585138"/>
                  </a:lnTo>
                  <a:cubicBezTo>
                    <a:pt x="94730" y="582612"/>
                    <a:pt x="94988" y="579983"/>
                    <a:pt x="94988" y="577302"/>
                  </a:cubicBezTo>
                  <a:lnTo>
                    <a:pt x="94884" y="429605"/>
                  </a:lnTo>
                  <a:cubicBezTo>
                    <a:pt x="94884" y="426512"/>
                    <a:pt x="94523" y="423522"/>
                    <a:pt x="93852" y="420738"/>
                  </a:cubicBezTo>
                  <a:lnTo>
                    <a:pt x="117028" y="420584"/>
                  </a:lnTo>
                  <a:cubicBezTo>
                    <a:pt x="144438" y="406922"/>
                    <a:pt x="171537" y="401870"/>
                    <a:pt x="196520" y="401870"/>
                  </a:cubicBezTo>
                  <a:close/>
                  <a:moveTo>
                    <a:pt x="468886" y="357273"/>
                  </a:moveTo>
                  <a:lnTo>
                    <a:pt x="512800" y="357273"/>
                  </a:lnTo>
                  <a:cubicBezTo>
                    <a:pt x="522347" y="357273"/>
                    <a:pt x="530087" y="365006"/>
                    <a:pt x="529984" y="374594"/>
                  </a:cubicBezTo>
                  <a:lnTo>
                    <a:pt x="529881" y="392946"/>
                  </a:lnTo>
                  <a:lnTo>
                    <a:pt x="524772" y="392946"/>
                  </a:lnTo>
                  <a:lnTo>
                    <a:pt x="524566" y="392946"/>
                  </a:lnTo>
                  <a:cubicBezTo>
                    <a:pt x="515071" y="392946"/>
                    <a:pt x="505989" y="396451"/>
                    <a:pt x="498971" y="402895"/>
                  </a:cubicBezTo>
                  <a:cubicBezTo>
                    <a:pt x="491953" y="409288"/>
                    <a:pt x="487670" y="418103"/>
                    <a:pt x="486844" y="427485"/>
                  </a:cubicBezTo>
                  <a:cubicBezTo>
                    <a:pt x="483903" y="461714"/>
                    <a:pt x="470641" y="485737"/>
                    <a:pt x="447368" y="498985"/>
                  </a:cubicBezTo>
                  <a:cubicBezTo>
                    <a:pt x="440763" y="502851"/>
                    <a:pt x="434003" y="505326"/>
                    <a:pt x="428120" y="506872"/>
                  </a:cubicBezTo>
                  <a:cubicBezTo>
                    <a:pt x="429565" y="502954"/>
                    <a:pt x="430287" y="498779"/>
                    <a:pt x="430287" y="494449"/>
                  </a:cubicBezTo>
                  <a:lnTo>
                    <a:pt x="430391" y="470478"/>
                  </a:lnTo>
                  <a:cubicBezTo>
                    <a:pt x="443085" y="457899"/>
                    <a:pt x="452064" y="437692"/>
                    <a:pt x="451496" y="405524"/>
                  </a:cubicBezTo>
                  <a:lnTo>
                    <a:pt x="451702" y="374285"/>
                  </a:lnTo>
                  <a:cubicBezTo>
                    <a:pt x="451754" y="364903"/>
                    <a:pt x="459494" y="357273"/>
                    <a:pt x="468886" y="357273"/>
                  </a:cubicBezTo>
                  <a:close/>
                  <a:moveTo>
                    <a:pt x="361457" y="0"/>
                  </a:moveTo>
                  <a:lnTo>
                    <a:pt x="386592" y="0"/>
                  </a:lnTo>
                  <a:cubicBezTo>
                    <a:pt x="397998" y="0"/>
                    <a:pt x="407237" y="9227"/>
                    <a:pt x="407237" y="20619"/>
                  </a:cubicBezTo>
                  <a:lnTo>
                    <a:pt x="407237" y="127010"/>
                  </a:lnTo>
                  <a:lnTo>
                    <a:pt x="455649" y="175463"/>
                  </a:lnTo>
                  <a:cubicBezTo>
                    <a:pt x="464320" y="184123"/>
                    <a:pt x="458230" y="198917"/>
                    <a:pt x="445946" y="198917"/>
                  </a:cubicBezTo>
                  <a:lnTo>
                    <a:pt x="423753" y="198917"/>
                  </a:lnTo>
                  <a:cubicBezTo>
                    <a:pt x="414256" y="198917"/>
                    <a:pt x="406514" y="206597"/>
                    <a:pt x="406514" y="216081"/>
                  </a:cubicBezTo>
                  <a:lnTo>
                    <a:pt x="406514" y="349070"/>
                  </a:lnTo>
                  <a:cubicBezTo>
                    <a:pt x="406514" y="358555"/>
                    <a:pt x="398824" y="366235"/>
                    <a:pt x="389327" y="366235"/>
                  </a:cubicBezTo>
                  <a:lnTo>
                    <a:pt x="352631" y="366235"/>
                  </a:lnTo>
                  <a:cubicBezTo>
                    <a:pt x="343134" y="366235"/>
                    <a:pt x="335444" y="358555"/>
                    <a:pt x="335444" y="349070"/>
                  </a:cubicBezTo>
                  <a:lnTo>
                    <a:pt x="335444" y="289895"/>
                  </a:lnTo>
                  <a:cubicBezTo>
                    <a:pt x="335444" y="280411"/>
                    <a:pt x="327754" y="272731"/>
                    <a:pt x="318257" y="272731"/>
                  </a:cubicBezTo>
                  <a:lnTo>
                    <a:pt x="241871" y="272731"/>
                  </a:lnTo>
                  <a:cubicBezTo>
                    <a:pt x="232375" y="272731"/>
                    <a:pt x="224633" y="280411"/>
                    <a:pt x="224633" y="289895"/>
                  </a:cubicBezTo>
                  <a:lnTo>
                    <a:pt x="224633" y="349019"/>
                  </a:lnTo>
                  <a:cubicBezTo>
                    <a:pt x="224633" y="358503"/>
                    <a:pt x="216943" y="366184"/>
                    <a:pt x="207446" y="366184"/>
                  </a:cubicBezTo>
                  <a:lnTo>
                    <a:pt x="170750" y="366184"/>
                  </a:lnTo>
                  <a:cubicBezTo>
                    <a:pt x="161253" y="366184"/>
                    <a:pt x="153563" y="358503"/>
                    <a:pt x="153563" y="349019"/>
                  </a:cubicBezTo>
                  <a:lnTo>
                    <a:pt x="153563" y="216030"/>
                  </a:lnTo>
                  <a:cubicBezTo>
                    <a:pt x="153563" y="206545"/>
                    <a:pt x="145872" y="198814"/>
                    <a:pt x="136376" y="198814"/>
                  </a:cubicBezTo>
                  <a:lnTo>
                    <a:pt x="114131" y="198814"/>
                  </a:lnTo>
                  <a:cubicBezTo>
                    <a:pt x="101899" y="198814"/>
                    <a:pt x="95757" y="184071"/>
                    <a:pt x="104428" y="175412"/>
                  </a:cubicBezTo>
                  <a:lnTo>
                    <a:pt x="267884" y="12165"/>
                  </a:lnTo>
                  <a:cubicBezTo>
                    <a:pt x="274593" y="5413"/>
                    <a:pt x="285484" y="5413"/>
                    <a:pt x="292245" y="12165"/>
                  </a:cubicBezTo>
                  <a:lnTo>
                    <a:pt x="340812" y="60670"/>
                  </a:lnTo>
                  <a:lnTo>
                    <a:pt x="340812" y="20619"/>
                  </a:lnTo>
                  <a:cubicBezTo>
                    <a:pt x="340812" y="9227"/>
                    <a:pt x="350050" y="0"/>
                    <a:pt x="361457" y="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24" name="iṣ1iḋè"/>
            <p:cNvSpPr/>
            <p:nvPr/>
          </p:nvSpPr>
          <p:spPr bwMode="auto">
            <a:xfrm>
              <a:off x="9985187" y="1563217"/>
              <a:ext cx="317332" cy="279578"/>
            </a:xfrm>
            <a:custGeom>
              <a:avLst/>
              <a:gdLst>
                <a:gd name="T0" fmla="*/ 0 w 6165"/>
                <a:gd name="T1" fmla="*/ 90 h 5440"/>
                <a:gd name="T2" fmla="*/ 363 w 6165"/>
                <a:gd name="T3" fmla="*/ 4624 h 5440"/>
                <a:gd name="T4" fmla="*/ 907 w 6165"/>
                <a:gd name="T5" fmla="*/ 4624 h 5440"/>
                <a:gd name="T6" fmla="*/ 2901 w 6165"/>
                <a:gd name="T7" fmla="*/ 90 h 5440"/>
                <a:gd name="T8" fmla="*/ 861 w 6165"/>
                <a:gd name="T9" fmla="*/ 4080 h 5440"/>
                <a:gd name="T10" fmla="*/ 363 w 6165"/>
                <a:gd name="T11" fmla="*/ 3581 h 5440"/>
                <a:gd name="T12" fmla="*/ 907 w 6165"/>
                <a:gd name="T13" fmla="*/ 3581 h 5440"/>
                <a:gd name="T14" fmla="*/ 861 w 6165"/>
                <a:gd name="T15" fmla="*/ 3082 h 5440"/>
                <a:gd name="T16" fmla="*/ 363 w 6165"/>
                <a:gd name="T17" fmla="*/ 2584 h 5440"/>
                <a:gd name="T18" fmla="*/ 907 w 6165"/>
                <a:gd name="T19" fmla="*/ 2584 h 5440"/>
                <a:gd name="T20" fmla="*/ 861 w 6165"/>
                <a:gd name="T21" fmla="*/ 2085 h 5440"/>
                <a:gd name="T22" fmla="*/ 363 w 6165"/>
                <a:gd name="T23" fmla="*/ 1586 h 5440"/>
                <a:gd name="T24" fmla="*/ 907 w 6165"/>
                <a:gd name="T25" fmla="*/ 1586 h 5440"/>
                <a:gd name="T26" fmla="*/ 861 w 6165"/>
                <a:gd name="T27" fmla="*/ 1088 h 5440"/>
                <a:gd name="T28" fmla="*/ 363 w 6165"/>
                <a:gd name="T29" fmla="*/ 589 h 5440"/>
                <a:gd name="T30" fmla="*/ 907 w 6165"/>
                <a:gd name="T31" fmla="*/ 589 h 5440"/>
                <a:gd name="T32" fmla="*/ 1677 w 6165"/>
                <a:gd name="T33" fmla="*/ 4080 h 5440"/>
                <a:gd name="T34" fmla="*/ 1179 w 6165"/>
                <a:gd name="T35" fmla="*/ 3581 h 5440"/>
                <a:gd name="T36" fmla="*/ 1723 w 6165"/>
                <a:gd name="T37" fmla="*/ 3581 h 5440"/>
                <a:gd name="T38" fmla="*/ 1677 w 6165"/>
                <a:gd name="T39" fmla="*/ 3082 h 5440"/>
                <a:gd name="T40" fmla="*/ 1179 w 6165"/>
                <a:gd name="T41" fmla="*/ 2584 h 5440"/>
                <a:gd name="T42" fmla="*/ 1723 w 6165"/>
                <a:gd name="T43" fmla="*/ 2584 h 5440"/>
                <a:gd name="T44" fmla="*/ 1677 w 6165"/>
                <a:gd name="T45" fmla="*/ 2085 h 5440"/>
                <a:gd name="T46" fmla="*/ 1179 w 6165"/>
                <a:gd name="T47" fmla="*/ 1586 h 5440"/>
                <a:gd name="T48" fmla="*/ 1723 w 6165"/>
                <a:gd name="T49" fmla="*/ 1586 h 5440"/>
                <a:gd name="T50" fmla="*/ 1677 w 6165"/>
                <a:gd name="T51" fmla="*/ 1088 h 5440"/>
                <a:gd name="T52" fmla="*/ 1179 w 6165"/>
                <a:gd name="T53" fmla="*/ 589 h 5440"/>
                <a:gd name="T54" fmla="*/ 1723 w 6165"/>
                <a:gd name="T55" fmla="*/ 589 h 5440"/>
                <a:gd name="T56" fmla="*/ 2493 w 6165"/>
                <a:gd name="T57" fmla="*/ 4080 h 5440"/>
                <a:gd name="T58" fmla="*/ 1995 w 6165"/>
                <a:gd name="T59" fmla="*/ 3581 h 5440"/>
                <a:gd name="T60" fmla="*/ 2539 w 6165"/>
                <a:gd name="T61" fmla="*/ 3581 h 5440"/>
                <a:gd name="T62" fmla="*/ 2493 w 6165"/>
                <a:gd name="T63" fmla="*/ 3082 h 5440"/>
                <a:gd name="T64" fmla="*/ 1995 w 6165"/>
                <a:gd name="T65" fmla="*/ 2584 h 5440"/>
                <a:gd name="T66" fmla="*/ 2539 w 6165"/>
                <a:gd name="T67" fmla="*/ 2584 h 5440"/>
                <a:gd name="T68" fmla="*/ 2493 w 6165"/>
                <a:gd name="T69" fmla="*/ 2085 h 5440"/>
                <a:gd name="T70" fmla="*/ 1995 w 6165"/>
                <a:gd name="T71" fmla="*/ 1586 h 5440"/>
                <a:gd name="T72" fmla="*/ 2539 w 6165"/>
                <a:gd name="T73" fmla="*/ 1586 h 5440"/>
                <a:gd name="T74" fmla="*/ 2493 w 6165"/>
                <a:gd name="T75" fmla="*/ 1088 h 5440"/>
                <a:gd name="T76" fmla="*/ 1995 w 6165"/>
                <a:gd name="T77" fmla="*/ 589 h 5440"/>
                <a:gd name="T78" fmla="*/ 2539 w 6165"/>
                <a:gd name="T79" fmla="*/ 589 h 5440"/>
                <a:gd name="T80" fmla="*/ 3379 w 6165"/>
                <a:gd name="T81" fmla="*/ 1845 h 5440"/>
                <a:gd name="T82" fmla="*/ 3627 w 6165"/>
                <a:gd name="T83" fmla="*/ 5440 h 5440"/>
                <a:gd name="T84" fmla="*/ 4080 w 6165"/>
                <a:gd name="T85" fmla="*/ 4624 h 5440"/>
                <a:gd name="T86" fmla="*/ 6165 w 6165"/>
                <a:gd name="T87" fmla="*/ 5440 h 5440"/>
                <a:gd name="T88" fmla="*/ 4171 w 6165"/>
                <a:gd name="T89" fmla="*/ 4216 h 5440"/>
                <a:gd name="T90" fmla="*/ 3627 w 6165"/>
                <a:gd name="T91" fmla="*/ 4216 h 5440"/>
                <a:gd name="T92" fmla="*/ 4125 w 6165"/>
                <a:gd name="T93" fmla="*/ 3717 h 5440"/>
                <a:gd name="T94" fmla="*/ 4171 w 6165"/>
                <a:gd name="T95" fmla="*/ 3218 h 5440"/>
                <a:gd name="T96" fmla="*/ 3627 w 6165"/>
                <a:gd name="T97" fmla="*/ 3218 h 5440"/>
                <a:gd name="T98" fmla="*/ 4125 w 6165"/>
                <a:gd name="T99" fmla="*/ 2720 h 5440"/>
                <a:gd name="T100" fmla="*/ 4987 w 6165"/>
                <a:gd name="T101" fmla="*/ 4216 h 5440"/>
                <a:gd name="T102" fmla="*/ 4443 w 6165"/>
                <a:gd name="T103" fmla="*/ 4216 h 5440"/>
                <a:gd name="T104" fmla="*/ 4941 w 6165"/>
                <a:gd name="T105" fmla="*/ 3717 h 5440"/>
                <a:gd name="T106" fmla="*/ 4987 w 6165"/>
                <a:gd name="T107" fmla="*/ 3218 h 5440"/>
                <a:gd name="T108" fmla="*/ 4443 w 6165"/>
                <a:gd name="T109" fmla="*/ 3218 h 5440"/>
                <a:gd name="T110" fmla="*/ 4941 w 6165"/>
                <a:gd name="T111" fmla="*/ 2720 h 5440"/>
                <a:gd name="T112" fmla="*/ 5803 w 6165"/>
                <a:gd name="T113" fmla="*/ 4216 h 5440"/>
                <a:gd name="T114" fmla="*/ 5259 w 6165"/>
                <a:gd name="T115" fmla="*/ 4216 h 5440"/>
                <a:gd name="T116" fmla="*/ 5757 w 6165"/>
                <a:gd name="T117" fmla="*/ 3717 h 5440"/>
                <a:gd name="T118" fmla="*/ 5803 w 6165"/>
                <a:gd name="T119" fmla="*/ 3218 h 5440"/>
                <a:gd name="T120" fmla="*/ 5259 w 6165"/>
                <a:gd name="T121" fmla="*/ 3218 h 5440"/>
                <a:gd name="T122" fmla="*/ 5757 w 6165"/>
                <a:gd name="T123" fmla="*/ 2720 h 5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65" h="5440">
                  <a:moveTo>
                    <a:pt x="2811" y="0"/>
                  </a:moveTo>
                  <a:lnTo>
                    <a:pt x="91" y="0"/>
                  </a:lnTo>
                  <a:cubicBezTo>
                    <a:pt x="41" y="0"/>
                    <a:pt x="0" y="40"/>
                    <a:pt x="0" y="90"/>
                  </a:cubicBezTo>
                  <a:lnTo>
                    <a:pt x="0" y="5440"/>
                  </a:lnTo>
                  <a:lnTo>
                    <a:pt x="363" y="5440"/>
                  </a:lnTo>
                  <a:lnTo>
                    <a:pt x="363" y="4624"/>
                  </a:lnTo>
                  <a:cubicBezTo>
                    <a:pt x="363" y="4574"/>
                    <a:pt x="403" y="4533"/>
                    <a:pt x="453" y="4533"/>
                  </a:cubicBezTo>
                  <a:lnTo>
                    <a:pt x="816" y="4533"/>
                  </a:lnTo>
                  <a:cubicBezTo>
                    <a:pt x="866" y="4533"/>
                    <a:pt x="907" y="4574"/>
                    <a:pt x="907" y="4624"/>
                  </a:cubicBezTo>
                  <a:lnTo>
                    <a:pt x="907" y="5440"/>
                  </a:lnTo>
                  <a:lnTo>
                    <a:pt x="2901" y="5440"/>
                  </a:lnTo>
                  <a:lnTo>
                    <a:pt x="2901" y="90"/>
                  </a:lnTo>
                  <a:cubicBezTo>
                    <a:pt x="2901" y="40"/>
                    <a:pt x="2861" y="0"/>
                    <a:pt x="2811" y="0"/>
                  </a:cubicBezTo>
                  <a:close/>
                  <a:moveTo>
                    <a:pt x="907" y="4034"/>
                  </a:moveTo>
                  <a:cubicBezTo>
                    <a:pt x="907" y="4059"/>
                    <a:pt x="886" y="4080"/>
                    <a:pt x="861" y="4080"/>
                  </a:cubicBezTo>
                  <a:lnTo>
                    <a:pt x="408" y="4080"/>
                  </a:lnTo>
                  <a:cubicBezTo>
                    <a:pt x="383" y="4080"/>
                    <a:pt x="363" y="4059"/>
                    <a:pt x="363" y="4034"/>
                  </a:cubicBezTo>
                  <a:lnTo>
                    <a:pt x="363" y="3581"/>
                  </a:lnTo>
                  <a:cubicBezTo>
                    <a:pt x="363" y="3556"/>
                    <a:pt x="383" y="3536"/>
                    <a:pt x="408" y="3536"/>
                  </a:cubicBezTo>
                  <a:lnTo>
                    <a:pt x="861" y="3536"/>
                  </a:lnTo>
                  <a:cubicBezTo>
                    <a:pt x="886" y="3536"/>
                    <a:pt x="907" y="3556"/>
                    <a:pt x="907" y="3581"/>
                  </a:cubicBezTo>
                  <a:lnTo>
                    <a:pt x="907" y="4034"/>
                  </a:lnTo>
                  <a:close/>
                  <a:moveTo>
                    <a:pt x="907" y="3037"/>
                  </a:moveTo>
                  <a:cubicBezTo>
                    <a:pt x="907" y="3062"/>
                    <a:pt x="886" y="3082"/>
                    <a:pt x="861" y="3082"/>
                  </a:cubicBezTo>
                  <a:lnTo>
                    <a:pt x="408" y="3082"/>
                  </a:lnTo>
                  <a:cubicBezTo>
                    <a:pt x="383" y="3082"/>
                    <a:pt x="363" y="3062"/>
                    <a:pt x="363" y="3037"/>
                  </a:cubicBezTo>
                  <a:lnTo>
                    <a:pt x="363" y="2584"/>
                  </a:lnTo>
                  <a:cubicBezTo>
                    <a:pt x="363" y="2559"/>
                    <a:pt x="383" y="2538"/>
                    <a:pt x="408" y="2538"/>
                  </a:cubicBezTo>
                  <a:lnTo>
                    <a:pt x="861" y="2538"/>
                  </a:lnTo>
                  <a:cubicBezTo>
                    <a:pt x="886" y="2538"/>
                    <a:pt x="907" y="2559"/>
                    <a:pt x="907" y="2584"/>
                  </a:cubicBezTo>
                  <a:lnTo>
                    <a:pt x="907" y="3037"/>
                  </a:lnTo>
                  <a:close/>
                  <a:moveTo>
                    <a:pt x="907" y="2040"/>
                  </a:moveTo>
                  <a:cubicBezTo>
                    <a:pt x="907" y="2065"/>
                    <a:pt x="886" y="2085"/>
                    <a:pt x="861" y="2085"/>
                  </a:cubicBezTo>
                  <a:lnTo>
                    <a:pt x="408" y="2085"/>
                  </a:lnTo>
                  <a:cubicBezTo>
                    <a:pt x="383" y="2085"/>
                    <a:pt x="363" y="2065"/>
                    <a:pt x="363" y="2040"/>
                  </a:cubicBezTo>
                  <a:lnTo>
                    <a:pt x="363" y="1586"/>
                  </a:lnTo>
                  <a:cubicBezTo>
                    <a:pt x="363" y="1561"/>
                    <a:pt x="383" y="1541"/>
                    <a:pt x="408" y="1541"/>
                  </a:cubicBezTo>
                  <a:lnTo>
                    <a:pt x="861" y="1541"/>
                  </a:lnTo>
                  <a:cubicBezTo>
                    <a:pt x="886" y="1541"/>
                    <a:pt x="907" y="1561"/>
                    <a:pt x="907" y="1586"/>
                  </a:cubicBezTo>
                  <a:lnTo>
                    <a:pt x="907" y="2040"/>
                  </a:lnTo>
                  <a:close/>
                  <a:moveTo>
                    <a:pt x="907" y="1042"/>
                  </a:moveTo>
                  <a:cubicBezTo>
                    <a:pt x="907" y="1067"/>
                    <a:pt x="886" y="1088"/>
                    <a:pt x="861" y="1088"/>
                  </a:cubicBezTo>
                  <a:lnTo>
                    <a:pt x="408" y="1088"/>
                  </a:lnTo>
                  <a:cubicBezTo>
                    <a:pt x="383" y="1088"/>
                    <a:pt x="363" y="1067"/>
                    <a:pt x="363" y="1042"/>
                  </a:cubicBezTo>
                  <a:lnTo>
                    <a:pt x="363" y="589"/>
                  </a:lnTo>
                  <a:cubicBezTo>
                    <a:pt x="363" y="564"/>
                    <a:pt x="383" y="544"/>
                    <a:pt x="408" y="544"/>
                  </a:cubicBezTo>
                  <a:lnTo>
                    <a:pt x="861" y="544"/>
                  </a:lnTo>
                  <a:cubicBezTo>
                    <a:pt x="886" y="544"/>
                    <a:pt x="907" y="564"/>
                    <a:pt x="907" y="589"/>
                  </a:cubicBezTo>
                  <a:lnTo>
                    <a:pt x="907" y="1042"/>
                  </a:lnTo>
                  <a:close/>
                  <a:moveTo>
                    <a:pt x="1723" y="4034"/>
                  </a:moveTo>
                  <a:cubicBezTo>
                    <a:pt x="1723" y="4059"/>
                    <a:pt x="1702" y="4080"/>
                    <a:pt x="1677" y="4080"/>
                  </a:cubicBezTo>
                  <a:lnTo>
                    <a:pt x="1224" y="4080"/>
                  </a:lnTo>
                  <a:cubicBezTo>
                    <a:pt x="1199" y="4080"/>
                    <a:pt x="1179" y="4059"/>
                    <a:pt x="1179" y="4034"/>
                  </a:cubicBezTo>
                  <a:lnTo>
                    <a:pt x="1179" y="3581"/>
                  </a:lnTo>
                  <a:cubicBezTo>
                    <a:pt x="1179" y="3556"/>
                    <a:pt x="1199" y="3536"/>
                    <a:pt x="1224" y="3536"/>
                  </a:cubicBezTo>
                  <a:lnTo>
                    <a:pt x="1677" y="3536"/>
                  </a:lnTo>
                  <a:cubicBezTo>
                    <a:pt x="1702" y="3536"/>
                    <a:pt x="1723" y="3556"/>
                    <a:pt x="1723" y="3581"/>
                  </a:cubicBezTo>
                  <a:lnTo>
                    <a:pt x="1723" y="4034"/>
                  </a:lnTo>
                  <a:close/>
                  <a:moveTo>
                    <a:pt x="1723" y="3037"/>
                  </a:moveTo>
                  <a:cubicBezTo>
                    <a:pt x="1723" y="3062"/>
                    <a:pt x="1702" y="3082"/>
                    <a:pt x="1677" y="3082"/>
                  </a:cubicBezTo>
                  <a:lnTo>
                    <a:pt x="1224" y="3082"/>
                  </a:lnTo>
                  <a:cubicBezTo>
                    <a:pt x="1199" y="3082"/>
                    <a:pt x="1179" y="3062"/>
                    <a:pt x="1179" y="3037"/>
                  </a:cubicBezTo>
                  <a:lnTo>
                    <a:pt x="1179" y="2584"/>
                  </a:lnTo>
                  <a:cubicBezTo>
                    <a:pt x="1179" y="2559"/>
                    <a:pt x="1199" y="2538"/>
                    <a:pt x="1224" y="2538"/>
                  </a:cubicBezTo>
                  <a:lnTo>
                    <a:pt x="1677" y="2538"/>
                  </a:lnTo>
                  <a:cubicBezTo>
                    <a:pt x="1702" y="2538"/>
                    <a:pt x="1723" y="2559"/>
                    <a:pt x="1723" y="2584"/>
                  </a:cubicBezTo>
                  <a:lnTo>
                    <a:pt x="1723" y="3037"/>
                  </a:lnTo>
                  <a:close/>
                  <a:moveTo>
                    <a:pt x="1723" y="2040"/>
                  </a:moveTo>
                  <a:cubicBezTo>
                    <a:pt x="1723" y="2065"/>
                    <a:pt x="1702" y="2085"/>
                    <a:pt x="1677" y="2085"/>
                  </a:cubicBezTo>
                  <a:lnTo>
                    <a:pt x="1224" y="2085"/>
                  </a:lnTo>
                  <a:cubicBezTo>
                    <a:pt x="1199" y="2085"/>
                    <a:pt x="1179" y="2065"/>
                    <a:pt x="1179" y="2040"/>
                  </a:cubicBezTo>
                  <a:lnTo>
                    <a:pt x="1179" y="1586"/>
                  </a:lnTo>
                  <a:cubicBezTo>
                    <a:pt x="1179" y="1561"/>
                    <a:pt x="1199" y="1541"/>
                    <a:pt x="1224" y="1541"/>
                  </a:cubicBezTo>
                  <a:lnTo>
                    <a:pt x="1677" y="1541"/>
                  </a:lnTo>
                  <a:cubicBezTo>
                    <a:pt x="1702" y="1541"/>
                    <a:pt x="1723" y="1561"/>
                    <a:pt x="1723" y="1586"/>
                  </a:cubicBezTo>
                  <a:lnTo>
                    <a:pt x="1723" y="2040"/>
                  </a:lnTo>
                  <a:close/>
                  <a:moveTo>
                    <a:pt x="1723" y="1042"/>
                  </a:moveTo>
                  <a:cubicBezTo>
                    <a:pt x="1723" y="1067"/>
                    <a:pt x="1702" y="1088"/>
                    <a:pt x="1677" y="1088"/>
                  </a:cubicBezTo>
                  <a:lnTo>
                    <a:pt x="1224" y="1088"/>
                  </a:lnTo>
                  <a:cubicBezTo>
                    <a:pt x="1199" y="1088"/>
                    <a:pt x="1179" y="1067"/>
                    <a:pt x="1179" y="1042"/>
                  </a:cubicBezTo>
                  <a:lnTo>
                    <a:pt x="1179" y="589"/>
                  </a:lnTo>
                  <a:cubicBezTo>
                    <a:pt x="1179" y="564"/>
                    <a:pt x="1199" y="544"/>
                    <a:pt x="1224" y="544"/>
                  </a:cubicBezTo>
                  <a:lnTo>
                    <a:pt x="1677" y="544"/>
                  </a:lnTo>
                  <a:cubicBezTo>
                    <a:pt x="1702" y="544"/>
                    <a:pt x="1723" y="564"/>
                    <a:pt x="1723" y="589"/>
                  </a:cubicBezTo>
                  <a:lnTo>
                    <a:pt x="1723" y="1042"/>
                  </a:lnTo>
                  <a:close/>
                  <a:moveTo>
                    <a:pt x="2539" y="4034"/>
                  </a:moveTo>
                  <a:cubicBezTo>
                    <a:pt x="2539" y="4059"/>
                    <a:pt x="2518" y="4080"/>
                    <a:pt x="2493" y="4080"/>
                  </a:cubicBezTo>
                  <a:lnTo>
                    <a:pt x="2040" y="4080"/>
                  </a:lnTo>
                  <a:cubicBezTo>
                    <a:pt x="2015" y="4080"/>
                    <a:pt x="1995" y="4059"/>
                    <a:pt x="1995" y="4034"/>
                  </a:cubicBezTo>
                  <a:lnTo>
                    <a:pt x="1995" y="3581"/>
                  </a:lnTo>
                  <a:cubicBezTo>
                    <a:pt x="1995" y="3556"/>
                    <a:pt x="2015" y="3536"/>
                    <a:pt x="2040" y="3536"/>
                  </a:cubicBezTo>
                  <a:lnTo>
                    <a:pt x="2493" y="3536"/>
                  </a:lnTo>
                  <a:cubicBezTo>
                    <a:pt x="2518" y="3536"/>
                    <a:pt x="2539" y="3556"/>
                    <a:pt x="2539" y="3581"/>
                  </a:cubicBezTo>
                  <a:lnTo>
                    <a:pt x="2539" y="4034"/>
                  </a:lnTo>
                  <a:close/>
                  <a:moveTo>
                    <a:pt x="2539" y="3037"/>
                  </a:moveTo>
                  <a:cubicBezTo>
                    <a:pt x="2539" y="3062"/>
                    <a:pt x="2518" y="3082"/>
                    <a:pt x="2493" y="3082"/>
                  </a:cubicBezTo>
                  <a:lnTo>
                    <a:pt x="2040" y="3082"/>
                  </a:lnTo>
                  <a:cubicBezTo>
                    <a:pt x="2015" y="3082"/>
                    <a:pt x="1995" y="3062"/>
                    <a:pt x="1995" y="3037"/>
                  </a:cubicBezTo>
                  <a:lnTo>
                    <a:pt x="1995" y="2584"/>
                  </a:lnTo>
                  <a:cubicBezTo>
                    <a:pt x="1995" y="2559"/>
                    <a:pt x="2015" y="2538"/>
                    <a:pt x="2040" y="2538"/>
                  </a:cubicBezTo>
                  <a:lnTo>
                    <a:pt x="2493" y="2538"/>
                  </a:lnTo>
                  <a:cubicBezTo>
                    <a:pt x="2518" y="2538"/>
                    <a:pt x="2539" y="2559"/>
                    <a:pt x="2539" y="2584"/>
                  </a:cubicBezTo>
                  <a:lnTo>
                    <a:pt x="2539" y="3037"/>
                  </a:lnTo>
                  <a:close/>
                  <a:moveTo>
                    <a:pt x="2539" y="2040"/>
                  </a:moveTo>
                  <a:cubicBezTo>
                    <a:pt x="2539" y="2065"/>
                    <a:pt x="2518" y="2085"/>
                    <a:pt x="2493" y="2085"/>
                  </a:cubicBezTo>
                  <a:lnTo>
                    <a:pt x="2040" y="2085"/>
                  </a:lnTo>
                  <a:cubicBezTo>
                    <a:pt x="2015" y="2085"/>
                    <a:pt x="1995" y="2065"/>
                    <a:pt x="1995" y="2040"/>
                  </a:cubicBezTo>
                  <a:lnTo>
                    <a:pt x="1995" y="1586"/>
                  </a:lnTo>
                  <a:cubicBezTo>
                    <a:pt x="1995" y="1561"/>
                    <a:pt x="2015" y="1541"/>
                    <a:pt x="2040" y="1541"/>
                  </a:cubicBezTo>
                  <a:lnTo>
                    <a:pt x="2493" y="1541"/>
                  </a:lnTo>
                  <a:cubicBezTo>
                    <a:pt x="2518" y="1541"/>
                    <a:pt x="2539" y="1561"/>
                    <a:pt x="2539" y="1586"/>
                  </a:cubicBezTo>
                  <a:lnTo>
                    <a:pt x="2539" y="2040"/>
                  </a:lnTo>
                  <a:close/>
                  <a:moveTo>
                    <a:pt x="2539" y="1042"/>
                  </a:moveTo>
                  <a:cubicBezTo>
                    <a:pt x="2539" y="1067"/>
                    <a:pt x="2518" y="1088"/>
                    <a:pt x="2493" y="1088"/>
                  </a:cubicBezTo>
                  <a:lnTo>
                    <a:pt x="2040" y="1088"/>
                  </a:lnTo>
                  <a:cubicBezTo>
                    <a:pt x="2015" y="1088"/>
                    <a:pt x="1995" y="1067"/>
                    <a:pt x="1995" y="1042"/>
                  </a:cubicBezTo>
                  <a:lnTo>
                    <a:pt x="1995" y="589"/>
                  </a:lnTo>
                  <a:cubicBezTo>
                    <a:pt x="1995" y="564"/>
                    <a:pt x="2015" y="544"/>
                    <a:pt x="2040" y="544"/>
                  </a:cubicBezTo>
                  <a:lnTo>
                    <a:pt x="2493" y="544"/>
                  </a:lnTo>
                  <a:cubicBezTo>
                    <a:pt x="2518" y="544"/>
                    <a:pt x="2539" y="564"/>
                    <a:pt x="2539" y="589"/>
                  </a:cubicBezTo>
                  <a:lnTo>
                    <a:pt x="2539" y="1042"/>
                  </a:lnTo>
                  <a:close/>
                  <a:moveTo>
                    <a:pt x="6099" y="2610"/>
                  </a:moveTo>
                  <a:lnTo>
                    <a:pt x="3379" y="1845"/>
                  </a:lnTo>
                  <a:cubicBezTo>
                    <a:pt x="3321" y="1829"/>
                    <a:pt x="3264" y="1873"/>
                    <a:pt x="3264" y="1933"/>
                  </a:cubicBezTo>
                  <a:lnTo>
                    <a:pt x="3264" y="5440"/>
                  </a:lnTo>
                  <a:lnTo>
                    <a:pt x="3627" y="5440"/>
                  </a:lnTo>
                  <a:lnTo>
                    <a:pt x="3627" y="4714"/>
                  </a:lnTo>
                  <a:cubicBezTo>
                    <a:pt x="3627" y="4664"/>
                    <a:pt x="3667" y="4624"/>
                    <a:pt x="3717" y="4624"/>
                  </a:cubicBezTo>
                  <a:lnTo>
                    <a:pt x="4080" y="4624"/>
                  </a:lnTo>
                  <a:cubicBezTo>
                    <a:pt x="4130" y="4624"/>
                    <a:pt x="4171" y="4664"/>
                    <a:pt x="4171" y="4714"/>
                  </a:cubicBezTo>
                  <a:lnTo>
                    <a:pt x="4171" y="5440"/>
                  </a:lnTo>
                  <a:lnTo>
                    <a:pt x="6165" y="5440"/>
                  </a:lnTo>
                  <a:lnTo>
                    <a:pt x="6165" y="2698"/>
                  </a:lnTo>
                  <a:cubicBezTo>
                    <a:pt x="6165" y="2657"/>
                    <a:pt x="6138" y="2621"/>
                    <a:pt x="6099" y="2610"/>
                  </a:cubicBezTo>
                  <a:close/>
                  <a:moveTo>
                    <a:pt x="4171" y="4216"/>
                  </a:moveTo>
                  <a:cubicBezTo>
                    <a:pt x="4171" y="4241"/>
                    <a:pt x="4150" y="4261"/>
                    <a:pt x="4125" y="4261"/>
                  </a:cubicBezTo>
                  <a:lnTo>
                    <a:pt x="3672" y="4261"/>
                  </a:lnTo>
                  <a:cubicBezTo>
                    <a:pt x="3647" y="4261"/>
                    <a:pt x="3627" y="4241"/>
                    <a:pt x="3627" y="4216"/>
                  </a:cubicBezTo>
                  <a:lnTo>
                    <a:pt x="3627" y="3762"/>
                  </a:lnTo>
                  <a:cubicBezTo>
                    <a:pt x="3627" y="3737"/>
                    <a:pt x="3647" y="3717"/>
                    <a:pt x="3672" y="3717"/>
                  </a:cubicBezTo>
                  <a:lnTo>
                    <a:pt x="4125" y="3717"/>
                  </a:lnTo>
                  <a:cubicBezTo>
                    <a:pt x="4150" y="3717"/>
                    <a:pt x="4171" y="3737"/>
                    <a:pt x="4171" y="3762"/>
                  </a:cubicBezTo>
                  <a:lnTo>
                    <a:pt x="4171" y="4216"/>
                  </a:lnTo>
                  <a:close/>
                  <a:moveTo>
                    <a:pt x="4171" y="3218"/>
                  </a:moveTo>
                  <a:cubicBezTo>
                    <a:pt x="4171" y="3243"/>
                    <a:pt x="4150" y="3264"/>
                    <a:pt x="4125" y="3264"/>
                  </a:cubicBezTo>
                  <a:lnTo>
                    <a:pt x="3672" y="3264"/>
                  </a:lnTo>
                  <a:cubicBezTo>
                    <a:pt x="3647" y="3264"/>
                    <a:pt x="3627" y="3243"/>
                    <a:pt x="3627" y="3218"/>
                  </a:cubicBezTo>
                  <a:lnTo>
                    <a:pt x="3627" y="2765"/>
                  </a:lnTo>
                  <a:cubicBezTo>
                    <a:pt x="3627" y="2740"/>
                    <a:pt x="3647" y="2720"/>
                    <a:pt x="3672" y="2720"/>
                  </a:cubicBezTo>
                  <a:lnTo>
                    <a:pt x="4125" y="2720"/>
                  </a:lnTo>
                  <a:cubicBezTo>
                    <a:pt x="4150" y="2720"/>
                    <a:pt x="4171" y="2740"/>
                    <a:pt x="4171" y="2765"/>
                  </a:cubicBezTo>
                  <a:lnTo>
                    <a:pt x="4171" y="3218"/>
                  </a:lnTo>
                  <a:close/>
                  <a:moveTo>
                    <a:pt x="4987" y="4216"/>
                  </a:moveTo>
                  <a:cubicBezTo>
                    <a:pt x="4987" y="4241"/>
                    <a:pt x="4966" y="4261"/>
                    <a:pt x="4941" y="4261"/>
                  </a:cubicBezTo>
                  <a:lnTo>
                    <a:pt x="4488" y="4261"/>
                  </a:lnTo>
                  <a:cubicBezTo>
                    <a:pt x="4463" y="4261"/>
                    <a:pt x="4443" y="4241"/>
                    <a:pt x="4443" y="4216"/>
                  </a:cubicBezTo>
                  <a:lnTo>
                    <a:pt x="4443" y="3762"/>
                  </a:lnTo>
                  <a:cubicBezTo>
                    <a:pt x="4443" y="3737"/>
                    <a:pt x="4463" y="3717"/>
                    <a:pt x="4488" y="3717"/>
                  </a:cubicBezTo>
                  <a:lnTo>
                    <a:pt x="4941" y="3717"/>
                  </a:lnTo>
                  <a:cubicBezTo>
                    <a:pt x="4966" y="3717"/>
                    <a:pt x="4987" y="3737"/>
                    <a:pt x="4987" y="3762"/>
                  </a:cubicBezTo>
                  <a:lnTo>
                    <a:pt x="4987" y="4216"/>
                  </a:lnTo>
                  <a:close/>
                  <a:moveTo>
                    <a:pt x="4987" y="3218"/>
                  </a:moveTo>
                  <a:cubicBezTo>
                    <a:pt x="4987" y="3243"/>
                    <a:pt x="4966" y="3264"/>
                    <a:pt x="4941" y="3264"/>
                  </a:cubicBezTo>
                  <a:lnTo>
                    <a:pt x="4488" y="3264"/>
                  </a:lnTo>
                  <a:cubicBezTo>
                    <a:pt x="4463" y="3264"/>
                    <a:pt x="4443" y="3243"/>
                    <a:pt x="4443" y="3218"/>
                  </a:cubicBezTo>
                  <a:lnTo>
                    <a:pt x="4443" y="2765"/>
                  </a:lnTo>
                  <a:cubicBezTo>
                    <a:pt x="4443" y="2740"/>
                    <a:pt x="4463" y="2720"/>
                    <a:pt x="4488" y="2720"/>
                  </a:cubicBezTo>
                  <a:lnTo>
                    <a:pt x="4941" y="2720"/>
                  </a:lnTo>
                  <a:cubicBezTo>
                    <a:pt x="4966" y="2720"/>
                    <a:pt x="4987" y="2740"/>
                    <a:pt x="4987" y="2765"/>
                  </a:cubicBezTo>
                  <a:lnTo>
                    <a:pt x="4987" y="3218"/>
                  </a:lnTo>
                  <a:close/>
                  <a:moveTo>
                    <a:pt x="5803" y="4216"/>
                  </a:moveTo>
                  <a:cubicBezTo>
                    <a:pt x="5803" y="4241"/>
                    <a:pt x="5782" y="4261"/>
                    <a:pt x="5757" y="4261"/>
                  </a:cubicBezTo>
                  <a:lnTo>
                    <a:pt x="5304" y="4261"/>
                  </a:lnTo>
                  <a:cubicBezTo>
                    <a:pt x="5279" y="4261"/>
                    <a:pt x="5259" y="4241"/>
                    <a:pt x="5259" y="4216"/>
                  </a:cubicBezTo>
                  <a:lnTo>
                    <a:pt x="5259" y="3762"/>
                  </a:lnTo>
                  <a:cubicBezTo>
                    <a:pt x="5259" y="3737"/>
                    <a:pt x="5279" y="3717"/>
                    <a:pt x="5304" y="3717"/>
                  </a:cubicBezTo>
                  <a:lnTo>
                    <a:pt x="5757" y="3717"/>
                  </a:lnTo>
                  <a:cubicBezTo>
                    <a:pt x="5782" y="3717"/>
                    <a:pt x="5803" y="3737"/>
                    <a:pt x="5803" y="3762"/>
                  </a:cubicBezTo>
                  <a:lnTo>
                    <a:pt x="5803" y="4216"/>
                  </a:lnTo>
                  <a:close/>
                  <a:moveTo>
                    <a:pt x="5803" y="3218"/>
                  </a:moveTo>
                  <a:cubicBezTo>
                    <a:pt x="5803" y="3243"/>
                    <a:pt x="5782" y="3264"/>
                    <a:pt x="5757" y="3264"/>
                  </a:cubicBezTo>
                  <a:lnTo>
                    <a:pt x="5304" y="3264"/>
                  </a:lnTo>
                  <a:cubicBezTo>
                    <a:pt x="5279" y="3264"/>
                    <a:pt x="5259" y="3243"/>
                    <a:pt x="5259" y="3218"/>
                  </a:cubicBezTo>
                  <a:lnTo>
                    <a:pt x="5259" y="2765"/>
                  </a:lnTo>
                  <a:cubicBezTo>
                    <a:pt x="5259" y="2740"/>
                    <a:pt x="5279" y="2720"/>
                    <a:pt x="5304" y="2720"/>
                  </a:cubicBezTo>
                  <a:lnTo>
                    <a:pt x="5757" y="2720"/>
                  </a:lnTo>
                  <a:cubicBezTo>
                    <a:pt x="5782" y="2720"/>
                    <a:pt x="5803" y="2740"/>
                    <a:pt x="5803" y="2765"/>
                  </a:cubicBezTo>
                  <a:lnTo>
                    <a:pt x="5803" y="3218"/>
                  </a:lnTo>
                  <a:close/>
                </a:path>
              </a:pathLst>
            </a:custGeom>
            <a:solidFill>
              <a:srgbClr val="9E0000"/>
            </a:solidFill>
            <a:ln>
              <a:noFill/>
            </a:ln>
          </p:spPr>
          <p:txBody>
            <a:bodyPr wrap="square" lIns="91440" tIns="45720" rIns="91440" bIns="45720">
              <a:normAutofit fontScale="85000" lnSpcReduction="20000"/>
            </a:bodyPr>
            <a:lstStyle/>
            <a:p>
              <a:endParaRPr lang="zh-CN" altLang="en-US"/>
            </a:p>
          </p:txBody>
        </p:sp>
        <p:sp>
          <p:nvSpPr>
            <p:cNvPr id="25" name="íṣ1îḑê"/>
            <p:cNvSpPr txBox="1"/>
            <p:nvPr/>
          </p:nvSpPr>
          <p:spPr bwMode="auto">
            <a:xfrm>
              <a:off x="1060723" y="2830685"/>
              <a:ext cx="1885667" cy="68461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200" dirty="0"/>
                <a:t>求职者、导师填写资料</a:t>
              </a:r>
              <a:endParaRPr lang="en-US" altLang="zh-CN" sz="1200" dirty="0"/>
            </a:p>
          </p:txBody>
        </p:sp>
        <p:sp>
          <p:nvSpPr>
            <p:cNvPr id="26" name="îš1îďê"/>
            <p:cNvSpPr txBox="1"/>
            <p:nvPr/>
          </p:nvSpPr>
          <p:spPr bwMode="auto">
            <a:xfrm>
              <a:off x="3789021" y="2830685"/>
              <a:ext cx="1885667" cy="68461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200" dirty="0"/>
                <a:t>双方有意向可</a:t>
              </a:r>
              <a:endParaRPr lang="en-US" altLang="zh-CN" sz="1200" dirty="0"/>
            </a:p>
            <a:p>
              <a:pPr algn="ctr">
                <a:spcBef>
                  <a:spcPct val="0"/>
                </a:spcBef>
              </a:pPr>
              <a:r>
                <a:rPr lang="zh-CN" altLang="en-US" sz="1200" dirty="0"/>
                <a:t>免费沟通</a:t>
              </a:r>
              <a:r>
                <a:rPr lang="en-US" altLang="zh-CN" sz="1200" dirty="0"/>
                <a:t>10</a:t>
              </a:r>
              <a:r>
                <a:rPr lang="zh-CN" altLang="en-US" sz="1200" dirty="0"/>
                <a:t>分钟</a:t>
              </a:r>
              <a:endParaRPr lang="en-US" altLang="zh-CN" sz="1200" dirty="0"/>
            </a:p>
          </p:txBody>
        </p:sp>
        <p:sp>
          <p:nvSpPr>
            <p:cNvPr id="27" name="íṣliḓé"/>
            <p:cNvSpPr txBox="1"/>
            <p:nvPr/>
          </p:nvSpPr>
          <p:spPr bwMode="auto">
            <a:xfrm>
              <a:off x="6517319" y="2830685"/>
              <a:ext cx="1885667" cy="68461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200" dirty="0"/>
                <a:t>签订帮扶合同，</a:t>
              </a:r>
              <a:endParaRPr lang="en-US" altLang="zh-CN" sz="1200" dirty="0"/>
            </a:p>
            <a:p>
              <a:pPr algn="ctr">
                <a:spcBef>
                  <a:spcPct val="0"/>
                </a:spcBef>
              </a:pPr>
              <a:r>
                <a:rPr lang="zh-CN" altLang="en-US" sz="1200" dirty="0"/>
                <a:t>求职者支付押金</a:t>
              </a:r>
              <a:endParaRPr lang="en-US" altLang="zh-CN" sz="1200" dirty="0"/>
            </a:p>
          </p:txBody>
        </p:sp>
        <p:sp>
          <p:nvSpPr>
            <p:cNvPr id="28" name="ïSlíḑe"/>
            <p:cNvSpPr txBox="1"/>
            <p:nvPr/>
          </p:nvSpPr>
          <p:spPr bwMode="auto">
            <a:xfrm>
              <a:off x="9245617" y="2830685"/>
              <a:ext cx="1885667" cy="68461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200" dirty="0"/>
                <a:t>获得心仪工作，导师获得学生第一个月工资作为酬金，平台收</a:t>
              </a:r>
              <a:r>
                <a:rPr lang="en-US" altLang="zh-CN" sz="1200" dirty="0"/>
                <a:t>20%</a:t>
              </a:r>
              <a:endParaRPr lang="en-US" altLang="zh-CN" sz="1200" dirty="0"/>
            </a:p>
          </p:txBody>
        </p:sp>
        <p:sp>
          <p:nvSpPr>
            <p:cNvPr id="30" name="ïṩlíde"/>
            <p:cNvSpPr txBox="1"/>
            <p:nvPr/>
          </p:nvSpPr>
          <p:spPr bwMode="auto">
            <a:xfrm>
              <a:off x="3789019" y="4274440"/>
              <a:ext cx="1885667" cy="4325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srgbClr val="D9AB00"/>
                  </a:solidFill>
                </a:rPr>
                <a:t>超时付费</a:t>
              </a:r>
              <a:endParaRPr lang="zh-CN" altLang="en-US" sz="1600" b="1" dirty="0">
                <a:solidFill>
                  <a:srgbClr val="D9AB00"/>
                </a:solidFill>
              </a:endParaRPr>
            </a:p>
          </p:txBody>
        </p:sp>
        <p:sp>
          <p:nvSpPr>
            <p:cNvPr id="31" name="ïsliḓè"/>
            <p:cNvSpPr txBox="1"/>
            <p:nvPr/>
          </p:nvSpPr>
          <p:spPr bwMode="auto">
            <a:xfrm>
              <a:off x="6517308" y="4274440"/>
              <a:ext cx="1885667" cy="4325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/>
                <a:t>平台担保</a:t>
              </a:r>
              <a:endParaRPr lang="zh-CN" altLang="en-US" sz="1600" b="1" dirty="0"/>
            </a:p>
          </p:txBody>
        </p:sp>
        <p:sp>
          <p:nvSpPr>
            <p:cNvPr id="32" name="íṡļîdé"/>
            <p:cNvSpPr txBox="1"/>
            <p:nvPr/>
          </p:nvSpPr>
          <p:spPr bwMode="auto">
            <a:xfrm>
              <a:off x="9245597" y="4274440"/>
              <a:ext cx="1885667" cy="4325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srgbClr val="9E0000"/>
                  </a:solidFill>
                </a:rPr>
                <a:t>支付酬金</a:t>
              </a:r>
              <a:endParaRPr lang="zh-CN" altLang="en-US" sz="1600" b="1" dirty="0">
                <a:solidFill>
                  <a:srgbClr val="9E0000"/>
                </a:solidFill>
              </a:endParaRPr>
            </a:p>
          </p:txBody>
        </p:sp>
      </p:grpSp>
      <p:sp>
        <p:nvSpPr>
          <p:cNvPr id="41" name="标题 1"/>
          <p:cNvSpPr txBox="1"/>
          <p:nvPr/>
        </p:nvSpPr>
        <p:spPr>
          <a:xfrm>
            <a:off x="589958" y="-8770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cs typeface="+mn-ea"/>
                <a:sym typeface="+mn-lt"/>
              </a:rPr>
              <a:t>业务流程</a:t>
            </a:r>
            <a:endParaRPr lang="zh-CN" altLang="en-US" dirty="0"/>
          </a:p>
        </p:txBody>
      </p:sp>
      <p:sp>
        <p:nvSpPr>
          <p:cNvPr id="42" name="ïṩlíde"/>
          <p:cNvSpPr txBox="1"/>
          <p:nvPr/>
        </p:nvSpPr>
        <p:spPr bwMode="auto">
          <a:xfrm>
            <a:off x="1060723" y="4751877"/>
            <a:ext cx="1885667" cy="4325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600" b="1" dirty="0"/>
              <a:t>免费开放</a:t>
            </a:r>
            <a:endParaRPr lang="zh-CN" altLang="en-US" sz="1600" b="1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ïṥļiďè"/>
          <p:cNvSpPr/>
          <p:nvPr/>
        </p:nvSpPr>
        <p:spPr>
          <a:xfrm>
            <a:off x="859957" y="3529131"/>
            <a:ext cx="2379943" cy="2142003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106" name="ïṥļiďè"/>
          <p:cNvSpPr/>
          <p:nvPr/>
        </p:nvSpPr>
        <p:spPr>
          <a:xfrm>
            <a:off x="8970741" y="3634693"/>
            <a:ext cx="2379943" cy="2142003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5" y="6834"/>
            <a:ext cx="10850563" cy="1028699"/>
          </a:xfrm>
        </p:spPr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核心竞争力</a:t>
            </a:r>
            <a:endParaRPr lang="zh-CN" altLang="en-US" dirty="0"/>
          </a:p>
        </p:txBody>
      </p:sp>
      <p:grpSp>
        <p:nvGrpSpPr>
          <p:cNvPr id="22" name="18671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0718" y="2748716"/>
            <a:ext cx="10850565" cy="3781176"/>
            <a:chOff x="670718" y="2352923"/>
            <a:chExt cx="10850565" cy="3781176"/>
          </a:xfrm>
        </p:grpSpPr>
        <p:sp>
          <p:nvSpPr>
            <p:cNvPr id="24" name="iSḻïḍê"/>
            <p:cNvSpPr txBox="1"/>
            <p:nvPr/>
          </p:nvSpPr>
          <p:spPr>
            <a:xfrm>
              <a:off x="760954" y="4204340"/>
              <a:ext cx="2503862" cy="90693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200" dirty="0">
                  <a:solidFill>
                    <a:schemeClr val="bg1"/>
                  </a:solidFill>
                  <a:latin typeface="+mn-ea"/>
                </a:rPr>
                <a:t>低成本覆盖招聘网站，</a:t>
              </a:r>
              <a:endParaRPr lang="en-US" altLang="zh-CN" sz="1200" dirty="0">
                <a:solidFill>
                  <a:schemeClr val="bg1"/>
                </a:solidFill>
                <a:latin typeface="+mn-ea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200" dirty="0">
                  <a:solidFill>
                    <a:schemeClr val="bg1"/>
                  </a:solidFill>
                  <a:latin typeface="+mn-ea"/>
                </a:rPr>
                <a:t>降低运营成本</a:t>
              </a:r>
              <a:endParaRPr lang="en-US" altLang="zh-CN" sz="12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5" name="ïŝliḍè"/>
            <p:cNvSpPr txBox="1"/>
            <p:nvPr/>
          </p:nvSpPr>
          <p:spPr>
            <a:xfrm>
              <a:off x="760954" y="3732520"/>
              <a:ext cx="2503862" cy="471820"/>
            </a:xfrm>
            <a:prstGeom prst="rect">
              <a:avLst/>
            </a:prstGeom>
            <a:noFill/>
          </p:spPr>
          <p:txBody>
            <a:bodyPr wrap="none" rtlCol="0" anchor="ctr">
              <a:normAutofit/>
            </a:bodyPr>
            <a:lstStyle/>
            <a:p>
              <a:pPr algn="ctr"/>
              <a:r>
                <a:rPr lang="zh-CN" altLang="en-US" b="1" dirty="0">
                  <a:solidFill>
                    <a:schemeClr val="bg1"/>
                  </a:solidFill>
                </a:rPr>
                <a:t>网站投放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  <p:cxnSp>
          <p:nvCxnSpPr>
            <p:cNvPr id="26" name="直接连接符 25"/>
            <p:cNvCxnSpPr/>
            <p:nvPr/>
          </p:nvCxnSpPr>
          <p:spPr>
            <a:xfrm>
              <a:off x="670718" y="2352923"/>
              <a:ext cx="10850565" cy="0"/>
            </a:xfrm>
            <a:prstGeom prst="line">
              <a:avLst/>
            </a:prstGeom>
            <a:ln w="9525" cap="rnd">
              <a:solidFill>
                <a:schemeClr val="tx1">
                  <a:lumMod val="50000"/>
                  <a:lumOff val="50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iṡļidè"/>
            <p:cNvSpPr txBox="1"/>
            <p:nvPr/>
          </p:nvSpPr>
          <p:spPr>
            <a:xfrm>
              <a:off x="8936610" y="4204341"/>
              <a:ext cx="2503862" cy="90693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200" dirty="0">
                  <a:latin typeface="+mn-ea"/>
                </a:rPr>
                <a:t>求职数据累计，</a:t>
              </a:r>
              <a:endParaRPr lang="en-US" altLang="zh-CN" sz="1200" dirty="0">
                <a:latin typeface="+mn-ea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200" dirty="0">
                  <a:latin typeface="+mn-ea"/>
                </a:rPr>
                <a:t>提升入职成功率</a:t>
              </a:r>
              <a:endParaRPr lang="en-US" altLang="zh-CN" sz="1200" dirty="0">
                <a:latin typeface="+mn-ea"/>
              </a:endParaRPr>
            </a:p>
          </p:txBody>
        </p:sp>
        <p:sp>
          <p:nvSpPr>
            <p:cNvPr id="29" name="iš1iḍé"/>
            <p:cNvSpPr txBox="1"/>
            <p:nvPr/>
          </p:nvSpPr>
          <p:spPr>
            <a:xfrm>
              <a:off x="8936610" y="3732521"/>
              <a:ext cx="2503862" cy="471820"/>
            </a:xfrm>
            <a:prstGeom prst="rect">
              <a:avLst/>
            </a:prstGeom>
            <a:noFill/>
          </p:spPr>
          <p:txBody>
            <a:bodyPr wrap="none" rtlCol="0" anchor="ctr">
              <a:normAutofit/>
            </a:bodyPr>
            <a:lstStyle/>
            <a:p>
              <a:pPr algn="ctr"/>
              <a:r>
                <a:rPr lang="zh-CN" altLang="en-US" b="1" dirty="0"/>
                <a:t>大数据积累</a:t>
              </a:r>
              <a:endParaRPr lang="zh-CN" altLang="en-US" b="1" dirty="0"/>
            </a:p>
          </p:txBody>
        </p:sp>
        <p:grpSp>
          <p:nvGrpSpPr>
            <p:cNvPr id="31" name="íŝḷïd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/>
          </p:nvGrpSpPr>
          <p:grpSpPr>
            <a:xfrm>
              <a:off x="3975263" y="2921109"/>
              <a:ext cx="3747417" cy="3212990"/>
              <a:chOff x="3055440" y="1527542"/>
              <a:chExt cx="5372777" cy="4606558"/>
            </a:xfrm>
          </p:grpSpPr>
          <p:sp>
            <p:nvSpPr>
              <p:cNvPr id="32" name="ísḻïḍè"/>
              <p:cNvSpPr/>
              <p:nvPr/>
            </p:nvSpPr>
            <p:spPr bwMode="auto">
              <a:xfrm>
                <a:off x="5622613" y="5156074"/>
                <a:ext cx="1221086" cy="288200"/>
              </a:xfrm>
              <a:custGeom>
                <a:avLst/>
                <a:gdLst>
                  <a:gd name="T0" fmla="*/ 0 w 1842"/>
                  <a:gd name="T1" fmla="*/ 335 h 436"/>
                  <a:gd name="T2" fmla="*/ 276 w 1842"/>
                  <a:gd name="T3" fmla="*/ 0 h 436"/>
                  <a:gd name="T4" fmla="*/ 1566 w 1842"/>
                  <a:gd name="T5" fmla="*/ 0 h 436"/>
                  <a:gd name="T6" fmla="*/ 1842 w 1842"/>
                  <a:gd name="T7" fmla="*/ 335 h 436"/>
                  <a:gd name="T8" fmla="*/ 1842 w 1842"/>
                  <a:gd name="T9" fmla="*/ 436 h 436"/>
                  <a:gd name="T10" fmla="*/ 0 w 1842"/>
                  <a:gd name="T11" fmla="*/ 436 h 436"/>
                  <a:gd name="T12" fmla="*/ 0 w 1842"/>
                  <a:gd name="T13" fmla="*/ 335 h 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42" h="436">
                    <a:moveTo>
                      <a:pt x="0" y="335"/>
                    </a:moveTo>
                    <a:cubicBezTo>
                      <a:pt x="0" y="150"/>
                      <a:pt x="124" y="0"/>
                      <a:pt x="276" y="0"/>
                    </a:cubicBezTo>
                    <a:cubicBezTo>
                      <a:pt x="1566" y="0"/>
                      <a:pt x="1566" y="0"/>
                      <a:pt x="1566" y="0"/>
                    </a:cubicBezTo>
                    <a:cubicBezTo>
                      <a:pt x="1718" y="0"/>
                      <a:pt x="1842" y="150"/>
                      <a:pt x="1842" y="335"/>
                    </a:cubicBezTo>
                    <a:cubicBezTo>
                      <a:pt x="1842" y="436"/>
                      <a:pt x="1842" y="436"/>
                      <a:pt x="1842" y="436"/>
                    </a:cubicBezTo>
                    <a:cubicBezTo>
                      <a:pt x="0" y="436"/>
                      <a:pt x="0" y="436"/>
                      <a:pt x="0" y="436"/>
                    </a:cubicBezTo>
                    <a:lnTo>
                      <a:pt x="0" y="335"/>
                    </a:ln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3" name="íṣliḍe"/>
              <p:cNvSpPr/>
              <p:nvPr/>
            </p:nvSpPr>
            <p:spPr bwMode="auto">
              <a:xfrm>
                <a:off x="5622613" y="5444274"/>
                <a:ext cx="1221086" cy="494222"/>
              </a:xfrm>
              <a:custGeom>
                <a:avLst/>
                <a:gdLst>
                  <a:gd name="T0" fmla="*/ 1842 w 1842"/>
                  <a:gd name="T1" fmla="*/ 0 h 747"/>
                  <a:gd name="T2" fmla="*/ 1842 w 1842"/>
                  <a:gd name="T3" fmla="*/ 412 h 747"/>
                  <a:gd name="T4" fmla="*/ 1566 w 1842"/>
                  <a:gd name="T5" fmla="*/ 747 h 747"/>
                  <a:gd name="T6" fmla="*/ 276 w 1842"/>
                  <a:gd name="T7" fmla="*/ 747 h 747"/>
                  <a:gd name="T8" fmla="*/ 0 w 1842"/>
                  <a:gd name="T9" fmla="*/ 412 h 747"/>
                  <a:gd name="T10" fmla="*/ 0 w 1842"/>
                  <a:gd name="T11" fmla="*/ 0 h 747"/>
                  <a:gd name="T12" fmla="*/ 1842 w 1842"/>
                  <a:gd name="T13" fmla="*/ 0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42" h="747">
                    <a:moveTo>
                      <a:pt x="1842" y="0"/>
                    </a:moveTo>
                    <a:cubicBezTo>
                      <a:pt x="1842" y="412"/>
                      <a:pt x="1842" y="412"/>
                      <a:pt x="1842" y="412"/>
                    </a:cubicBezTo>
                    <a:cubicBezTo>
                      <a:pt x="1842" y="597"/>
                      <a:pt x="1718" y="747"/>
                      <a:pt x="1566" y="747"/>
                    </a:cubicBezTo>
                    <a:cubicBezTo>
                      <a:pt x="276" y="747"/>
                      <a:pt x="276" y="747"/>
                      <a:pt x="276" y="747"/>
                    </a:cubicBezTo>
                    <a:cubicBezTo>
                      <a:pt x="124" y="747"/>
                      <a:pt x="0" y="597"/>
                      <a:pt x="0" y="412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842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4" name="îšľiḓê"/>
              <p:cNvSpPr/>
              <p:nvPr/>
            </p:nvSpPr>
            <p:spPr bwMode="auto">
              <a:xfrm>
                <a:off x="4038096" y="2242831"/>
                <a:ext cx="4390121" cy="3094959"/>
              </a:xfrm>
              <a:custGeom>
                <a:avLst/>
                <a:gdLst>
                  <a:gd name="T0" fmla="*/ 0 w 6624"/>
                  <a:gd name="T1" fmla="*/ 4343 h 4677"/>
                  <a:gd name="T2" fmla="*/ 335 w 6624"/>
                  <a:gd name="T3" fmla="*/ 4677 h 4677"/>
                  <a:gd name="T4" fmla="*/ 6289 w 6624"/>
                  <a:gd name="T5" fmla="*/ 4677 h 4677"/>
                  <a:gd name="T6" fmla="*/ 6624 w 6624"/>
                  <a:gd name="T7" fmla="*/ 4343 h 4677"/>
                  <a:gd name="T8" fmla="*/ 6624 w 6624"/>
                  <a:gd name="T9" fmla="*/ 335 h 4677"/>
                  <a:gd name="T10" fmla="*/ 6289 w 6624"/>
                  <a:gd name="T11" fmla="*/ 0 h 4677"/>
                  <a:gd name="T12" fmla="*/ 335 w 6624"/>
                  <a:gd name="T13" fmla="*/ 0 h 4677"/>
                  <a:gd name="T14" fmla="*/ 0 w 6624"/>
                  <a:gd name="T15" fmla="*/ 335 h 4677"/>
                  <a:gd name="T16" fmla="*/ 0 w 6624"/>
                  <a:gd name="T17" fmla="*/ 4343 h 46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24" h="4677">
                    <a:moveTo>
                      <a:pt x="0" y="4343"/>
                    </a:moveTo>
                    <a:cubicBezTo>
                      <a:pt x="0" y="4527"/>
                      <a:pt x="150" y="4677"/>
                      <a:pt x="335" y="4677"/>
                    </a:cubicBezTo>
                    <a:cubicBezTo>
                      <a:pt x="6289" y="4677"/>
                      <a:pt x="6289" y="4677"/>
                      <a:pt x="6289" y="4677"/>
                    </a:cubicBezTo>
                    <a:cubicBezTo>
                      <a:pt x="6474" y="4677"/>
                      <a:pt x="6624" y="4527"/>
                      <a:pt x="6624" y="4343"/>
                    </a:cubicBezTo>
                    <a:cubicBezTo>
                      <a:pt x="6624" y="335"/>
                      <a:pt x="6624" y="335"/>
                      <a:pt x="6624" y="335"/>
                    </a:cubicBezTo>
                    <a:cubicBezTo>
                      <a:pt x="6624" y="150"/>
                      <a:pt x="6474" y="0"/>
                      <a:pt x="6289" y="0"/>
                    </a:cubicBezTo>
                    <a:cubicBezTo>
                      <a:pt x="335" y="0"/>
                      <a:pt x="335" y="0"/>
                      <a:pt x="335" y="0"/>
                    </a:cubicBezTo>
                    <a:cubicBezTo>
                      <a:pt x="150" y="0"/>
                      <a:pt x="0" y="150"/>
                      <a:pt x="0" y="335"/>
                    </a:cubicBezTo>
                    <a:cubicBezTo>
                      <a:pt x="0" y="4343"/>
                      <a:pt x="0" y="4343"/>
                      <a:pt x="0" y="4343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5" name="íşļîḋê"/>
              <p:cNvSpPr/>
              <p:nvPr/>
            </p:nvSpPr>
            <p:spPr bwMode="auto">
              <a:xfrm>
                <a:off x="5043899" y="5742890"/>
                <a:ext cx="2378513" cy="391210"/>
              </a:xfrm>
              <a:custGeom>
                <a:avLst/>
                <a:gdLst>
                  <a:gd name="T0" fmla="*/ 501 w 2055"/>
                  <a:gd name="T1" fmla="*/ 0 h 338"/>
                  <a:gd name="T2" fmla="*/ 1554 w 2055"/>
                  <a:gd name="T3" fmla="*/ 0 h 338"/>
                  <a:gd name="T4" fmla="*/ 2055 w 2055"/>
                  <a:gd name="T5" fmla="*/ 338 h 338"/>
                  <a:gd name="T6" fmla="*/ 0 w 2055"/>
                  <a:gd name="T7" fmla="*/ 338 h 338"/>
                  <a:gd name="T8" fmla="*/ 501 w 2055"/>
                  <a:gd name="T9" fmla="*/ 0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55" h="338">
                    <a:moveTo>
                      <a:pt x="501" y="0"/>
                    </a:moveTo>
                    <a:lnTo>
                      <a:pt x="1554" y="0"/>
                    </a:lnTo>
                    <a:lnTo>
                      <a:pt x="2055" y="338"/>
                    </a:lnTo>
                    <a:lnTo>
                      <a:pt x="0" y="338"/>
                    </a:lnTo>
                    <a:lnTo>
                      <a:pt x="501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6" name="îSľïďé"/>
              <p:cNvSpPr/>
              <p:nvPr/>
            </p:nvSpPr>
            <p:spPr bwMode="auto">
              <a:xfrm>
                <a:off x="4187404" y="2421075"/>
                <a:ext cx="4070671" cy="2633146"/>
              </a:xfrm>
              <a:custGeom>
                <a:avLst/>
                <a:gdLst>
                  <a:gd name="T0" fmla="*/ 6116 w 6141"/>
                  <a:gd name="T1" fmla="*/ 0 h 3978"/>
                  <a:gd name="T2" fmla="*/ 6141 w 6141"/>
                  <a:gd name="T3" fmla="*/ 25 h 3978"/>
                  <a:gd name="T4" fmla="*/ 6141 w 6141"/>
                  <a:gd name="T5" fmla="*/ 3953 h 3978"/>
                  <a:gd name="T6" fmla="*/ 6116 w 6141"/>
                  <a:gd name="T7" fmla="*/ 3978 h 3978"/>
                  <a:gd name="T8" fmla="*/ 0 w 6141"/>
                  <a:gd name="T9" fmla="*/ 0 h 3978"/>
                  <a:gd name="T10" fmla="*/ 6116 w 6141"/>
                  <a:gd name="T11" fmla="*/ 0 h 39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141" h="3978">
                    <a:moveTo>
                      <a:pt x="6116" y="0"/>
                    </a:moveTo>
                    <a:cubicBezTo>
                      <a:pt x="6130" y="0"/>
                      <a:pt x="6141" y="11"/>
                      <a:pt x="6141" y="25"/>
                    </a:cubicBezTo>
                    <a:cubicBezTo>
                      <a:pt x="6141" y="3953"/>
                      <a:pt x="6141" y="3953"/>
                      <a:pt x="6141" y="3953"/>
                    </a:cubicBezTo>
                    <a:cubicBezTo>
                      <a:pt x="6141" y="3967"/>
                      <a:pt x="6130" y="3978"/>
                      <a:pt x="6116" y="397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116" y="0"/>
                      <a:pt x="6116" y="0"/>
                      <a:pt x="6116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7" name="ïṣlïḑê"/>
              <p:cNvSpPr/>
              <p:nvPr/>
            </p:nvSpPr>
            <p:spPr bwMode="auto">
              <a:xfrm>
                <a:off x="4154996" y="2421075"/>
                <a:ext cx="4085717" cy="2633146"/>
              </a:xfrm>
              <a:custGeom>
                <a:avLst/>
                <a:gdLst>
                  <a:gd name="T0" fmla="*/ 25 w 6164"/>
                  <a:gd name="T1" fmla="*/ 0 h 3978"/>
                  <a:gd name="T2" fmla="*/ 48 w 6164"/>
                  <a:gd name="T3" fmla="*/ 0 h 3978"/>
                  <a:gd name="T4" fmla="*/ 6164 w 6164"/>
                  <a:gd name="T5" fmla="*/ 3978 h 3978"/>
                  <a:gd name="T6" fmla="*/ 25 w 6164"/>
                  <a:gd name="T7" fmla="*/ 3978 h 3978"/>
                  <a:gd name="T8" fmla="*/ 0 w 6164"/>
                  <a:gd name="T9" fmla="*/ 3953 h 3978"/>
                  <a:gd name="T10" fmla="*/ 0 w 6164"/>
                  <a:gd name="T11" fmla="*/ 25 h 3978"/>
                  <a:gd name="T12" fmla="*/ 25 w 6164"/>
                  <a:gd name="T13" fmla="*/ 0 h 39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64" h="3978">
                    <a:moveTo>
                      <a:pt x="25" y="0"/>
                    </a:moveTo>
                    <a:cubicBezTo>
                      <a:pt x="48" y="0"/>
                      <a:pt x="48" y="0"/>
                      <a:pt x="48" y="0"/>
                    </a:cubicBezTo>
                    <a:cubicBezTo>
                      <a:pt x="6164" y="3978"/>
                      <a:pt x="6164" y="3978"/>
                      <a:pt x="6164" y="3978"/>
                    </a:cubicBezTo>
                    <a:cubicBezTo>
                      <a:pt x="25" y="3978"/>
                      <a:pt x="25" y="3978"/>
                      <a:pt x="25" y="3978"/>
                    </a:cubicBezTo>
                    <a:cubicBezTo>
                      <a:pt x="11" y="3978"/>
                      <a:pt x="0" y="3967"/>
                      <a:pt x="0" y="3953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1"/>
                      <a:pt x="11" y="0"/>
                      <a:pt x="25" y="0"/>
                    </a:cubicBezTo>
                  </a:path>
                </a:pathLst>
              </a:custGeom>
              <a:solidFill>
                <a:srgbClr val="EAEA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8" name="îšľîḍe"/>
              <p:cNvSpPr/>
              <p:nvPr/>
            </p:nvSpPr>
            <p:spPr bwMode="auto">
              <a:xfrm>
                <a:off x="6773095" y="1527542"/>
                <a:ext cx="1215298" cy="2031284"/>
              </a:xfrm>
              <a:custGeom>
                <a:avLst/>
                <a:gdLst>
                  <a:gd name="T0" fmla="*/ 1040 w 1834"/>
                  <a:gd name="T1" fmla="*/ 366 h 3069"/>
                  <a:gd name="T2" fmla="*/ 1281 w 1834"/>
                  <a:gd name="T3" fmla="*/ 1 h 3069"/>
                  <a:gd name="T4" fmla="*/ 1283 w 1834"/>
                  <a:gd name="T5" fmla="*/ 0 h 3069"/>
                  <a:gd name="T6" fmla="*/ 1431 w 1834"/>
                  <a:gd name="T7" fmla="*/ 0 h 3069"/>
                  <a:gd name="T8" fmla="*/ 1834 w 1834"/>
                  <a:gd name="T9" fmla="*/ 482 h 3069"/>
                  <a:gd name="T10" fmla="*/ 1834 w 1834"/>
                  <a:gd name="T11" fmla="*/ 482 h 3069"/>
                  <a:gd name="T12" fmla="*/ 1834 w 1834"/>
                  <a:gd name="T13" fmla="*/ 482 h 3069"/>
                  <a:gd name="T14" fmla="*/ 1834 w 1834"/>
                  <a:gd name="T15" fmla="*/ 3069 h 3069"/>
                  <a:gd name="T16" fmla="*/ 40 w 1834"/>
                  <a:gd name="T17" fmla="*/ 3069 h 3069"/>
                  <a:gd name="T18" fmla="*/ 0 w 1834"/>
                  <a:gd name="T19" fmla="*/ 213 h 3069"/>
                  <a:gd name="T20" fmla="*/ 1040 w 1834"/>
                  <a:gd name="T21" fmla="*/ 366 h 30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34" h="3069">
                    <a:moveTo>
                      <a:pt x="1040" y="366"/>
                    </a:moveTo>
                    <a:cubicBezTo>
                      <a:pt x="1083" y="69"/>
                      <a:pt x="1281" y="1"/>
                      <a:pt x="1281" y="1"/>
                    </a:cubicBezTo>
                    <a:cubicBezTo>
                      <a:pt x="1283" y="0"/>
                      <a:pt x="1283" y="0"/>
                      <a:pt x="1283" y="0"/>
                    </a:cubicBezTo>
                    <a:cubicBezTo>
                      <a:pt x="1352" y="0"/>
                      <a:pt x="1403" y="0"/>
                      <a:pt x="1431" y="0"/>
                    </a:cubicBezTo>
                    <a:cubicBezTo>
                      <a:pt x="1767" y="0"/>
                      <a:pt x="1834" y="482"/>
                      <a:pt x="1834" y="482"/>
                    </a:cubicBezTo>
                    <a:cubicBezTo>
                      <a:pt x="1834" y="482"/>
                      <a:pt x="1834" y="482"/>
                      <a:pt x="1834" y="482"/>
                    </a:cubicBezTo>
                    <a:cubicBezTo>
                      <a:pt x="1834" y="482"/>
                      <a:pt x="1834" y="482"/>
                      <a:pt x="1834" y="482"/>
                    </a:cubicBezTo>
                    <a:cubicBezTo>
                      <a:pt x="1834" y="3069"/>
                      <a:pt x="1834" y="3069"/>
                      <a:pt x="1834" y="3069"/>
                    </a:cubicBezTo>
                    <a:cubicBezTo>
                      <a:pt x="40" y="3069"/>
                      <a:pt x="40" y="3069"/>
                      <a:pt x="40" y="3069"/>
                    </a:cubicBezTo>
                    <a:cubicBezTo>
                      <a:pt x="0" y="213"/>
                      <a:pt x="0" y="213"/>
                      <a:pt x="0" y="213"/>
                    </a:cubicBezTo>
                    <a:lnTo>
                      <a:pt x="1040" y="366"/>
                    </a:lnTo>
                    <a:close/>
                  </a:path>
                </a:pathLst>
              </a:custGeom>
              <a:solidFill>
                <a:schemeClr val="accent1">
                  <a:lumMod val="90000"/>
                  <a:lumOff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9" name="íṥlidè"/>
              <p:cNvSpPr/>
              <p:nvPr/>
            </p:nvSpPr>
            <p:spPr bwMode="auto">
              <a:xfrm>
                <a:off x="4718663" y="1527542"/>
                <a:ext cx="2905142" cy="3456076"/>
              </a:xfrm>
              <a:custGeom>
                <a:avLst/>
                <a:gdLst>
                  <a:gd name="T0" fmla="*/ 3185 w 4383"/>
                  <a:gd name="T1" fmla="*/ 4743 h 5221"/>
                  <a:gd name="T2" fmla="*/ 0 w 4383"/>
                  <a:gd name="T3" fmla="*/ 4743 h 5221"/>
                  <a:gd name="T4" fmla="*/ 0 w 4383"/>
                  <a:gd name="T5" fmla="*/ 396 h 5221"/>
                  <a:gd name="T6" fmla="*/ 401 w 4383"/>
                  <a:gd name="T7" fmla="*/ 0 h 5221"/>
                  <a:gd name="T8" fmla="*/ 524 w 4383"/>
                  <a:gd name="T9" fmla="*/ 0 h 5221"/>
                  <a:gd name="T10" fmla="*/ 4128 w 4383"/>
                  <a:gd name="T11" fmla="*/ 0 h 5221"/>
                  <a:gd name="T12" fmla="*/ 4128 w 4383"/>
                  <a:gd name="T13" fmla="*/ 0 h 5221"/>
                  <a:gd name="T14" fmla="*/ 4383 w 4383"/>
                  <a:gd name="T15" fmla="*/ 0 h 5221"/>
                  <a:gd name="T16" fmla="*/ 4381 w 4383"/>
                  <a:gd name="T17" fmla="*/ 1 h 5221"/>
                  <a:gd name="T18" fmla="*/ 4132 w 4383"/>
                  <a:gd name="T19" fmla="*/ 482 h 5221"/>
                  <a:gd name="T20" fmla="*/ 4126 w 4383"/>
                  <a:gd name="T21" fmla="*/ 482 h 5221"/>
                  <a:gd name="T22" fmla="*/ 4126 w 4383"/>
                  <a:gd name="T23" fmla="*/ 577 h 5221"/>
                  <a:gd name="T24" fmla="*/ 4126 w 4383"/>
                  <a:gd name="T25" fmla="*/ 4822 h 5221"/>
                  <a:gd name="T26" fmla="*/ 4126 w 4383"/>
                  <a:gd name="T27" fmla="*/ 4825 h 5221"/>
                  <a:gd name="T28" fmla="*/ 3725 w 4383"/>
                  <a:gd name="T29" fmla="*/ 5221 h 5221"/>
                  <a:gd name="T30" fmla="*/ 3602 w 4383"/>
                  <a:gd name="T31" fmla="*/ 5221 h 5221"/>
                  <a:gd name="T32" fmla="*/ 3185 w 4383"/>
                  <a:gd name="T33" fmla="*/ 4743 h 5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83" h="5221">
                    <a:moveTo>
                      <a:pt x="3185" y="4743"/>
                    </a:moveTo>
                    <a:cubicBezTo>
                      <a:pt x="0" y="4743"/>
                      <a:pt x="0" y="4743"/>
                      <a:pt x="0" y="4743"/>
                    </a:cubicBezTo>
                    <a:cubicBezTo>
                      <a:pt x="0" y="396"/>
                      <a:pt x="0" y="396"/>
                      <a:pt x="0" y="396"/>
                    </a:cubicBezTo>
                    <a:cubicBezTo>
                      <a:pt x="5" y="361"/>
                      <a:pt x="60" y="34"/>
                      <a:pt x="401" y="0"/>
                    </a:cubicBezTo>
                    <a:cubicBezTo>
                      <a:pt x="524" y="0"/>
                      <a:pt x="524" y="0"/>
                      <a:pt x="524" y="0"/>
                    </a:cubicBezTo>
                    <a:cubicBezTo>
                      <a:pt x="4128" y="0"/>
                      <a:pt x="4128" y="0"/>
                      <a:pt x="4128" y="0"/>
                    </a:cubicBezTo>
                    <a:cubicBezTo>
                      <a:pt x="4128" y="0"/>
                      <a:pt x="4128" y="0"/>
                      <a:pt x="4128" y="0"/>
                    </a:cubicBezTo>
                    <a:cubicBezTo>
                      <a:pt x="4228" y="0"/>
                      <a:pt x="4315" y="0"/>
                      <a:pt x="4383" y="0"/>
                    </a:cubicBezTo>
                    <a:cubicBezTo>
                      <a:pt x="4381" y="1"/>
                      <a:pt x="4381" y="1"/>
                      <a:pt x="4381" y="1"/>
                    </a:cubicBezTo>
                    <a:cubicBezTo>
                      <a:pt x="4381" y="1"/>
                      <a:pt x="4132" y="86"/>
                      <a:pt x="4132" y="482"/>
                    </a:cubicBezTo>
                    <a:cubicBezTo>
                      <a:pt x="4126" y="482"/>
                      <a:pt x="4126" y="482"/>
                      <a:pt x="4126" y="482"/>
                    </a:cubicBezTo>
                    <a:cubicBezTo>
                      <a:pt x="4126" y="577"/>
                      <a:pt x="4126" y="577"/>
                      <a:pt x="4126" y="577"/>
                    </a:cubicBezTo>
                    <a:cubicBezTo>
                      <a:pt x="4126" y="4822"/>
                      <a:pt x="4126" y="4822"/>
                      <a:pt x="4126" y="4822"/>
                    </a:cubicBezTo>
                    <a:cubicBezTo>
                      <a:pt x="4126" y="4822"/>
                      <a:pt x="4126" y="4823"/>
                      <a:pt x="4126" y="4825"/>
                    </a:cubicBezTo>
                    <a:cubicBezTo>
                      <a:pt x="4121" y="4860"/>
                      <a:pt x="4066" y="5187"/>
                      <a:pt x="3725" y="5221"/>
                    </a:cubicBezTo>
                    <a:cubicBezTo>
                      <a:pt x="3602" y="5221"/>
                      <a:pt x="3602" y="5221"/>
                      <a:pt x="3602" y="5221"/>
                    </a:cubicBezTo>
                    <a:cubicBezTo>
                      <a:pt x="3162" y="5182"/>
                      <a:pt x="3185" y="4743"/>
                      <a:pt x="3185" y="4743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40" name="ïṩ1iḑe"/>
              <p:cNvSpPr/>
              <p:nvPr/>
            </p:nvSpPr>
            <p:spPr bwMode="auto">
              <a:xfrm>
                <a:off x="4187404" y="4667640"/>
                <a:ext cx="2978060" cy="332182"/>
              </a:xfrm>
              <a:custGeom>
                <a:avLst/>
                <a:gdLst>
                  <a:gd name="T0" fmla="*/ 3989 w 4494"/>
                  <a:gd name="T1" fmla="*/ 0 h 503"/>
                  <a:gd name="T2" fmla="*/ 0 w 4494"/>
                  <a:gd name="T3" fmla="*/ 0 h 503"/>
                  <a:gd name="T4" fmla="*/ 403 w 4494"/>
                  <a:gd name="T5" fmla="*/ 482 h 503"/>
                  <a:gd name="T6" fmla="*/ 4494 w 4494"/>
                  <a:gd name="T7" fmla="*/ 482 h 503"/>
                  <a:gd name="T8" fmla="*/ 3989 w 4494"/>
                  <a:gd name="T9" fmla="*/ 0 h 5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94" h="503">
                    <a:moveTo>
                      <a:pt x="398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67" y="482"/>
                      <a:pt x="403" y="482"/>
                    </a:cubicBezTo>
                    <a:cubicBezTo>
                      <a:pt x="739" y="482"/>
                      <a:pt x="4494" y="482"/>
                      <a:pt x="4494" y="482"/>
                    </a:cubicBezTo>
                    <a:cubicBezTo>
                      <a:pt x="4494" y="482"/>
                      <a:pt x="3987" y="503"/>
                      <a:pt x="3989" y="0"/>
                    </a:cubicBezTo>
                    <a:close/>
                  </a:path>
                </a:pathLst>
              </a:custGeom>
              <a:solidFill>
                <a:schemeClr val="accent1">
                  <a:lumMod val="90000"/>
                  <a:lumOff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1" name="îṣḷiḍè"/>
              <p:cNvSpPr/>
              <p:nvPr/>
            </p:nvSpPr>
            <p:spPr bwMode="auto">
              <a:xfrm>
                <a:off x="5886506" y="1868982"/>
                <a:ext cx="1331041" cy="74075"/>
              </a:xfrm>
              <a:prstGeom prst="rect">
                <a:avLst/>
              </a:pr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2" name="iṡḷîḍê"/>
              <p:cNvSpPr/>
              <p:nvPr/>
            </p:nvSpPr>
            <p:spPr bwMode="auto">
              <a:xfrm>
                <a:off x="5648076" y="2086579"/>
                <a:ext cx="1332199" cy="74075"/>
              </a:xfrm>
              <a:prstGeom prst="rect">
                <a:avLst/>
              </a:pr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3" name="ïṧlîḑê"/>
              <p:cNvSpPr/>
              <p:nvPr/>
            </p:nvSpPr>
            <p:spPr bwMode="auto">
              <a:xfrm>
                <a:off x="5192050" y="2086579"/>
                <a:ext cx="296301" cy="74075"/>
              </a:xfrm>
              <a:prstGeom prst="rect">
                <a:avLst/>
              </a:pr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4" name="íšļíḋê"/>
              <p:cNvSpPr/>
              <p:nvPr/>
            </p:nvSpPr>
            <p:spPr bwMode="auto">
              <a:xfrm>
                <a:off x="5438582" y="2304175"/>
                <a:ext cx="1331041" cy="74075"/>
              </a:xfrm>
              <a:prstGeom prst="rect">
                <a:avLst/>
              </a:pr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5" name="îṡḻidè"/>
              <p:cNvSpPr/>
              <p:nvPr/>
            </p:nvSpPr>
            <p:spPr bwMode="auto">
              <a:xfrm>
                <a:off x="5886506" y="2521771"/>
                <a:ext cx="1331041" cy="74075"/>
              </a:xfrm>
              <a:prstGeom prst="rect">
                <a:avLst/>
              </a:pr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6" name="îŝ1ide"/>
              <p:cNvSpPr/>
              <p:nvPr/>
            </p:nvSpPr>
            <p:spPr bwMode="auto">
              <a:xfrm>
                <a:off x="5329784" y="2521771"/>
                <a:ext cx="450239" cy="74075"/>
              </a:xfrm>
              <a:prstGeom prst="rect">
                <a:avLst/>
              </a:pr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7" name="iṡľiḑê"/>
              <p:cNvSpPr/>
              <p:nvPr/>
            </p:nvSpPr>
            <p:spPr bwMode="auto">
              <a:xfrm>
                <a:off x="4975612" y="3595863"/>
                <a:ext cx="576399" cy="94909"/>
              </a:xfrm>
              <a:prstGeom prst="rect">
                <a:avLst/>
              </a:pr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8" name="íš1íḋè"/>
              <p:cNvSpPr/>
              <p:nvPr/>
            </p:nvSpPr>
            <p:spPr bwMode="auto">
              <a:xfrm>
                <a:off x="4975612" y="3595863"/>
                <a:ext cx="576399" cy="949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9" name="i$ḻiḓé"/>
              <p:cNvSpPr/>
              <p:nvPr/>
            </p:nvSpPr>
            <p:spPr bwMode="auto">
              <a:xfrm>
                <a:off x="4989501" y="4263698"/>
                <a:ext cx="1332199" cy="74075"/>
              </a:xfrm>
              <a:prstGeom prst="rect">
                <a:avLst/>
              </a:pr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0" name="îślïḑê"/>
              <p:cNvSpPr/>
              <p:nvPr/>
            </p:nvSpPr>
            <p:spPr bwMode="auto">
              <a:xfrm>
                <a:off x="6427025" y="4263698"/>
                <a:ext cx="450239" cy="74075"/>
              </a:xfrm>
              <a:prstGeom prst="rect">
                <a:avLst/>
              </a:pr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1" name="îşlíďé"/>
              <p:cNvSpPr/>
              <p:nvPr/>
            </p:nvSpPr>
            <p:spPr bwMode="auto">
              <a:xfrm>
                <a:off x="5886506" y="4481295"/>
                <a:ext cx="1331041" cy="74075"/>
              </a:xfrm>
              <a:prstGeom prst="rect">
                <a:avLst/>
              </a:pr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2" name="ïṣḷíḑe"/>
              <p:cNvSpPr/>
              <p:nvPr/>
            </p:nvSpPr>
            <p:spPr bwMode="auto">
              <a:xfrm>
                <a:off x="6135353" y="5130611"/>
                <a:ext cx="162040" cy="163198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1" name="îṥḻïḑè"/>
              <p:cNvSpPr/>
              <p:nvPr/>
            </p:nvSpPr>
            <p:spPr bwMode="auto">
              <a:xfrm>
                <a:off x="5922387" y="2739367"/>
                <a:ext cx="982656" cy="74075"/>
              </a:xfrm>
              <a:custGeom>
                <a:avLst/>
                <a:gdLst>
                  <a:gd name="T0" fmla="*/ 849 w 849"/>
                  <a:gd name="T1" fmla="*/ 0 h 64"/>
                  <a:gd name="T2" fmla="*/ 0 w 849"/>
                  <a:gd name="T3" fmla="*/ 0 h 64"/>
                  <a:gd name="T4" fmla="*/ 80 w 849"/>
                  <a:gd name="T5" fmla="*/ 64 h 64"/>
                  <a:gd name="T6" fmla="*/ 849 w 849"/>
                  <a:gd name="T7" fmla="*/ 64 h 64"/>
                  <a:gd name="T8" fmla="*/ 849 w 849"/>
                  <a:gd name="T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9" h="64">
                    <a:moveTo>
                      <a:pt x="849" y="0"/>
                    </a:moveTo>
                    <a:lnTo>
                      <a:pt x="0" y="0"/>
                    </a:lnTo>
                    <a:lnTo>
                      <a:pt x="80" y="64"/>
                    </a:lnTo>
                    <a:lnTo>
                      <a:pt x="849" y="64"/>
                    </a:lnTo>
                    <a:lnTo>
                      <a:pt x="849" y="0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2" name="íšḷîďê"/>
              <p:cNvSpPr/>
              <p:nvPr/>
            </p:nvSpPr>
            <p:spPr bwMode="auto">
              <a:xfrm>
                <a:off x="5536963" y="2741682"/>
                <a:ext cx="565982" cy="94909"/>
              </a:xfrm>
              <a:custGeom>
                <a:avLst/>
                <a:gdLst>
                  <a:gd name="T0" fmla="*/ 0 w 489"/>
                  <a:gd name="T1" fmla="*/ 0 h 82"/>
                  <a:gd name="T2" fmla="*/ 0 w 489"/>
                  <a:gd name="T3" fmla="*/ 82 h 82"/>
                  <a:gd name="T4" fmla="*/ 489 w 489"/>
                  <a:gd name="T5" fmla="*/ 82 h 82"/>
                  <a:gd name="T6" fmla="*/ 385 w 489"/>
                  <a:gd name="T7" fmla="*/ 0 h 82"/>
                  <a:gd name="T8" fmla="*/ 0 w 489"/>
                  <a:gd name="T9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9" h="82">
                    <a:moveTo>
                      <a:pt x="0" y="0"/>
                    </a:moveTo>
                    <a:lnTo>
                      <a:pt x="0" y="82"/>
                    </a:lnTo>
                    <a:lnTo>
                      <a:pt x="489" y="82"/>
                    </a:lnTo>
                    <a:lnTo>
                      <a:pt x="38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3" name="ísḷíďè"/>
              <p:cNvSpPr/>
              <p:nvPr/>
            </p:nvSpPr>
            <p:spPr bwMode="auto">
              <a:xfrm>
                <a:off x="5536963" y="2741682"/>
                <a:ext cx="565982" cy="94909"/>
              </a:xfrm>
              <a:custGeom>
                <a:avLst/>
                <a:gdLst>
                  <a:gd name="T0" fmla="*/ 0 w 489"/>
                  <a:gd name="T1" fmla="*/ 0 h 82"/>
                  <a:gd name="T2" fmla="*/ 0 w 489"/>
                  <a:gd name="T3" fmla="*/ 82 h 82"/>
                  <a:gd name="T4" fmla="*/ 489 w 489"/>
                  <a:gd name="T5" fmla="*/ 82 h 82"/>
                  <a:gd name="T6" fmla="*/ 385 w 489"/>
                  <a:gd name="T7" fmla="*/ 0 h 82"/>
                  <a:gd name="T8" fmla="*/ 0 w 489"/>
                  <a:gd name="T9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9" h="82">
                    <a:moveTo>
                      <a:pt x="0" y="0"/>
                    </a:moveTo>
                    <a:lnTo>
                      <a:pt x="0" y="82"/>
                    </a:lnTo>
                    <a:lnTo>
                      <a:pt x="489" y="82"/>
                    </a:lnTo>
                    <a:lnTo>
                      <a:pt x="385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4" name="išḻîďê"/>
              <p:cNvSpPr/>
              <p:nvPr/>
            </p:nvSpPr>
            <p:spPr bwMode="auto">
              <a:xfrm>
                <a:off x="6145770" y="2956963"/>
                <a:ext cx="498851" cy="74075"/>
              </a:xfrm>
              <a:custGeom>
                <a:avLst/>
                <a:gdLst>
                  <a:gd name="T0" fmla="*/ 431 w 431"/>
                  <a:gd name="T1" fmla="*/ 0 h 64"/>
                  <a:gd name="T2" fmla="*/ 0 w 431"/>
                  <a:gd name="T3" fmla="*/ 0 h 64"/>
                  <a:gd name="T4" fmla="*/ 12 w 431"/>
                  <a:gd name="T5" fmla="*/ 31 h 64"/>
                  <a:gd name="T6" fmla="*/ 33 w 431"/>
                  <a:gd name="T7" fmla="*/ 64 h 64"/>
                  <a:gd name="T8" fmla="*/ 431 w 431"/>
                  <a:gd name="T9" fmla="*/ 64 h 64"/>
                  <a:gd name="T10" fmla="*/ 431 w 431"/>
                  <a:gd name="T11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1" h="64">
                    <a:moveTo>
                      <a:pt x="431" y="0"/>
                    </a:moveTo>
                    <a:lnTo>
                      <a:pt x="0" y="0"/>
                    </a:lnTo>
                    <a:lnTo>
                      <a:pt x="12" y="31"/>
                    </a:lnTo>
                    <a:lnTo>
                      <a:pt x="33" y="64"/>
                    </a:lnTo>
                    <a:lnTo>
                      <a:pt x="431" y="64"/>
                    </a:lnTo>
                    <a:lnTo>
                      <a:pt x="431" y="0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5" name="íšḷíḓé"/>
              <p:cNvSpPr/>
              <p:nvPr/>
            </p:nvSpPr>
            <p:spPr bwMode="auto">
              <a:xfrm>
                <a:off x="5923544" y="2966223"/>
                <a:ext cx="287042" cy="94909"/>
              </a:xfrm>
              <a:custGeom>
                <a:avLst/>
                <a:gdLst>
                  <a:gd name="T0" fmla="*/ 205 w 248"/>
                  <a:gd name="T1" fmla="*/ 0 h 82"/>
                  <a:gd name="T2" fmla="*/ 0 w 248"/>
                  <a:gd name="T3" fmla="*/ 0 h 82"/>
                  <a:gd name="T4" fmla="*/ 0 w 248"/>
                  <a:gd name="T5" fmla="*/ 82 h 82"/>
                  <a:gd name="T6" fmla="*/ 248 w 248"/>
                  <a:gd name="T7" fmla="*/ 82 h 82"/>
                  <a:gd name="T8" fmla="*/ 221 w 248"/>
                  <a:gd name="T9" fmla="*/ 39 h 82"/>
                  <a:gd name="T10" fmla="*/ 205 w 248"/>
                  <a:gd name="T11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82">
                    <a:moveTo>
                      <a:pt x="205" y="0"/>
                    </a:moveTo>
                    <a:lnTo>
                      <a:pt x="0" y="0"/>
                    </a:lnTo>
                    <a:lnTo>
                      <a:pt x="0" y="82"/>
                    </a:lnTo>
                    <a:lnTo>
                      <a:pt x="248" y="82"/>
                    </a:lnTo>
                    <a:lnTo>
                      <a:pt x="221" y="39"/>
                    </a:lnTo>
                    <a:lnTo>
                      <a:pt x="205" y="0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6" name="îṡľîḓe"/>
              <p:cNvSpPr/>
              <p:nvPr/>
            </p:nvSpPr>
            <p:spPr bwMode="auto">
              <a:xfrm>
                <a:off x="5923544" y="2966223"/>
                <a:ext cx="287042" cy="94909"/>
              </a:xfrm>
              <a:custGeom>
                <a:avLst/>
                <a:gdLst>
                  <a:gd name="T0" fmla="*/ 205 w 248"/>
                  <a:gd name="T1" fmla="*/ 0 h 82"/>
                  <a:gd name="T2" fmla="*/ 0 w 248"/>
                  <a:gd name="T3" fmla="*/ 0 h 82"/>
                  <a:gd name="T4" fmla="*/ 0 w 248"/>
                  <a:gd name="T5" fmla="*/ 82 h 82"/>
                  <a:gd name="T6" fmla="*/ 248 w 248"/>
                  <a:gd name="T7" fmla="*/ 82 h 82"/>
                  <a:gd name="T8" fmla="*/ 221 w 248"/>
                  <a:gd name="T9" fmla="*/ 39 h 82"/>
                  <a:gd name="T10" fmla="*/ 205 w 248"/>
                  <a:gd name="T11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82">
                    <a:moveTo>
                      <a:pt x="205" y="0"/>
                    </a:moveTo>
                    <a:lnTo>
                      <a:pt x="0" y="0"/>
                    </a:lnTo>
                    <a:lnTo>
                      <a:pt x="0" y="82"/>
                    </a:lnTo>
                    <a:lnTo>
                      <a:pt x="248" y="82"/>
                    </a:lnTo>
                    <a:lnTo>
                      <a:pt x="221" y="39"/>
                    </a:lnTo>
                    <a:lnTo>
                      <a:pt x="20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7" name="ïŝlíḋé"/>
              <p:cNvSpPr/>
              <p:nvPr/>
            </p:nvSpPr>
            <p:spPr bwMode="auto">
              <a:xfrm>
                <a:off x="5490666" y="3164143"/>
                <a:ext cx="888904" cy="93752"/>
              </a:xfrm>
              <a:custGeom>
                <a:avLst/>
                <a:gdLst>
                  <a:gd name="T0" fmla="*/ 0 w 768"/>
                  <a:gd name="T1" fmla="*/ 0 h 81"/>
                  <a:gd name="T2" fmla="*/ 0 w 768"/>
                  <a:gd name="T3" fmla="*/ 81 h 81"/>
                  <a:gd name="T4" fmla="*/ 768 w 768"/>
                  <a:gd name="T5" fmla="*/ 81 h 81"/>
                  <a:gd name="T6" fmla="*/ 756 w 768"/>
                  <a:gd name="T7" fmla="*/ 0 h 81"/>
                  <a:gd name="T8" fmla="*/ 0 w 768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8" h="81">
                    <a:moveTo>
                      <a:pt x="0" y="0"/>
                    </a:moveTo>
                    <a:lnTo>
                      <a:pt x="0" y="81"/>
                    </a:lnTo>
                    <a:lnTo>
                      <a:pt x="768" y="81"/>
                    </a:lnTo>
                    <a:lnTo>
                      <a:pt x="75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8" name="îṣḻîḍe"/>
              <p:cNvSpPr/>
              <p:nvPr/>
            </p:nvSpPr>
            <p:spPr bwMode="auto">
              <a:xfrm>
                <a:off x="5490666" y="3164143"/>
                <a:ext cx="888904" cy="93752"/>
              </a:xfrm>
              <a:custGeom>
                <a:avLst/>
                <a:gdLst>
                  <a:gd name="T0" fmla="*/ 0 w 768"/>
                  <a:gd name="T1" fmla="*/ 0 h 81"/>
                  <a:gd name="T2" fmla="*/ 0 w 768"/>
                  <a:gd name="T3" fmla="*/ 81 h 81"/>
                  <a:gd name="T4" fmla="*/ 768 w 768"/>
                  <a:gd name="T5" fmla="*/ 81 h 81"/>
                  <a:gd name="T6" fmla="*/ 756 w 768"/>
                  <a:gd name="T7" fmla="*/ 0 h 81"/>
                  <a:gd name="T8" fmla="*/ 0 w 768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8" h="81">
                    <a:moveTo>
                      <a:pt x="0" y="0"/>
                    </a:moveTo>
                    <a:lnTo>
                      <a:pt x="0" y="81"/>
                    </a:lnTo>
                    <a:lnTo>
                      <a:pt x="768" y="81"/>
                    </a:lnTo>
                    <a:lnTo>
                      <a:pt x="756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9" name="îṩ1îdê"/>
              <p:cNvSpPr/>
              <p:nvPr/>
            </p:nvSpPr>
            <p:spPr bwMode="auto">
              <a:xfrm>
                <a:off x="6261513" y="3175717"/>
                <a:ext cx="648159" cy="74075"/>
              </a:xfrm>
              <a:custGeom>
                <a:avLst/>
                <a:gdLst>
                  <a:gd name="T0" fmla="*/ 560 w 560"/>
                  <a:gd name="T1" fmla="*/ 0 h 64"/>
                  <a:gd name="T2" fmla="*/ 0 w 560"/>
                  <a:gd name="T3" fmla="*/ 0 h 64"/>
                  <a:gd name="T4" fmla="*/ 9 w 560"/>
                  <a:gd name="T5" fmla="*/ 64 h 64"/>
                  <a:gd name="T6" fmla="*/ 560 w 560"/>
                  <a:gd name="T7" fmla="*/ 64 h 64"/>
                  <a:gd name="T8" fmla="*/ 560 w 560"/>
                  <a:gd name="T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0" h="64">
                    <a:moveTo>
                      <a:pt x="560" y="0"/>
                    </a:moveTo>
                    <a:lnTo>
                      <a:pt x="0" y="0"/>
                    </a:lnTo>
                    <a:lnTo>
                      <a:pt x="9" y="64"/>
                    </a:lnTo>
                    <a:lnTo>
                      <a:pt x="560" y="64"/>
                    </a:lnTo>
                    <a:lnTo>
                      <a:pt x="560" y="0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0" name="ísḷiḑé"/>
              <p:cNvSpPr/>
              <p:nvPr/>
            </p:nvSpPr>
            <p:spPr bwMode="auto">
              <a:xfrm>
                <a:off x="5884191" y="3388684"/>
                <a:ext cx="403942" cy="93752"/>
              </a:xfrm>
              <a:custGeom>
                <a:avLst/>
                <a:gdLst>
                  <a:gd name="T0" fmla="*/ 0 w 349"/>
                  <a:gd name="T1" fmla="*/ 0 h 81"/>
                  <a:gd name="T2" fmla="*/ 0 w 349"/>
                  <a:gd name="T3" fmla="*/ 81 h 81"/>
                  <a:gd name="T4" fmla="*/ 349 w 349"/>
                  <a:gd name="T5" fmla="*/ 81 h 81"/>
                  <a:gd name="T6" fmla="*/ 346 w 349"/>
                  <a:gd name="T7" fmla="*/ 0 h 81"/>
                  <a:gd name="T8" fmla="*/ 0 w 349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9" h="81">
                    <a:moveTo>
                      <a:pt x="0" y="0"/>
                    </a:moveTo>
                    <a:lnTo>
                      <a:pt x="0" y="81"/>
                    </a:lnTo>
                    <a:lnTo>
                      <a:pt x="349" y="81"/>
                    </a:lnTo>
                    <a:lnTo>
                      <a:pt x="34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1" name="îSlidé"/>
              <p:cNvSpPr/>
              <p:nvPr/>
            </p:nvSpPr>
            <p:spPr bwMode="auto">
              <a:xfrm>
                <a:off x="5884191" y="3388684"/>
                <a:ext cx="403942" cy="93752"/>
              </a:xfrm>
              <a:custGeom>
                <a:avLst/>
                <a:gdLst>
                  <a:gd name="T0" fmla="*/ 0 w 349"/>
                  <a:gd name="T1" fmla="*/ 0 h 81"/>
                  <a:gd name="T2" fmla="*/ 0 w 349"/>
                  <a:gd name="T3" fmla="*/ 81 h 81"/>
                  <a:gd name="T4" fmla="*/ 349 w 349"/>
                  <a:gd name="T5" fmla="*/ 81 h 81"/>
                  <a:gd name="T6" fmla="*/ 346 w 349"/>
                  <a:gd name="T7" fmla="*/ 0 h 81"/>
                  <a:gd name="T8" fmla="*/ 0 w 349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9" h="81">
                    <a:moveTo>
                      <a:pt x="0" y="0"/>
                    </a:moveTo>
                    <a:lnTo>
                      <a:pt x="0" y="81"/>
                    </a:lnTo>
                    <a:lnTo>
                      <a:pt x="349" y="81"/>
                    </a:lnTo>
                    <a:lnTo>
                      <a:pt x="346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2" name="íŝlîḑe"/>
              <p:cNvSpPr/>
              <p:nvPr/>
            </p:nvSpPr>
            <p:spPr bwMode="auto">
              <a:xfrm>
                <a:off x="6284661" y="3393314"/>
                <a:ext cx="932886" cy="74075"/>
              </a:xfrm>
              <a:custGeom>
                <a:avLst/>
                <a:gdLst>
                  <a:gd name="T0" fmla="*/ 806 w 806"/>
                  <a:gd name="T1" fmla="*/ 0 h 64"/>
                  <a:gd name="T2" fmla="*/ 0 w 806"/>
                  <a:gd name="T3" fmla="*/ 0 h 64"/>
                  <a:gd name="T4" fmla="*/ 1 w 806"/>
                  <a:gd name="T5" fmla="*/ 64 h 64"/>
                  <a:gd name="T6" fmla="*/ 806 w 806"/>
                  <a:gd name="T7" fmla="*/ 64 h 64"/>
                  <a:gd name="T8" fmla="*/ 806 w 806"/>
                  <a:gd name="T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6" h="64">
                    <a:moveTo>
                      <a:pt x="806" y="0"/>
                    </a:moveTo>
                    <a:lnTo>
                      <a:pt x="0" y="0"/>
                    </a:lnTo>
                    <a:lnTo>
                      <a:pt x="1" y="64"/>
                    </a:lnTo>
                    <a:lnTo>
                      <a:pt x="806" y="64"/>
                    </a:lnTo>
                    <a:lnTo>
                      <a:pt x="806" y="0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3" name="işļiďe"/>
              <p:cNvSpPr/>
              <p:nvPr/>
            </p:nvSpPr>
            <p:spPr bwMode="auto">
              <a:xfrm>
                <a:off x="5687429" y="3595863"/>
                <a:ext cx="564824" cy="94909"/>
              </a:xfrm>
              <a:custGeom>
                <a:avLst/>
                <a:gdLst>
                  <a:gd name="T0" fmla="*/ 0 w 488"/>
                  <a:gd name="T1" fmla="*/ 82 h 82"/>
                  <a:gd name="T2" fmla="*/ 469 w 488"/>
                  <a:gd name="T3" fmla="*/ 82 h 82"/>
                  <a:gd name="T4" fmla="*/ 481 w 488"/>
                  <a:gd name="T5" fmla="*/ 51 h 82"/>
                  <a:gd name="T6" fmla="*/ 488 w 488"/>
                  <a:gd name="T7" fmla="*/ 0 h 82"/>
                  <a:gd name="T8" fmla="*/ 0 w 488"/>
                  <a:gd name="T9" fmla="*/ 0 h 82"/>
                  <a:gd name="T10" fmla="*/ 0 w 488"/>
                  <a:gd name="T11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8" h="82">
                    <a:moveTo>
                      <a:pt x="0" y="82"/>
                    </a:moveTo>
                    <a:lnTo>
                      <a:pt x="469" y="82"/>
                    </a:lnTo>
                    <a:lnTo>
                      <a:pt x="481" y="51"/>
                    </a:lnTo>
                    <a:lnTo>
                      <a:pt x="488" y="0"/>
                    </a:lnTo>
                    <a:lnTo>
                      <a:pt x="0" y="0"/>
                    </a:lnTo>
                    <a:lnTo>
                      <a:pt x="0" y="82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4" name="ïŝľîḑe"/>
              <p:cNvSpPr/>
              <p:nvPr/>
            </p:nvSpPr>
            <p:spPr bwMode="auto">
              <a:xfrm>
                <a:off x="5687429" y="3595863"/>
                <a:ext cx="564824" cy="94909"/>
              </a:xfrm>
              <a:custGeom>
                <a:avLst/>
                <a:gdLst>
                  <a:gd name="T0" fmla="*/ 0 w 488"/>
                  <a:gd name="T1" fmla="*/ 82 h 82"/>
                  <a:gd name="T2" fmla="*/ 469 w 488"/>
                  <a:gd name="T3" fmla="*/ 82 h 82"/>
                  <a:gd name="T4" fmla="*/ 481 w 488"/>
                  <a:gd name="T5" fmla="*/ 51 h 82"/>
                  <a:gd name="T6" fmla="*/ 488 w 488"/>
                  <a:gd name="T7" fmla="*/ 0 h 82"/>
                  <a:gd name="T8" fmla="*/ 0 w 488"/>
                  <a:gd name="T9" fmla="*/ 0 h 82"/>
                  <a:gd name="T10" fmla="*/ 0 w 488"/>
                  <a:gd name="T11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8" h="82">
                    <a:moveTo>
                      <a:pt x="0" y="82"/>
                    </a:moveTo>
                    <a:lnTo>
                      <a:pt x="469" y="82"/>
                    </a:lnTo>
                    <a:lnTo>
                      <a:pt x="481" y="51"/>
                    </a:lnTo>
                    <a:lnTo>
                      <a:pt x="488" y="0"/>
                    </a:lnTo>
                    <a:lnTo>
                      <a:pt x="0" y="0"/>
                    </a:lnTo>
                    <a:lnTo>
                      <a:pt x="0" y="8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5" name="î$ľîḋé"/>
              <p:cNvSpPr/>
              <p:nvPr/>
            </p:nvSpPr>
            <p:spPr bwMode="auto">
              <a:xfrm>
                <a:off x="6255726" y="3610910"/>
                <a:ext cx="795153" cy="74075"/>
              </a:xfrm>
              <a:custGeom>
                <a:avLst/>
                <a:gdLst>
                  <a:gd name="T0" fmla="*/ 0 w 687"/>
                  <a:gd name="T1" fmla="*/ 64 h 64"/>
                  <a:gd name="T2" fmla="*/ 687 w 687"/>
                  <a:gd name="T3" fmla="*/ 64 h 64"/>
                  <a:gd name="T4" fmla="*/ 687 w 687"/>
                  <a:gd name="T5" fmla="*/ 0 h 64"/>
                  <a:gd name="T6" fmla="*/ 14 w 687"/>
                  <a:gd name="T7" fmla="*/ 0 h 64"/>
                  <a:gd name="T8" fmla="*/ 9 w 687"/>
                  <a:gd name="T9" fmla="*/ 39 h 64"/>
                  <a:gd name="T10" fmla="*/ 0 w 687"/>
                  <a:gd name="T1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87" h="64">
                    <a:moveTo>
                      <a:pt x="0" y="64"/>
                    </a:moveTo>
                    <a:lnTo>
                      <a:pt x="687" y="64"/>
                    </a:lnTo>
                    <a:lnTo>
                      <a:pt x="687" y="0"/>
                    </a:lnTo>
                    <a:lnTo>
                      <a:pt x="14" y="0"/>
                    </a:lnTo>
                    <a:lnTo>
                      <a:pt x="9" y="39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6" name="íṧ1íḑè"/>
              <p:cNvSpPr/>
              <p:nvPr/>
            </p:nvSpPr>
            <p:spPr bwMode="auto">
              <a:xfrm>
                <a:off x="6173548" y="3828506"/>
                <a:ext cx="430563" cy="74075"/>
              </a:xfrm>
              <a:custGeom>
                <a:avLst/>
                <a:gdLst>
                  <a:gd name="T0" fmla="*/ 0 w 372"/>
                  <a:gd name="T1" fmla="*/ 64 h 64"/>
                  <a:gd name="T2" fmla="*/ 372 w 372"/>
                  <a:gd name="T3" fmla="*/ 64 h 64"/>
                  <a:gd name="T4" fmla="*/ 372 w 372"/>
                  <a:gd name="T5" fmla="*/ 0 h 64"/>
                  <a:gd name="T6" fmla="*/ 24 w 372"/>
                  <a:gd name="T7" fmla="*/ 0 h 64"/>
                  <a:gd name="T8" fmla="*/ 21 w 372"/>
                  <a:gd name="T9" fmla="*/ 9 h 64"/>
                  <a:gd name="T10" fmla="*/ 0 w 372"/>
                  <a:gd name="T1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2" h="64">
                    <a:moveTo>
                      <a:pt x="0" y="64"/>
                    </a:moveTo>
                    <a:lnTo>
                      <a:pt x="372" y="64"/>
                    </a:lnTo>
                    <a:lnTo>
                      <a:pt x="372" y="0"/>
                    </a:lnTo>
                    <a:lnTo>
                      <a:pt x="24" y="0"/>
                    </a:lnTo>
                    <a:lnTo>
                      <a:pt x="21" y="9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7" name="îṡļíḍé"/>
              <p:cNvSpPr/>
              <p:nvPr/>
            </p:nvSpPr>
            <p:spPr bwMode="auto">
              <a:xfrm>
                <a:off x="5946692" y="4046102"/>
                <a:ext cx="922470" cy="74075"/>
              </a:xfrm>
              <a:custGeom>
                <a:avLst/>
                <a:gdLst>
                  <a:gd name="T0" fmla="*/ 0 w 797"/>
                  <a:gd name="T1" fmla="*/ 64 h 64"/>
                  <a:gd name="T2" fmla="*/ 797 w 797"/>
                  <a:gd name="T3" fmla="*/ 64 h 64"/>
                  <a:gd name="T4" fmla="*/ 797 w 797"/>
                  <a:gd name="T5" fmla="*/ 0 h 64"/>
                  <a:gd name="T6" fmla="*/ 59 w 797"/>
                  <a:gd name="T7" fmla="*/ 0 h 64"/>
                  <a:gd name="T8" fmla="*/ 48 w 797"/>
                  <a:gd name="T9" fmla="*/ 8 h 64"/>
                  <a:gd name="T10" fmla="*/ 0 w 797"/>
                  <a:gd name="T1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7" h="64">
                    <a:moveTo>
                      <a:pt x="0" y="64"/>
                    </a:moveTo>
                    <a:lnTo>
                      <a:pt x="797" y="64"/>
                    </a:lnTo>
                    <a:lnTo>
                      <a:pt x="797" y="0"/>
                    </a:lnTo>
                    <a:lnTo>
                      <a:pt x="59" y="0"/>
                    </a:lnTo>
                    <a:lnTo>
                      <a:pt x="48" y="8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8" name="ïSḻïḍe"/>
              <p:cNvSpPr/>
              <p:nvPr/>
            </p:nvSpPr>
            <p:spPr bwMode="auto">
              <a:xfrm>
                <a:off x="5767292" y="3822719"/>
                <a:ext cx="402785" cy="94909"/>
              </a:xfrm>
              <a:custGeom>
                <a:avLst/>
                <a:gdLst>
                  <a:gd name="T0" fmla="*/ 0 w 348"/>
                  <a:gd name="T1" fmla="*/ 0 h 82"/>
                  <a:gd name="T2" fmla="*/ 0 w 348"/>
                  <a:gd name="T3" fmla="*/ 82 h 82"/>
                  <a:gd name="T4" fmla="*/ 348 w 348"/>
                  <a:gd name="T5" fmla="*/ 82 h 82"/>
                  <a:gd name="T6" fmla="*/ 345 w 348"/>
                  <a:gd name="T7" fmla="*/ 0 h 82"/>
                  <a:gd name="T8" fmla="*/ 0 w 348"/>
                  <a:gd name="T9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8" h="82">
                    <a:moveTo>
                      <a:pt x="0" y="0"/>
                    </a:moveTo>
                    <a:lnTo>
                      <a:pt x="0" y="82"/>
                    </a:lnTo>
                    <a:lnTo>
                      <a:pt x="348" y="82"/>
                    </a:lnTo>
                    <a:lnTo>
                      <a:pt x="34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9" name="íślíḋê"/>
              <p:cNvSpPr/>
              <p:nvPr/>
            </p:nvSpPr>
            <p:spPr bwMode="auto">
              <a:xfrm>
                <a:off x="5767292" y="3822719"/>
                <a:ext cx="402785" cy="94909"/>
              </a:xfrm>
              <a:custGeom>
                <a:avLst/>
                <a:gdLst>
                  <a:gd name="T0" fmla="*/ 0 w 348"/>
                  <a:gd name="T1" fmla="*/ 0 h 82"/>
                  <a:gd name="T2" fmla="*/ 0 w 348"/>
                  <a:gd name="T3" fmla="*/ 82 h 82"/>
                  <a:gd name="T4" fmla="*/ 348 w 348"/>
                  <a:gd name="T5" fmla="*/ 82 h 82"/>
                  <a:gd name="T6" fmla="*/ 345 w 348"/>
                  <a:gd name="T7" fmla="*/ 0 h 82"/>
                  <a:gd name="T8" fmla="*/ 0 w 348"/>
                  <a:gd name="T9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8" h="82">
                    <a:moveTo>
                      <a:pt x="0" y="0"/>
                    </a:moveTo>
                    <a:lnTo>
                      <a:pt x="0" y="82"/>
                    </a:lnTo>
                    <a:lnTo>
                      <a:pt x="348" y="82"/>
                    </a:lnTo>
                    <a:lnTo>
                      <a:pt x="345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0" name="işľïḓê"/>
              <p:cNvSpPr/>
              <p:nvPr/>
            </p:nvSpPr>
            <p:spPr bwMode="auto">
              <a:xfrm>
                <a:off x="4230229" y="3770635"/>
                <a:ext cx="531259" cy="415517"/>
              </a:xfrm>
              <a:custGeom>
                <a:avLst/>
                <a:gdLst>
                  <a:gd name="T0" fmla="*/ 76 w 459"/>
                  <a:gd name="T1" fmla="*/ 359 h 359"/>
                  <a:gd name="T2" fmla="*/ 0 w 459"/>
                  <a:gd name="T3" fmla="*/ 235 h 359"/>
                  <a:gd name="T4" fmla="*/ 383 w 459"/>
                  <a:gd name="T5" fmla="*/ 0 h 359"/>
                  <a:gd name="T6" fmla="*/ 459 w 459"/>
                  <a:gd name="T7" fmla="*/ 124 h 359"/>
                  <a:gd name="T8" fmla="*/ 76 w 459"/>
                  <a:gd name="T9" fmla="*/ 359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9" h="359">
                    <a:moveTo>
                      <a:pt x="76" y="359"/>
                    </a:moveTo>
                    <a:lnTo>
                      <a:pt x="0" y="235"/>
                    </a:lnTo>
                    <a:lnTo>
                      <a:pt x="383" y="0"/>
                    </a:lnTo>
                    <a:lnTo>
                      <a:pt x="459" y="124"/>
                    </a:lnTo>
                    <a:lnTo>
                      <a:pt x="76" y="359"/>
                    </a:lnTo>
                    <a:close/>
                  </a:path>
                </a:pathLst>
              </a:custGeom>
              <a:solidFill>
                <a:srgbClr val="4368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1" name="iṣľîḍé"/>
              <p:cNvSpPr/>
              <p:nvPr/>
            </p:nvSpPr>
            <p:spPr bwMode="auto">
              <a:xfrm>
                <a:off x="4351758" y="2362046"/>
                <a:ext cx="2156287" cy="2153971"/>
              </a:xfrm>
              <a:custGeom>
                <a:avLst/>
                <a:gdLst>
                  <a:gd name="T0" fmla="*/ 2838 w 3254"/>
                  <a:gd name="T1" fmla="*/ 875 h 3254"/>
                  <a:gd name="T2" fmla="*/ 875 w 3254"/>
                  <a:gd name="T3" fmla="*/ 416 h 3254"/>
                  <a:gd name="T4" fmla="*/ 415 w 3254"/>
                  <a:gd name="T5" fmla="*/ 2379 h 3254"/>
                  <a:gd name="T6" fmla="*/ 2379 w 3254"/>
                  <a:gd name="T7" fmla="*/ 2839 h 3254"/>
                  <a:gd name="T8" fmla="*/ 2838 w 3254"/>
                  <a:gd name="T9" fmla="*/ 875 h 3254"/>
                  <a:gd name="T10" fmla="*/ 2250 w 3254"/>
                  <a:gd name="T11" fmla="*/ 2631 h 3254"/>
                  <a:gd name="T12" fmla="*/ 623 w 3254"/>
                  <a:gd name="T13" fmla="*/ 2250 h 3254"/>
                  <a:gd name="T14" fmla="*/ 1004 w 3254"/>
                  <a:gd name="T15" fmla="*/ 623 h 3254"/>
                  <a:gd name="T16" fmla="*/ 2630 w 3254"/>
                  <a:gd name="T17" fmla="*/ 1004 h 3254"/>
                  <a:gd name="T18" fmla="*/ 2250 w 3254"/>
                  <a:gd name="T19" fmla="*/ 2631 h 3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54" h="3254">
                    <a:moveTo>
                      <a:pt x="2838" y="875"/>
                    </a:moveTo>
                    <a:cubicBezTo>
                      <a:pt x="2423" y="206"/>
                      <a:pt x="1544" y="0"/>
                      <a:pt x="875" y="416"/>
                    </a:cubicBezTo>
                    <a:cubicBezTo>
                      <a:pt x="206" y="831"/>
                      <a:pt x="0" y="1710"/>
                      <a:pt x="415" y="2379"/>
                    </a:cubicBezTo>
                    <a:cubicBezTo>
                      <a:pt x="830" y="3048"/>
                      <a:pt x="1710" y="3254"/>
                      <a:pt x="2379" y="2839"/>
                    </a:cubicBezTo>
                    <a:cubicBezTo>
                      <a:pt x="3048" y="2423"/>
                      <a:pt x="3254" y="1544"/>
                      <a:pt x="2838" y="875"/>
                    </a:cubicBezTo>
                    <a:moveTo>
                      <a:pt x="2250" y="2631"/>
                    </a:moveTo>
                    <a:cubicBezTo>
                      <a:pt x="1695" y="2975"/>
                      <a:pt x="967" y="2804"/>
                      <a:pt x="623" y="2250"/>
                    </a:cubicBezTo>
                    <a:cubicBezTo>
                      <a:pt x="279" y="1696"/>
                      <a:pt x="450" y="967"/>
                      <a:pt x="1004" y="623"/>
                    </a:cubicBezTo>
                    <a:cubicBezTo>
                      <a:pt x="1558" y="280"/>
                      <a:pt x="2286" y="450"/>
                      <a:pt x="2630" y="1004"/>
                    </a:cubicBezTo>
                    <a:cubicBezTo>
                      <a:pt x="2974" y="1559"/>
                      <a:pt x="2804" y="2287"/>
                      <a:pt x="2250" y="2631"/>
                    </a:cubicBezTo>
                  </a:path>
                </a:pathLst>
              </a:custGeom>
              <a:solidFill>
                <a:srgbClr val="4368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2" name="iṣliḑé"/>
              <p:cNvSpPr/>
              <p:nvPr/>
            </p:nvSpPr>
            <p:spPr bwMode="auto">
              <a:xfrm>
                <a:off x="4646902" y="3113216"/>
                <a:ext cx="71760" cy="652789"/>
              </a:xfrm>
              <a:custGeom>
                <a:avLst/>
                <a:gdLst>
                  <a:gd name="T0" fmla="*/ 108 w 108"/>
                  <a:gd name="T1" fmla="*/ 0 h 986"/>
                  <a:gd name="T2" fmla="*/ 1 w 108"/>
                  <a:gd name="T3" fmla="*/ 495 h 986"/>
                  <a:gd name="T4" fmla="*/ 108 w 108"/>
                  <a:gd name="T5" fmla="*/ 986 h 986"/>
                  <a:gd name="T6" fmla="*/ 108 w 108"/>
                  <a:gd name="T7" fmla="*/ 0 h 9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8" h="986">
                    <a:moveTo>
                      <a:pt x="108" y="0"/>
                    </a:moveTo>
                    <a:cubicBezTo>
                      <a:pt x="37" y="155"/>
                      <a:pt x="0" y="324"/>
                      <a:pt x="1" y="495"/>
                    </a:cubicBezTo>
                    <a:cubicBezTo>
                      <a:pt x="1" y="661"/>
                      <a:pt x="36" y="828"/>
                      <a:pt x="108" y="986"/>
                    </a:cubicBezTo>
                    <a:cubicBezTo>
                      <a:pt x="108" y="0"/>
                      <a:pt x="108" y="0"/>
                      <a:pt x="108" y="0"/>
                    </a:cubicBezTo>
                  </a:path>
                </a:pathLst>
              </a:custGeom>
              <a:solidFill>
                <a:srgbClr val="B8D5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3" name="îṡľïḓé"/>
              <p:cNvSpPr/>
              <p:nvPr/>
            </p:nvSpPr>
            <p:spPr bwMode="auto">
              <a:xfrm>
                <a:off x="4718663" y="2657190"/>
                <a:ext cx="1334514" cy="1194464"/>
              </a:xfrm>
              <a:custGeom>
                <a:avLst/>
                <a:gdLst>
                  <a:gd name="T0" fmla="*/ 1073 w 2014"/>
                  <a:gd name="T1" fmla="*/ 0 h 1804"/>
                  <a:gd name="T2" fmla="*/ 1073 w 2014"/>
                  <a:gd name="T3" fmla="*/ 0 h 1804"/>
                  <a:gd name="T4" fmla="*/ 455 w 2014"/>
                  <a:gd name="T5" fmla="*/ 175 h 1804"/>
                  <a:gd name="T6" fmla="*/ 451 w 2014"/>
                  <a:gd name="T7" fmla="*/ 177 h 1804"/>
                  <a:gd name="T8" fmla="*/ 451 w 2014"/>
                  <a:gd name="T9" fmla="*/ 177 h 1804"/>
                  <a:gd name="T10" fmla="*/ 0 w 2014"/>
                  <a:gd name="T11" fmla="*/ 688 h 1804"/>
                  <a:gd name="T12" fmla="*/ 0 w 2014"/>
                  <a:gd name="T13" fmla="*/ 1674 h 1804"/>
                  <a:gd name="T14" fmla="*/ 70 w 2014"/>
                  <a:gd name="T15" fmla="*/ 1804 h 1804"/>
                  <a:gd name="T16" fmla="*/ 70 w 2014"/>
                  <a:gd name="T17" fmla="*/ 1804 h 1804"/>
                  <a:gd name="T18" fmla="*/ 70 w 2014"/>
                  <a:gd name="T19" fmla="*/ 1804 h 1804"/>
                  <a:gd name="T20" fmla="*/ 461 w 2014"/>
                  <a:gd name="T21" fmla="*/ 1561 h 1804"/>
                  <a:gd name="T22" fmla="*/ 389 w 2014"/>
                  <a:gd name="T23" fmla="*/ 1561 h 1804"/>
                  <a:gd name="T24" fmla="*/ 389 w 2014"/>
                  <a:gd name="T25" fmla="*/ 1418 h 1804"/>
                  <a:gd name="T26" fmla="*/ 691 w 2014"/>
                  <a:gd name="T27" fmla="*/ 1418 h 1804"/>
                  <a:gd name="T28" fmla="*/ 1515 w 2014"/>
                  <a:gd name="T29" fmla="*/ 907 h 1804"/>
                  <a:gd name="T30" fmla="*/ 1166 w 2014"/>
                  <a:gd name="T31" fmla="*/ 907 h 1804"/>
                  <a:gd name="T32" fmla="*/ 1166 w 2014"/>
                  <a:gd name="T33" fmla="*/ 765 h 1804"/>
                  <a:gd name="T34" fmla="*/ 1745 w 2014"/>
                  <a:gd name="T35" fmla="*/ 765 h 1804"/>
                  <a:gd name="T36" fmla="*/ 1995 w 2014"/>
                  <a:gd name="T37" fmla="*/ 609 h 1804"/>
                  <a:gd name="T38" fmla="*/ 1819 w 2014"/>
                  <a:gd name="T39" fmla="*/ 609 h 1804"/>
                  <a:gd name="T40" fmla="*/ 1819 w 2014"/>
                  <a:gd name="T41" fmla="*/ 466 h 1804"/>
                  <a:gd name="T42" fmla="*/ 2014 w 2014"/>
                  <a:gd name="T43" fmla="*/ 466 h 1804"/>
                  <a:gd name="T44" fmla="*/ 1826 w 2014"/>
                  <a:gd name="T45" fmla="*/ 270 h 1804"/>
                  <a:gd name="T46" fmla="*/ 1236 w 2014"/>
                  <a:gd name="T47" fmla="*/ 270 h 1804"/>
                  <a:gd name="T48" fmla="*/ 1236 w 2014"/>
                  <a:gd name="T49" fmla="*/ 127 h 1804"/>
                  <a:gd name="T50" fmla="*/ 1607 w 2014"/>
                  <a:gd name="T51" fmla="*/ 127 h 1804"/>
                  <a:gd name="T52" fmla="*/ 1073 w 2014"/>
                  <a:gd name="T53" fmla="*/ 0 h 1804"/>
                  <a:gd name="T54" fmla="*/ 1073 w 2014"/>
                  <a:gd name="T55" fmla="*/ 0 h 1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014" h="1804">
                    <a:moveTo>
                      <a:pt x="1073" y="0"/>
                    </a:moveTo>
                    <a:cubicBezTo>
                      <a:pt x="1073" y="0"/>
                      <a:pt x="1073" y="0"/>
                      <a:pt x="1073" y="0"/>
                    </a:cubicBezTo>
                    <a:cubicBezTo>
                      <a:pt x="862" y="0"/>
                      <a:pt x="648" y="56"/>
                      <a:pt x="455" y="175"/>
                    </a:cubicBezTo>
                    <a:cubicBezTo>
                      <a:pt x="454" y="176"/>
                      <a:pt x="452" y="177"/>
                      <a:pt x="451" y="177"/>
                    </a:cubicBezTo>
                    <a:cubicBezTo>
                      <a:pt x="451" y="177"/>
                      <a:pt x="451" y="177"/>
                      <a:pt x="451" y="177"/>
                    </a:cubicBezTo>
                    <a:cubicBezTo>
                      <a:pt x="246" y="305"/>
                      <a:pt x="94" y="484"/>
                      <a:pt x="0" y="688"/>
                    </a:cubicBezTo>
                    <a:cubicBezTo>
                      <a:pt x="0" y="1674"/>
                      <a:pt x="0" y="1674"/>
                      <a:pt x="0" y="1674"/>
                    </a:cubicBezTo>
                    <a:cubicBezTo>
                      <a:pt x="21" y="1718"/>
                      <a:pt x="44" y="1762"/>
                      <a:pt x="70" y="1804"/>
                    </a:cubicBezTo>
                    <a:cubicBezTo>
                      <a:pt x="70" y="1804"/>
                      <a:pt x="70" y="1804"/>
                      <a:pt x="70" y="1804"/>
                    </a:cubicBezTo>
                    <a:cubicBezTo>
                      <a:pt x="70" y="1804"/>
                      <a:pt x="70" y="1804"/>
                      <a:pt x="70" y="1804"/>
                    </a:cubicBezTo>
                    <a:cubicBezTo>
                      <a:pt x="461" y="1561"/>
                      <a:pt x="461" y="1561"/>
                      <a:pt x="461" y="1561"/>
                    </a:cubicBezTo>
                    <a:cubicBezTo>
                      <a:pt x="389" y="1561"/>
                      <a:pt x="389" y="1561"/>
                      <a:pt x="389" y="1561"/>
                    </a:cubicBezTo>
                    <a:cubicBezTo>
                      <a:pt x="389" y="1418"/>
                      <a:pt x="389" y="1418"/>
                      <a:pt x="389" y="1418"/>
                    </a:cubicBezTo>
                    <a:cubicBezTo>
                      <a:pt x="691" y="1418"/>
                      <a:pt x="691" y="1418"/>
                      <a:pt x="691" y="1418"/>
                    </a:cubicBezTo>
                    <a:cubicBezTo>
                      <a:pt x="1515" y="907"/>
                      <a:pt x="1515" y="907"/>
                      <a:pt x="1515" y="907"/>
                    </a:cubicBezTo>
                    <a:cubicBezTo>
                      <a:pt x="1166" y="907"/>
                      <a:pt x="1166" y="907"/>
                      <a:pt x="1166" y="907"/>
                    </a:cubicBezTo>
                    <a:cubicBezTo>
                      <a:pt x="1166" y="765"/>
                      <a:pt x="1166" y="765"/>
                      <a:pt x="1166" y="765"/>
                    </a:cubicBezTo>
                    <a:cubicBezTo>
                      <a:pt x="1745" y="765"/>
                      <a:pt x="1745" y="765"/>
                      <a:pt x="1745" y="765"/>
                    </a:cubicBezTo>
                    <a:cubicBezTo>
                      <a:pt x="1995" y="609"/>
                      <a:pt x="1995" y="609"/>
                      <a:pt x="1995" y="609"/>
                    </a:cubicBezTo>
                    <a:cubicBezTo>
                      <a:pt x="1819" y="609"/>
                      <a:pt x="1819" y="609"/>
                      <a:pt x="1819" y="609"/>
                    </a:cubicBezTo>
                    <a:cubicBezTo>
                      <a:pt x="1819" y="466"/>
                      <a:pt x="1819" y="466"/>
                      <a:pt x="1819" y="466"/>
                    </a:cubicBezTo>
                    <a:cubicBezTo>
                      <a:pt x="2014" y="466"/>
                      <a:pt x="2014" y="466"/>
                      <a:pt x="2014" y="466"/>
                    </a:cubicBezTo>
                    <a:cubicBezTo>
                      <a:pt x="1958" y="392"/>
                      <a:pt x="1895" y="327"/>
                      <a:pt x="1826" y="270"/>
                    </a:cubicBezTo>
                    <a:cubicBezTo>
                      <a:pt x="1236" y="270"/>
                      <a:pt x="1236" y="270"/>
                      <a:pt x="1236" y="270"/>
                    </a:cubicBezTo>
                    <a:cubicBezTo>
                      <a:pt x="1236" y="127"/>
                      <a:pt x="1236" y="127"/>
                      <a:pt x="1236" y="127"/>
                    </a:cubicBezTo>
                    <a:cubicBezTo>
                      <a:pt x="1607" y="127"/>
                      <a:pt x="1607" y="127"/>
                      <a:pt x="1607" y="127"/>
                    </a:cubicBezTo>
                    <a:cubicBezTo>
                      <a:pt x="1442" y="43"/>
                      <a:pt x="1258" y="0"/>
                      <a:pt x="1073" y="0"/>
                    </a:cubicBezTo>
                    <a:cubicBezTo>
                      <a:pt x="1073" y="0"/>
                      <a:pt x="1073" y="0"/>
                      <a:pt x="1073" y="0"/>
                    </a:cubicBezTo>
                  </a:path>
                </a:pathLst>
              </a:custGeom>
              <a:solidFill>
                <a:schemeClr val="accent1">
                  <a:lumMod val="90000"/>
                  <a:lumOff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4" name="iṣḷíḋe"/>
              <p:cNvSpPr/>
              <p:nvPr/>
            </p:nvSpPr>
            <p:spPr bwMode="auto">
              <a:xfrm>
                <a:off x="4975612" y="3595863"/>
                <a:ext cx="200235" cy="94909"/>
              </a:xfrm>
              <a:custGeom>
                <a:avLst/>
                <a:gdLst>
                  <a:gd name="T0" fmla="*/ 173 w 173"/>
                  <a:gd name="T1" fmla="*/ 0 h 82"/>
                  <a:gd name="T2" fmla="*/ 0 w 173"/>
                  <a:gd name="T3" fmla="*/ 0 h 82"/>
                  <a:gd name="T4" fmla="*/ 0 w 173"/>
                  <a:gd name="T5" fmla="*/ 82 h 82"/>
                  <a:gd name="T6" fmla="*/ 42 w 173"/>
                  <a:gd name="T7" fmla="*/ 82 h 82"/>
                  <a:gd name="T8" fmla="*/ 173 w 173"/>
                  <a:gd name="T9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82">
                    <a:moveTo>
                      <a:pt x="173" y="0"/>
                    </a:moveTo>
                    <a:lnTo>
                      <a:pt x="0" y="0"/>
                    </a:lnTo>
                    <a:lnTo>
                      <a:pt x="0" y="82"/>
                    </a:lnTo>
                    <a:lnTo>
                      <a:pt x="42" y="82"/>
                    </a:lnTo>
                    <a:lnTo>
                      <a:pt x="173" y="0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5" name="íšļíḋé"/>
              <p:cNvSpPr/>
              <p:nvPr/>
            </p:nvSpPr>
            <p:spPr bwMode="auto">
              <a:xfrm>
                <a:off x="4975612" y="3595863"/>
                <a:ext cx="200235" cy="94909"/>
              </a:xfrm>
              <a:custGeom>
                <a:avLst/>
                <a:gdLst>
                  <a:gd name="T0" fmla="*/ 173 w 173"/>
                  <a:gd name="T1" fmla="*/ 0 h 82"/>
                  <a:gd name="T2" fmla="*/ 0 w 173"/>
                  <a:gd name="T3" fmla="*/ 0 h 82"/>
                  <a:gd name="T4" fmla="*/ 0 w 173"/>
                  <a:gd name="T5" fmla="*/ 82 h 82"/>
                  <a:gd name="T6" fmla="*/ 42 w 173"/>
                  <a:gd name="T7" fmla="*/ 82 h 82"/>
                  <a:gd name="T8" fmla="*/ 173 w 173"/>
                  <a:gd name="T9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82">
                    <a:moveTo>
                      <a:pt x="173" y="0"/>
                    </a:moveTo>
                    <a:lnTo>
                      <a:pt x="0" y="0"/>
                    </a:lnTo>
                    <a:lnTo>
                      <a:pt x="0" y="82"/>
                    </a:lnTo>
                    <a:lnTo>
                      <a:pt x="42" y="82"/>
                    </a:lnTo>
                    <a:lnTo>
                      <a:pt x="17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6" name="ïṥḷïḋé"/>
              <p:cNvSpPr/>
              <p:nvPr/>
            </p:nvSpPr>
            <p:spPr bwMode="auto">
              <a:xfrm>
                <a:off x="5536963" y="2741682"/>
                <a:ext cx="391210" cy="94909"/>
              </a:xfrm>
              <a:custGeom>
                <a:avLst/>
                <a:gdLst>
                  <a:gd name="T0" fmla="*/ 371 w 590"/>
                  <a:gd name="T1" fmla="*/ 0 h 143"/>
                  <a:gd name="T2" fmla="*/ 0 w 590"/>
                  <a:gd name="T3" fmla="*/ 0 h 143"/>
                  <a:gd name="T4" fmla="*/ 0 w 590"/>
                  <a:gd name="T5" fmla="*/ 143 h 143"/>
                  <a:gd name="T6" fmla="*/ 590 w 590"/>
                  <a:gd name="T7" fmla="*/ 143 h 143"/>
                  <a:gd name="T8" fmla="*/ 371 w 590"/>
                  <a:gd name="T9" fmla="*/ 0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0" h="143">
                    <a:moveTo>
                      <a:pt x="37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590" y="143"/>
                      <a:pt x="590" y="143"/>
                      <a:pt x="590" y="143"/>
                    </a:cubicBezTo>
                    <a:cubicBezTo>
                      <a:pt x="522" y="87"/>
                      <a:pt x="448" y="39"/>
                      <a:pt x="371" y="0"/>
                    </a:cubicBez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7" name="í$ḷíḓê"/>
              <p:cNvSpPr/>
              <p:nvPr/>
            </p:nvSpPr>
            <p:spPr bwMode="auto">
              <a:xfrm>
                <a:off x="5923544" y="2966223"/>
                <a:ext cx="171299" cy="94909"/>
              </a:xfrm>
              <a:custGeom>
                <a:avLst/>
                <a:gdLst>
                  <a:gd name="T0" fmla="*/ 195 w 258"/>
                  <a:gd name="T1" fmla="*/ 0 h 143"/>
                  <a:gd name="T2" fmla="*/ 0 w 258"/>
                  <a:gd name="T3" fmla="*/ 0 h 143"/>
                  <a:gd name="T4" fmla="*/ 0 w 258"/>
                  <a:gd name="T5" fmla="*/ 143 h 143"/>
                  <a:gd name="T6" fmla="*/ 176 w 258"/>
                  <a:gd name="T7" fmla="*/ 143 h 143"/>
                  <a:gd name="T8" fmla="*/ 258 w 258"/>
                  <a:gd name="T9" fmla="*/ 92 h 143"/>
                  <a:gd name="T10" fmla="*/ 195 w 258"/>
                  <a:gd name="T11" fmla="*/ 0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8" h="143">
                    <a:moveTo>
                      <a:pt x="19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176" y="143"/>
                      <a:pt x="176" y="143"/>
                      <a:pt x="176" y="143"/>
                    </a:cubicBezTo>
                    <a:cubicBezTo>
                      <a:pt x="258" y="92"/>
                      <a:pt x="258" y="92"/>
                      <a:pt x="258" y="92"/>
                    </a:cubicBezTo>
                    <a:cubicBezTo>
                      <a:pt x="239" y="60"/>
                      <a:pt x="218" y="30"/>
                      <a:pt x="195" y="0"/>
                    </a:cubicBezTo>
                  </a:path>
                </a:pathLst>
              </a:custGeom>
              <a:solidFill>
                <a:schemeClr val="accent1">
                  <a:lumMod val="10000"/>
                  <a:lumOff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8" name="ïsḷîďê"/>
              <p:cNvSpPr/>
              <p:nvPr/>
            </p:nvSpPr>
            <p:spPr bwMode="auto">
              <a:xfrm>
                <a:off x="5490666" y="3164143"/>
                <a:ext cx="384266" cy="93752"/>
              </a:xfrm>
              <a:custGeom>
                <a:avLst/>
                <a:gdLst>
                  <a:gd name="T0" fmla="*/ 332 w 332"/>
                  <a:gd name="T1" fmla="*/ 0 h 81"/>
                  <a:gd name="T2" fmla="*/ 0 w 332"/>
                  <a:gd name="T3" fmla="*/ 0 h 81"/>
                  <a:gd name="T4" fmla="*/ 0 w 332"/>
                  <a:gd name="T5" fmla="*/ 81 h 81"/>
                  <a:gd name="T6" fmla="*/ 200 w 332"/>
                  <a:gd name="T7" fmla="*/ 81 h 81"/>
                  <a:gd name="T8" fmla="*/ 332 w 332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2" h="81">
                    <a:moveTo>
                      <a:pt x="332" y="0"/>
                    </a:moveTo>
                    <a:lnTo>
                      <a:pt x="0" y="0"/>
                    </a:lnTo>
                    <a:lnTo>
                      <a:pt x="0" y="81"/>
                    </a:lnTo>
                    <a:lnTo>
                      <a:pt x="200" y="81"/>
                    </a:lnTo>
                    <a:lnTo>
                      <a:pt x="332" y="0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9" name="íṡlïḓe"/>
              <p:cNvSpPr/>
              <p:nvPr/>
            </p:nvSpPr>
            <p:spPr bwMode="auto">
              <a:xfrm>
                <a:off x="5490666" y="3164143"/>
                <a:ext cx="384266" cy="93752"/>
              </a:xfrm>
              <a:custGeom>
                <a:avLst/>
                <a:gdLst>
                  <a:gd name="T0" fmla="*/ 332 w 332"/>
                  <a:gd name="T1" fmla="*/ 0 h 81"/>
                  <a:gd name="T2" fmla="*/ 0 w 332"/>
                  <a:gd name="T3" fmla="*/ 0 h 81"/>
                  <a:gd name="T4" fmla="*/ 0 w 332"/>
                  <a:gd name="T5" fmla="*/ 81 h 81"/>
                  <a:gd name="T6" fmla="*/ 200 w 332"/>
                  <a:gd name="T7" fmla="*/ 81 h 81"/>
                  <a:gd name="T8" fmla="*/ 332 w 332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2" h="81">
                    <a:moveTo>
                      <a:pt x="332" y="0"/>
                    </a:moveTo>
                    <a:lnTo>
                      <a:pt x="0" y="0"/>
                    </a:lnTo>
                    <a:lnTo>
                      <a:pt x="0" y="81"/>
                    </a:lnTo>
                    <a:lnTo>
                      <a:pt x="200" y="81"/>
                    </a:lnTo>
                    <a:lnTo>
                      <a:pt x="332" y="0"/>
                    </a:lnTo>
                  </a:path>
                </a:pathLst>
              </a:custGeom>
              <a:solidFill>
                <a:schemeClr val="accent1">
                  <a:lumMod val="10000"/>
                  <a:lumOff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0" name="išlíḋè"/>
              <p:cNvSpPr/>
              <p:nvPr/>
            </p:nvSpPr>
            <p:spPr bwMode="auto">
              <a:xfrm>
                <a:off x="4646902" y="2657190"/>
                <a:ext cx="782421" cy="783578"/>
              </a:xfrm>
              <a:custGeom>
                <a:avLst/>
                <a:gdLst>
                  <a:gd name="T0" fmla="*/ 559 w 1181"/>
                  <a:gd name="T1" fmla="*/ 177 h 1183"/>
                  <a:gd name="T2" fmla="*/ 559 w 1181"/>
                  <a:gd name="T3" fmla="*/ 177 h 1183"/>
                  <a:gd name="T4" fmla="*/ 1 w 1181"/>
                  <a:gd name="T5" fmla="*/ 1183 h 1183"/>
                  <a:gd name="T6" fmla="*/ 108 w 1181"/>
                  <a:gd name="T7" fmla="*/ 688 h 1183"/>
                  <a:gd name="T8" fmla="*/ 559 w 1181"/>
                  <a:gd name="T9" fmla="*/ 177 h 1183"/>
                  <a:gd name="T10" fmla="*/ 559 w 1181"/>
                  <a:gd name="T11" fmla="*/ 177 h 1183"/>
                  <a:gd name="T12" fmla="*/ 1181 w 1181"/>
                  <a:gd name="T13" fmla="*/ 0 h 1183"/>
                  <a:gd name="T14" fmla="*/ 563 w 1181"/>
                  <a:gd name="T15" fmla="*/ 175 h 1183"/>
                  <a:gd name="T16" fmla="*/ 1181 w 1181"/>
                  <a:gd name="T17" fmla="*/ 0 h 1183"/>
                  <a:gd name="T18" fmla="*/ 1181 w 1181"/>
                  <a:gd name="T19" fmla="*/ 0 h 1183"/>
                  <a:gd name="T20" fmla="*/ 1181 w 1181"/>
                  <a:gd name="T21" fmla="*/ 0 h 1183"/>
                  <a:gd name="T22" fmla="*/ 1181 w 1181"/>
                  <a:gd name="T23" fmla="*/ 0 h 1183"/>
                  <a:gd name="T24" fmla="*/ 1181 w 1181"/>
                  <a:gd name="T25" fmla="*/ 0 h 1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81" h="1183">
                    <a:moveTo>
                      <a:pt x="559" y="177"/>
                    </a:moveTo>
                    <a:cubicBezTo>
                      <a:pt x="559" y="177"/>
                      <a:pt x="559" y="177"/>
                      <a:pt x="559" y="177"/>
                    </a:cubicBezTo>
                    <a:cubicBezTo>
                      <a:pt x="199" y="401"/>
                      <a:pt x="0" y="787"/>
                      <a:pt x="1" y="1183"/>
                    </a:cubicBezTo>
                    <a:cubicBezTo>
                      <a:pt x="0" y="1012"/>
                      <a:pt x="37" y="843"/>
                      <a:pt x="108" y="688"/>
                    </a:cubicBezTo>
                    <a:cubicBezTo>
                      <a:pt x="202" y="484"/>
                      <a:pt x="354" y="305"/>
                      <a:pt x="559" y="177"/>
                    </a:cubicBezTo>
                    <a:cubicBezTo>
                      <a:pt x="559" y="177"/>
                      <a:pt x="559" y="177"/>
                      <a:pt x="559" y="177"/>
                    </a:cubicBezTo>
                    <a:moveTo>
                      <a:pt x="1181" y="0"/>
                    </a:moveTo>
                    <a:cubicBezTo>
                      <a:pt x="970" y="0"/>
                      <a:pt x="756" y="56"/>
                      <a:pt x="563" y="175"/>
                    </a:cubicBezTo>
                    <a:cubicBezTo>
                      <a:pt x="756" y="56"/>
                      <a:pt x="970" y="0"/>
                      <a:pt x="1181" y="0"/>
                    </a:cubicBezTo>
                    <a:moveTo>
                      <a:pt x="1181" y="0"/>
                    </a:moveTo>
                    <a:cubicBezTo>
                      <a:pt x="1181" y="0"/>
                      <a:pt x="1181" y="0"/>
                      <a:pt x="1181" y="0"/>
                    </a:cubicBezTo>
                    <a:cubicBezTo>
                      <a:pt x="1181" y="0"/>
                      <a:pt x="1181" y="0"/>
                      <a:pt x="1181" y="0"/>
                    </a:cubicBezTo>
                    <a:cubicBezTo>
                      <a:pt x="1181" y="0"/>
                      <a:pt x="1181" y="0"/>
                      <a:pt x="1181" y="0"/>
                    </a:cubicBezTo>
                  </a:path>
                </a:pathLst>
              </a:custGeom>
              <a:solidFill>
                <a:srgbClr val="355F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1" name="iṧľîḍe"/>
              <p:cNvSpPr/>
              <p:nvPr/>
            </p:nvSpPr>
            <p:spPr bwMode="auto">
              <a:xfrm>
                <a:off x="4764960" y="3061132"/>
                <a:ext cx="1446784" cy="1159742"/>
              </a:xfrm>
              <a:custGeom>
                <a:avLst/>
                <a:gdLst>
                  <a:gd name="T0" fmla="*/ 2153 w 2183"/>
                  <a:gd name="T1" fmla="*/ 298 h 1753"/>
                  <a:gd name="T2" fmla="*/ 1445 w 2183"/>
                  <a:gd name="T3" fmla="*/ 298 h 1753"/>
                  <a:gd name="T4" fmla="*/ 621 w 2183"/>
                  <a:gd name="T5" fmla="*/ 809 h 1753"/>
                  <a:gd name="T6" fmla="*/ 1188 w 2183"/>
                  <a:gd name="T7" fmla="*/ 809 h 1753"/>
                  <a:gd name="T8" fmla="*/ 1188 w 2183"/>
                  <a:gd name="T9" fmla="*/ 952 h 1753"/>
                  <a:gd name="T10" fmla="*/ 391 w 2183"/>
                  <a:gd name="T11" fmla="*/ 952 h 1753"/>
                  <a:gd name="T12" fmla="*/ 0 w 2183"/>
                  <a:gd name="T13" fmla="*/ 1195 h 1753"/>
                  <a:gd name="T14" fmla="*/ 0 w 2183"/>
                  <a:gd name="T15" fmla="*/ 1195 h 1753"/>
                  <a:gd name="T16" fmla="*/ 2 w 2183"/>
                  <a:gd name="T17" fmla="*/ 1198 h 1753"/>
                  <a:gd name="T18" fmla="*/ 5 w 2183"/>
                  <a:gd name="T19" fmla="*/ 1203 h 1753"/>
                  <a:gd name="T20" fmla="*/ 6 w 2183"/>
                  <a:gd name="T21" fmla="*/ 1203 h 1753"/>
                  <a:gd name="T22" fmla="*/ 1005 w 2183"/>
                  <a:gd name="T23" fmla="*/ 1753 h 1753"/>
                  <a:gd name="T24" fmla="*/ 1005 w 2183"/>
                  <a:gd name="T25" fmla="*/ 1753 h 1753"/>
                  <a:gd name="T26" fmla="*/ 1005 w 2183"/>
                  <a:gd name="T27" fmla="*/ 1753 h 1753"/>
                  <a:gd name="T28" fmla="*/ 1627 w 2183"/>
                  <a:gd name="T29" fmla="*/ 1576 h 1753"/>
                  <a:gd name="T30" fmla="*/ 1627 w 2183"/>
                  <a:gd name="T31" fmla="*/ 1576 h 1753"/>
                  <a:gd name="T32" fmla="*/ 1939 w 2183"/>
                  <a:gd name="T33" fmla="*/ 1295 h 1753"/>
                  <a:gd name="T34" fmla="*/ 1512 w 2183"/>
                  <a:gd name="T35" fmla="*/ 1295 h 1753"/>
                  <a:gd name="T36" fmla="*/ 1512 w 2183"/>
                  <a:gd name="T37" fmla="*/ 1152 h 1753"/>
                  <a:gd name="T38" fmla="*/ 2033 w 2183"/>
                  <a:gd name="T39" fmla="*/ 1152 h 1753"/>
                  <a:gd name="T40" fmla="*/ 2122 w 2183"/>
                  <a:gd name="T41" fmla="*/ 952 h 1753"/>
                  <a:gd name="T42" fmla="*/ 1393 w 2183"/>
                  <a:gd name="T43" fmla="*/ 952 h 1753"/>
                  <a:gd name="T44" fmla="*/ 1393 w 2183"/>
                  <a:gd name="T45" fmla="*/ 809 h 1753"/>
                  <a:gd name="T46" fmla="*/ 2161 w 2183"/>
                  <a:gd name="T47" fmla="*/ 809 h 1753"/>
                  <a:gd name="T48" fmla="*/ 2183 w 2183"/>
                  <a:gd name="T49" fmla="*/ 638 h 1753"/>
                  <a:gd name="T50" fmla="*/ 1690 w 2183"/>
                  <a:gd name="T51" fmla="*/ 638 h 1753"/>
                  <a:gd name="T52" fmla="*/ 1690 w 2183"/>
                  <a:gd name="T53" fmla="*/ 495 h 1753"/>
                  <a:gd name="T54" fmla="*/ 2183 w 2183"/>
                  <a:gd name="T55" fmla="*/ 495 h 1753"/>
                  <a:gd name="T56" fmla="*/ 2153 w 2183"/>
                  <a:gd name="T57" fmla="*/ 298 h 1753"/>
                  <a:gd name="T58" fmla="*/ 2037 w 2183"/>
                  <a:gd name="T59" fmla="*/ 0 h 1753"/>
                  <a:gd name="T60" fmla="*/ 1925 w 2183"/>
                  <a:gd name="T61" fmla="*/ 0 h 1753"/>
                  <a:gd name="T62" fmla="*/ 1675 w 2183"/>
                  <a:gd name="T63" fmla="*/ 156 h 1753"/>
                  <a:gd name="T64" fmla="*/ 2109 w 2183"/>
                  <a:gd name="T65" fmla="*/ 156 h 1753"/>
                  <a:gd name="T66" fmla="*/ 2037 w 2183"/>
                  <a:gd name="T67" fmla="*/ 0 h 17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183" h="1753">
                    <a:moveTo>
                      <a:pt x="2153" y="298"/>
                    </a:moveTo>
                    <a:cubicBezTo>
                      <a:pt x="1445" y="298"/>
                      <a:pt x="1445" y="298"/>
                      <a:pt x="1445" y="298"/>
                    </a:cubicBezTo>
                    <a:cubicBezTo>
                      <a:pt x="621" y="809"/>
                      <a:pt x="621" y="809"/>
                      <a:pt x="621" y="809"/>
                    </a:cubicBezTo>
                    <a:cubicBezTo>
                      <a:pt x="1188" y="809"/>
                      <a:pt x="1188" y="809"/>
                      <a:pt x="1188" y="809"/>
                    </a:cubicBezTo>
                    <a:cubicBezTo>
                      <a:pt x="1188" y="952"/>
                      <a:pt x="1188" y="952"/>
                      <a:pt x="1188" y="952"/>
                    </a:cubicBezTo>
                    <a:cubicBezTo>
                      <a:pt x="391" y="952"/>
                      <a:pt x="391" y="952"/>
                      <a:pt x="391" y="952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1" y="1196"/>
                      <a:pt x="2" y="1197"/>
                      <a:pt x="2" y="1198"/>
                    </a:cubicBezTo>
                    <a:cubicBezTo>
                      <a:pt x="3" y="1200"/>
                      <a:pt x="4" y="1201"/>
                      <a:pt x="5" y="1203"/>
                    </a:cubicBezTo>
                    <a:cubicBezTo>
                      <a:pt x="5" y="1203"/>
                      <a:pt x="5" y="1203"/>
                      <a:pt x="6" y="1203"/>
                    </a:cubicBezTo>
                    <a:cubicBezTo>
                      <a:pt x="230" y="1558"/>
                      <a:pt x="613" y="1753"/>
                      <a:pt x="1005" y="1753"/>
                    </a:cubicBezTo>
                    <a:cubicBezTo>
                      <a:pt x="1005" y="1753"/>
                      <a:pt x="1005" y="1753"/>
                      <a:pt x="1005" y="1753"/>
                    </a:cubicBezTo>
                    <a:cubicBezTo>
                      <a:pt x="1005" y="1753"/>
                      <a:pt x="1005" y="1753"/>
                      <a:pt x="1005" y="1753"/>
                    </a:cubicBezTo>
                    <a:cubicBezTo>
                      <a:pt x="1218" y="1753"/>
                      <a:pt x="1433" y="1696"/>
                      <a:pt x="1627" y="1576"/>
                    </a:cubicBezTo>
                    <a:cubicBezTo>
                      <a:pt x="1627" y="1576"/>
                      <a:pt x="1627" y="1576"/>
                      <a:pt x="1627" y="1576"/>
                    </a:cubicBezTo>
                    <a:cubicBezTo>
                      <a:pt x="1750" y="1499"/>
                      <a:pt x="1855" y="1403"/>
                      <a:pt x="1939" y="1295"/>
                    </a:cubicBezTo>
                    <a:cubicBezTo>
                      <a:pt x="1512" y="1295"/>
                      <a:pt x="1512" y="1295"/>
                      <a:pt x="1512" y="1295"/>
                    </a:cubicBezTo>
                    <a:cubicBezTo>
                      <a:pt x="1512" y="1152"/>
                      <a:pt x="1512" y="1152"/>
                      <a:pt x="1512" y="1152"/>
                    </a:cubicBezTo>
                    <a:cubicBezTo>
                      <a:pt x="2033" y="1152"/>
                      <a:pt x="2033" y="1152"/>
                      <a:pt x="2033" y="1152"/>
                    </a:cubicBezTo>
                    <a:cubicBezTo>
                      <a:pt x="2069" y="1088"/>
                      <a:pt x="2099" y="1021"/>
                      <a:pt x="2122" y="952"/>
                    </a:cubicBezTo>
                    <a:cubicBezTo>
                      <a:pt x="1393" y="952"/>
                      <a:pt x="1393" y="952"/>
                      <a:pt x="1393" y="952"/>
                    </a:cubicBezTo>
                    <a:cubicBezTo>
                      <a:pt x="1393" y="809"/>
                      <a:pt x="1393" y="809"/>
                      <a:pt x="1393" y="809"/>
                    </a:cubicBezTo>
                    <a:cubicBezTo>
                      <a:pt x="2161" y="809"/>
                      <a:pt x="2161" y="809"/>
                      <a:pt x="2161" y="809"/>
                    </a:cubicBezTo>
                    <a:cubicBezTo>
                      <a:pt x="2173" y="753"/>
                      <a:pt x="2180" y="696"/>
                      <a:pt x="2183" y="638"/>
                    </a:cubicBezTo>
                    <a:cubicBezTo>
                      <a:pt x="1690" y="638"/>
                      <a:pt x="1690" y="638"/>
                      <a:pt x="1690" y="638"/>
                    </a:cubicBezTo>
                    <a:cubicBezTo>
                      <a:pt x="1690" y="495"/>
                      <a:pt x="1690" y="495"/>
                      <a:pt x="1690" y="495"/>
                    </a:cubicBezTo>
                    <a:cubicBezTo>
                      <a:pt x="2183" y="495"/>
                      <a:pt x="2183" y="495"/>
                      <a:pt x="2183" y="495"/>
                    </a:cubicBezTo>
                    <a:cubicBezTo>
                      <a:pt x="2178" y="429"/>
                      <a:pt x="2169" y="363"/>
                      <a:pt x="2153" y="298"/>
                    </a:cubicBezTo>
                    <a:moveTo>
                      <a:pt x="2037" y="0"/>
                    </a:moveTo>
                    <a:cubicBezTo>
                      <a:pt x="1925" y="0"/>
                      <a:pt x="1925" y="0"/>
                      <a:pt x="1925" y="0"/>
                    </a:cubicBezTo>
                    <a:cubicBezTo>
                      <a:pt x="1675" y="156"/>
                      <a:pt x="1675" y="156"/>
                      <a:pt x="1675" y="156"/>
                    </a:cubicBezTo>
                    <a:cubicBezTo>
                      <a:pt x="2109" y="156"/>
                      <a:pt x="2109" y="156"/>
                      <a:pt x="2109" y="156"/>
                    </a:cubicBezTo>
                    <a:cubicBezTo>
                      <a:pt x="2089" y="103"/>
                      <a:pt x="2065" y="51"/>
                      <a:pt x="2037" y="0"/>
                    </a:cubicBezTo>
                  </a:path>
                </a:pathLst>
              </a:custGeom>
              <a:solidFill>
                <a:schemeClr val="accent1">
                  <a:lumMod val="90000"/>
                  <a:lumOff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2" name="ïṧ1îḑé"/>
              <p:cNvSpPr/>
              <p:nvPr/>
            </p:nvSpPr>
            <p:spPr bwMode="auto">
              <a:xfrm>
                <a:off x="5024224" y="3595863"/>
                <a:ext cx="527787" cy="94909"/>
              </a:xfrm>
              <a:custGeom>
                <a:avLst/>
                <a:gdLst>
                  <a:gd name="T0" fmla="*/ 456 w 456"/>
                  <a:gd name="T1" fmla="*/ 0 h 82"/>
                  <a:gd name="T2" fmla="*/ 131 w 456"/>
                  <a:gd name="T3" fmla="*/ 0 h 82"/>
                  <a:gd name="T4" fmla="*/ 0 w 456"/>
                  <a:gd name="T5" fmla="*/ 82 h 82"/>
                  <a:gd name="T6" fmla="*/ 456 w 456"/>
                  <a:gd name="T7" fmla="*/ 82 h 82"/>
                  <a:gd name="T8" fmla="*/ 456 w 456"/>
                  <a:gd name="T9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6" h="82">
                    <a:moveTo>
                      <a:pt x="456" y="0"/>
                    </a:moveTo>
                    <a:lnTo>
                      <a:pt x="131" y="0"/>
                    </a:lnTo>
                    <a:lnTo>
                      <a:pt x="0" y="82"/>
                    </a:lnTo>
                    <a:lnTo>
                      <a:pt x="456" y="82"/>
                    </a:lnTo>
                    <a:lnTo>
                      <a:pt x="456" y="0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3" name="ïşḷïḍe"/>
              <p:cNvSpPr/>
              <p:nvPr/>
            </p:nvSpPr>
            <p:spPr bwMode="auto">
              <a:xfrm>
                <a:off x="5024224" y="3595863"/>
                <a:ext cx="527787" cy="94909"/>
              </a:xfrm>
              <a:custGeom>
                <a:avLst/>
                <a:gdLst>
                  <a:gd name="T0" fmla="*/ 456 w 456"/>
                  <a:gd name="T1" fmla="*/ 0 h 82"/>
                  <a:gd name="T2" fmla="*/ 131 w 456"/>
                  <a:gd name="T3" fmla="*/ 0 h 82"/>
                  <a:gd name="T4" fmla="*/ 0 w 456"/>
                  <a:gd name="T5" fmla="*/ 82 h 82"/>
                  <a:gd name="T6" fmla="*/ 456 w 456"/>
                  <a:gd name="T7" fmla="*/ 82 h 82"/>
                  <a:gd name="T8" fmla="*/ 456 w 456"/>
                  <a:gd name="T9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6" h="82">
                    <a:moveTo>
                      <a:pt x="456" y="0"/>
                    </a:moveTo>
                    <a:lnTo>
                      <a:pt x="131" y="0"/>
                    </a:lnTo>
                    <a:lnTo>
                      <a:pt x="0" y="82"/>
                    </a:lnTo>
                    <a:lnTo>
                      <a:pt x="456" y="82"/>
                    </a:lnTo>
                    <a:lnTo>
                      <a:pt x="456" y="0"/>
                    </a:lnTo>
                  </a:path>
                </a:pathLst>
              </a:custGeom>
              <a:solidFill>
                <a:schemeClr val="accent1">
                  <a:lumMod val="10000"/>
                  <a:lumOff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4" name="íṧ1ïďê"/>
              <p:cNvSpPr/>
              <p:nvPr/>
            </p:nvSpPr>
            <p:spPr bwMode="auto">
              <a:xfrm>
                <a:off x="6040444" y="3026409"/>
                <a:ext cx="74075" cy="34723"/>
              </a:xfrm>
              <a:custGeom>
                <a:avLst/>
                <a:gdLst>
                  <a:gd name="T0" fmla="*/ 82 w 112"/>
                  <a:gd name="T1" fmla="*/ 0 h 51"/>
                  <a:gd name="T2" fmla="*/ 0 w 112"/>
                  <a:gd name="T3" fmla="*/ 51 h 51"/>
                  <a:gd name="T4" fmla="*/ 112 w 112"/>
                  <a:gd name="T5" fmla="*/ 51 h 51"/>
                  <a:gd name="T6" fmla="*/ 82 w 112"/>
                  <a:gd name="T7" fmla="*/ 0 h 51"/>
                  <a:gd name="T8" fmla="*/ 82 w 112"/>
                  <a:gd name="T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51">
                    <a:moveTo>
                      <a:pt x="82" y="0"/>
                    </a:moveTo>
                    <a:cubicBezTo>
                      <a:pt x="0" y="51"/>
                      <a:pt x="0" y="51"/>
                      <a:pt x="0" y="51"/>
                    </a:cubicBezTo>
                    <a:cubicBezTo>
                      <a:pt x="112" y="51"/>
                      <a:pt x="112" y="51"/>
                      <a:pt x="112" y="51"/>
                    </a:cubicBezTo>
                    <a:cubicBezTo>
                      <a:pt x="103" y="34"/>
                      <a:pt x="93" y="17"/>
                      <a:pt x="82" y="0"/>
                    </a:cubicBezTo>
                    <a:cubicBezTo>
                      <a:pt x="82" y="0"/>
                      <a:pt x="82" y="0"/>
                      <a:pt x="82" y="0"/>
                    </a:cubicBezTo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95" name="íşḷîḓè"/>
              <p:cNvSpPr/>
              <p:nvPr/>
            </p:nvSpPr>
            <p:spPr bwMode="auto">
              <a:xfrm>
                <a:off x="5722152" y="3164143"/>
                <a:ext cx="469915" cy="93752"/>
              </a:xfrm>
              <a:custGeom>
                <a:avLst/>
                <a:gdLst>
                  <a:gd name="T0" fmla="*/ 664 w 708"/>
                  <a:gd name="T1" fmla="*/ 0 h 142"/>
                  <a:gd name="T2" fmla="*/ 230 w 708"/>
                  <a:gd name="T3" fmla="*/ 0 h 142"/>
                  <a:gd name="T4" fmla="*/ 0 w 708"/>
                  <a:gd name="T5" fmla="*/ 142 h 142"/>
                  <a:gd name="T6" fmla="*/ 708 w 708"/>
                  <a:gd name="T7" fmla="*/ 142 h 142"/>
                  <a:gd name="T8" fmla="*/ 664 w 708"/>
                  <a:gd name="T9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8" h="142">
                    <a:moveTo>
                      <a:pt x="664" y="0"/>
                    </a:moveTo>
                    <a:cubicBezTo>
                      <a:pt x="230" y="0"/>
                      <a:pt x="230" y="0"/>
                      <a:pt x="230" y="0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708" y="142"/>
                      <a:pt x="708" y="142"/>
                      <a:pt x="708" y="142"/>
                    </a:cubicBezTo>
                    <a:cubicBezTo>
                      <a:pt x="697" y="94"/>
                      <a:pt x="682" y="47"/>
                      <a:pt x="664" y="0"/>
                    </a:cubicBezTo>
                  </a:path>
                </a:pathLst>
              </a:custGeom>
              <a:solidFill>
                <a:schemeClr val="accent1">
                  <a:lumMod val="10000"/>
                  <a:lumOff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6" name="íṧ1íḋe"/>
              <p:cNvSpPr/>
              <p:nvPr/>
            </p:nvSpPr>
            <p:spPr bwMode="auto">
              <a:xfrm>
                <a:off x="5884191" y="3388684"/>
                <a:ext cx="328709" cy="93752"/>
              </a:xfrm>
              <a:custGeom>
                <a:avLst/>
                <a:gdLst>
                  <a:gd name="T0" fmla="*/ 493 w 495"/>
                  <a:gd name="T1" fmla="*/ 0 h 143"/>
                  <a:gd name="T2" fmla="*/ 0 w 495"/>
                  <a:gd name="T3" fmla="*/ 0 h 143"/>
                  <a:gd name="T4" fmla="*/ 0 w 495"/>
                  <a:gd name="T5" fmla="*/ 143 h 143"/>
                  <a:gd name="T6" fmla="*/ 493 w 495"/>
                  <a:gd name="T7" fmla="*/ 143 h 143"/>
                  <a:gd name="T8" fmla="*/ 495 w 495"/>
                  <a:gd name="T9" fmla="*/ 76 h 143"/>
                  <a:gd name="T10" fmla="*/ 493 w 495"/>
                  <a:gd name="T11" fmla="*/ 0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5" h="143">
                    <a:moveTo>
                      <a:pt x="49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493" y="143"/>
                      <a:pt x="493" y="143"/>
                      <a:pt x="493" y="143"/>
                    </a:cubicBezTo>
                    <a:cubicBezTo>
                      <a:pt x="495" y="120"/>
                      <a:pt x="495" y="98"/>
                      <a:pt x="495" y="76"/>
                    </a:cubicBezTo>
                    <a:cubicBezTo>
                      <a:pt x="495" y="50"/>
                      <a:pt x="494" y="25"/>
                      <a:pt x="493" y="0"/>
                    </a:cubicBezTo>
                  </a:path>
                </a:pathLst>
              </a:custGeom>
              <a:solidFill>
                <a:schemeClr val="accent1">
                  <a:lumMod val="10000"/>
                  <a:lumOff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7" name="í$ḷîďe"/>
              <p:cNvSpPr/>
              <p:nvPr/>
            </p:nvSpPr>
            <p:spPr bwMode="auto">
              <a:xfrm>
                <a:off x="5687429" y="3595863"/>
                <a:ext cx="509268" cy="94909"/>
              </a:xfrm>
              <a:custGeom>
                <a:avLst/>
                <a:gdLst>
                  <a:gd name="T0" fmla="*/ 768 w 768"/>
                  <a:gd name="T1" fmla="*/ 0 h 143"/>
                  <a:gd name="T2" fmla="*/ 0 w 768"/>
                  <a:gd name="T3" fmla="*/ 0 h 143"/>
                  <a:gd name="T4" fmla="*/ 0 w 768"/>
                  <a:gd name="T5" fmla="*/ 143 h 143"/>
                  <a:gd name="T6" fmla="*/ 729 w 768"/>
                  <a:gd name="T7" fmla="*/ 143 h 143"/>
                  <a:gd name="T8" fmla="*/ 768 w 768"/>
                  <a:gd name="T9" fmla="*/ 0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8" h="143">
                    <a:moveTo>
                      <a:pt x="76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729" y="143"/>
                      <a:pt x="729" y="143"/>
                      <a:pt x="729" y="143"/>
                    </a:cubicBezTo>
                    <a:cubicBezTo>
                      <a:pt x="745" y="97"/>
                      <a:pt x="758" y="49"/>
                      <a:pt x="768" y="0"/>
                    </a:cubicBezTo>
                  </a:path>
                </a:pathLst>
              </a:custGeom>
              <a:solidFill>
                <a:schemeClr val="accent1">
                  <a:lumMod val="10000"/>
                  <a:lumOff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8" name="îṧḻîďê"/>
              <p:cNvSpPr/>
              <p:nvPr/>
            </p:nvSpPr>
            <p:spPr bwMode="auto">
              <a:xfrm>
                <a:off x="5767292" y="3822719"/>
                <a:ext cx="344913" cy="94909"/>
              </a:xfrm>
              <a:custGeom>
                <a:avLst/>
                <a:gdLst>
                  <a:gd name="T0" fmla="*/ 521 w 521"/>
                  <a:gd name="T1" fmla="*/ 0 h 143"/>
                  <a:gd name="T2" fmla="*/ 0 w 521"/>
                  <a:gd name="T3" fmla="*/ 0 h 143"/>
                  <a:gd name="T4" fmla="*/ 0 w 521"/>
                  <a:gd name="T5" fmla="*/ 143 h 143"/>
                  <a:gd name="T6" fmla="*/ 427 w 521"/>
                  <a:gd name="T7" fmla="*/ 143 h 143"/>
                  <a:gd name="T8" fmla="*/ 521 w 521"/>
                  <a:gd name="T9" fmla="*/ 0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1" h="143">
                    <a:moveTo>
                      <a:pt x="52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427" y="143"/>
                      <a:pt x="427" y="143"/>
                      <a:pt x="427" y="143"/>
                    </a:cubicBezTo>
                    <a:cubicBezTo>
                      <a:pt x="462" y="97"/>
                      <a:pt x="494" y="49"/>
                      <a:pt x="521" y="0"/>
                    </a:cubicBezTo>
                  </a:path>
                </a:pathLst>
              </a:custGeom>
              <a:solidFill>
                <a:schemeClr val="accent1">
                  <a:lumMod val="10000"/>
                  <a:lumOff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9" name="ísľidè"/>
              <p:cNvSpPr/>
              <p:nvPr/>
            </p:nvSpPr>
            <p:spPr bwMode="auto">
              <a:xfrm>
                <a:off x="4764960" y="3026409"/>
                <a:ext cx="1447941" cy="1194464"/>
              </a:xfrm>
              <a:custGeom>
                <a:avLst/>
                <a:gdLst>
                  <a:gd name="T0" fmla="*/ 1005 w 2185"/>
                  <a:gd name="T1" fmla="*/ 1804 h 1804"/>
                  <a:gd name="T2" fmla="*/ 1005 w 2185"/>
                  <a:gd name="T3" fmla="*/ 1804 h 1804"/>
                  <a:gd name="T4" fmla="*/ 1005 w 2185"/>
                  <a:gd name="T5" fmla="*/ 1804 h 1804"/>
                  <a:gd name="T6" fmla="*/ 1005 w 2185"/>
                  <a:gd name="T7" fmla="*/ 1804 h 1804"/>
                  <a:gd name="T8" fmla="*/ 1627 w 2185"/>
                  <a:gd name="T9" fmla="*/ 1627 h 1804"/>
                  <a:gd name="T10" fmla="*/ 1005 w 2185"/>
                  <a:gd name="T11" fmla="*/ 1804 h 1804"/>
                  <a:gd name="T12" fmla="*/ 1627 w 2185"/>
                  <a:gd name="T13" fmla="*/ 1627 h 1804"/>
                  <a:gd name="T14" fmla="*/ 5 w 2185"/>
                  <a:gd name="T15" fmla="*/ 1254 h 1804"/>
                  <a:gd name="T16" fmla="*/ 6 w 2185"/>
                  <a:gd name="T17" fmla="*/ 1254 h 1804"/>
                  <a:gd name="T18" fmla="*/ 5 w 2185"/>
                  <a:gd name="T19" fmla="*/ 1254 h 1804"/>
                  <a:gd name="T20" fmla="*/ 0 w 2185"/>
                  <a:gd name="T21" fmla="*/ 1246 h 1804"/>
                  <a:gd name="T22" fmla="*/ 2 w 2185"/>
                  <a:gd name="T23" fmla="*/ 1249 h 1804"/>
                  <a:gd name="T24" fmla="*/ 0 w 2185"/>
                  <a:gd name="T25" fmla="*/ 1246 h 1804"/>
                  <a:gd name="T26" fmla="*/ 2007 w 2185"/>
                  <a:gd name="T27" fmla="*/ 0 h 1804"/>
                  <a:gd name="T28" fmla="*/ 2007 w 2185"/>
                  <a:gd name="T29" fmla="*/ 0 h 1804"/>
                  <a:gd name="T30" fmla="*/ 2007 w 2185"/>
                  <a:gd name="T31" fmla="*/ 0 h 1804"/>
                  <a:gd name="T32" fmla="*/ 2007 w 2185"/>
                  <a:gd name="T33" fmla="*/ 0 h 1804"/>
                  <a:gd name="T34" fmla="*/ 2007 w 2185"/>
                  <a:gd name="T35" fmla="*/ 0 h 1804"/>
                  <a:gd name="T36" fmla="*/ 2037 w 2185"/>
                  <a:gd name="T37" fmla="*/ 51 h 1804"/>
                  <a:gd name="T38" fmla="*/ 2109 w 2185"/>
                  <a:gd name="T39" fmla="*/ 207 h 1804"/>
                  <a:gd name="T40" fmla="*/ 2153 w 2185"/>
                  <a:gd name="T41" fmla="*/ 349 h 1804"/>
                  <a:gd name="T42" fmla="*/ 2183 w 2185"/>
                  <a:gd name="T43" fmla="*/ 546 h 1804"/>
                  <a:gd name="T44" fmla="*/ 2185 w 2185"/>
                  <a:gd name="T45" fmla="*/ 622 h 1804"/>
                  <a:gd name="T46" fmla="*/ 2007 w 2185"/>
                  <a:gd name="T47" fmla="*/ 0 h 1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185" h="1804">
                    <a:moveTo>
                      <a:pt x="1005" y="1804"/>
                    </a:moveTo>
                    <a:cubicBezTo>
                      <a:pt x="1005" y="1804"/>
                      <a:pt x="1005" y="1804"/>
                      <a:pt x="1005" y="1804"/>
                    </a:cubicBezTo>
                    <a:cubicBezTo>
                      <a:pt x="1005" y="1804"/>
                      <a:pt x="1005" y="1804"/>
                      <a:pt x="1005" y="1804"/>
                    </a:cubicBezTo>
                    <a:cubicBezTo>
                      <a:pt x="1005" y="1804"/>
                      <a:pt x="1005" y="1804"/>
                      <a:pt x="1005" y="1804"/>
                    </a:cubicBezTo>
                    <a:moveTo>
                      <a:pt x="1627" y="1627"/>
                    </a:moveTo>
                    <a:cubicBezTo>
                      <a:pt x="1433" y="1747"/>
                      <a:pt x="1218" y="1804"/>
                      <a:pt x="1005" y="1804"/>
                    </a:cubicBezTo>
                    <a:cubicBezTo>
                      <a:pt x="1218" y="1804"/>
                      <a:pt x="1433" y="1747"/>
                      <a:pt x="1627" y="1627"/>
                    </a:cubicBezTo>
                    <a:moveTo>
                      <a:pt x="5" y="1254"/>
                    </a:moveTo>
                    <a:cubicBezTo>
                      <a:pt x="5" y="1254"/>
                      <a:pt x="5" y="1254"/>
                      <a:pt x="6" y="1254"/>
                    </a:cubicBezTo>
                    <a:cubicBezTo>
                      <a:pt x="5" y="1254"/>
                      <a:pt x="5" y="1254"/>
                      <a:pt x="5" y="1254"/>
                    </a:cubicBezTo>
                    <a:moveTo>
                      <a:pt x="0" y="1246"/>
                    </a:moveTo>
                    <a:cubicBezTo>
                      <a:pt x="1" y="1247"/>
                      <a:pt x="2" y="1248"/>
                      <a:pt x="2" y="1249"/>
                    </a:cubicBezTo>
                    <a:cubicBezTo>
                      <a:pt x="2" y="1248"/>
                      <a:pt x="1" y="1247"/>
                      <a:pt x="0" y="1246"/>
                    </a:cubicBezTo>
                    <a:moveTo>
                      <a:pt x="2007" y="0"/>
                    </a:moveTo>
                    <a:cubicBezTo>
                      <a:pt x="2007" y="0"/>
                      <a:pt x="2007" y="0"/>
                      <a:pt x="2007" y="0"/>
                    </a:cubicBezTo>
                    <a:cubicBezTo>
                      <a:pt x="2007" y="0"/>
                      <a:pt x="2007" y="0"/>
                      <a:pt x="2007" y="0"/>
                    </a:cubicBezTo>
                    <a:cubicBezTo>
                      <a:pt x="2007" y="0"/>
                      <a:pt x="2007" y="0"/>
                      <a:pt x="2007" y="0"/>
                    </a:cubicBezTo>
                    <a:cubicBezTo>
                      <a:pt x="2007" y="0"/>
                      <a:pt x="2007" y="0"/>
                      <a:pt x="2007" y="0"/>
                    </a:cubicBezTo>
                    <a:cubicBezTo>
                      <a:pt x="2018" y="17"/>
                      <a:pt x="2028" y="34"/>
                      <a:pt x="2037" y="51"/>
                    </a:cubicBezTo>
                    <a:cubicBezTo>
                      <a:pt x="2065" y="102"/>
                      <a:pt x="2089" y="154"/>
                      <a:pt x="2109" y="207"/>
                    </a:cubicBezTo>
                    <a:cubicBezTo>
                      <a:pt x="2127" y="254"/>
                      <a:pt x="2142" y="301"/>
                      <a:pt x="2153" y="349"/>
                    </a:cubicBezTo>
                    <a:cubicBezTo>
                      <a:pt x="2169" y="414"/>
                      <a:pt x="2178" y="480"/>
                      <a:pt x="2183" y="546"/>
                    </a:cubicBezTo>
                    <a:cubicBezTo>
                      <a:pt x="2184" y="571"/>
                      <a:pt x="2185" y="596"/>
                      <a:pt x="2185" y="622"/>
                    </a:cubicBezTo>
                    <a:cubicBezTo>
                      <a:pt x="2185" y="409"/>
                      <a:pt x="2128" y="194"/>
                      <a:pt x="2007" y="0"/>
                    </a:cubicBezTo>
                  </a:path>
                </a:pathLst>
              </a:custGeom>
              <a:solidFill>
                <a:srgbClr val="2F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0" name="í$ḻíḋè"/>
              <p:cNvSpPr/>
              <p:nvPr/>
            </p:nvSpPr>
            <p:spPr bwMode="auto">
              <a:xfrm>
                <a:off x="4805469" y="2694228"/>
                <a:ext cx="843765" cy="605335"/>
              </a:xfrm>
              <a:custGeom>
                <a:avLst/>
                <a:gdLst>
                  <a:gd name="T0" fmla="*/ 69 w 1272"/>
                  <a:gd name="T1" fmla="*/ 909 h 914"/>
                  <a:gd name="T2" fmla="*/ 4 w 1272"/>
                  <a:gd name="T3" fmla="*/ 823 h 914"/>
                  <a:gd name="T4" fmla="*/ 356 w 1272"/>
                  <a:gd name="T5" fmla="*/ 268 h 914"/>
                  <a:gd name="T6" fmla="*/ 1214 w 1272"/>
                  <a:gd name="T7" fmla="*/ 183 h 914"/>
                  <a:gd name="T8" fmla="*/ 1254 w 1272"/>
                  <a:gd name="T9" fmla="*/ 287 h 914"/>
                  <a:gd name="T10" fmla="*/ 1151 w 1272"/>
                  <a:gd name="T11" fmla="*/ 327 h 914"/>
                  <a:gd name="T12" fmla="*/ 439 w 1272"/>
                  <a:gd name="T13" fmla="*/ 402 h 914"/>
                  <a:gd name="T14" fmla="*/ 160 w 1272"/>
                  <a:gd name="T15" fmla="*/ 840 h 914"/>
                  <a:gd name="T16" fmla="*/ 74 w 1272"/>
                  <a:gd name="T17" fmla="*/ 910 h 914"/>
                  <a:gd name="T18" fmla="*/ 69 w 1272"/>
                  <a:gd name="T19" fmla="*/ 909 h 9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72" h="914">
                    <a:moveTo>
                      <a:pt x="69" y="909"/>
                    </a:moveTo>
                    <a:cubicBezTo>
                      <a:pt x="28" y="902"/>
                      <a:pt x="0" y="865"/>
                      <a:pt x="4" y="823"/>
                    </a:cubicBezTo>
                    <a:cubicBezTo>
                      <a:pt x="6" y="809"/>
                      <a:pt x="46" y="462"/>
                      <a:pt x="356" y="268"/>
                    </a:cubicBezTo>
                    <a:cubicBezTo>
                      <a:pt x="788" y="0"/>
                      <a:pt x="1197" y="176"/>
                      <a:pt x="1214" y="183"/>
                    </a:cubicBezTo>
                    <a:cubicBezTo>
                      <a:pt x="1254" y="201"/>
                      <a:pt x="1272" y="247"/>
                      <a:pt x="1254" y="287"/>
                    </a:cubicBezTo>
                    <a:cubicBezTo>
                      <a:pt x="1237" y="327"/>
                      <a:pt x="1191" y="345"/>
                      <a:pt x="1151" y="327"/>
                    </a:cubicBezTo>
                    <a:cubicBezTo>
                      <a:pt x="1137" y="321"/>
                      <a:pt x="798" y="178"/>
                      <a:pt x="439" y="402"/>
                    </a:cubicBezTo>
                    <a:cubicBezTo>
                      <a:pt x="193" y="555"/>
                      <a:pt x="161" y="837"/>
                      <a:pt x="160" y="840"/>
                    </a:cubicBezTo>
                    <a:cubicBezTo>
                      <a:pt x="156" y="883"/>
                      <a:pt x="117" y="914"/>
                      <a:pt x="74" y="910"/>
                    </a:cubicBezTo>
                    <a:cubicBezTo>
                      <a:pt x="72" y="910"/>
                      <a:pt x="71" y="909"/>
                      <a:pt x="69" y="90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1" name="is1îḋé"/>
              <p:cNvSpPr/>
              <p:nvPr/>
            </p:nvSpPr>
            <p:spPr bwMode="auto">
              <a:xfrm>
                <a:off x="4553150" y="2564596"/>
                <a:ext cx="1744243" cy="1740770"/>
              </a:xfrm>
              <a:custGeom>
                <a:avLst/>
                <a:gdLst>
                  <a:gd name="T0" fmla="*/ 1114 w 2631"/>
                  <a:gd name="T1" fmla="*/ 2520 h 2631"/>
                  <a:gd name="T2" fmla="*/ 112 w 2631"/>
                  <a:gd name="T3" fmla="*/ 1114 h 2631"/>
                  <a:gd name="T4" fmla="*/ 1517 w 2631"/>
                  <a:gd name="T5" fmla="*/ 111 h 2631"/>
                  <a:gd name="T6" fmla="*/ 2520 w 2631"/>
                  <a:gd name="T7" fmla="*/ 1517 h 2631"/>
                  <a:gd name="T8" fmla="*/ 1114 w 2631"/>
                  <a:gd name="T9" fmla="*/ 2520 h 2631"/>
                  <a:gd name="T10" fmla="*/ 1508 w 2631"/>
                  <a:gd name="T11" fmla="*/ 168 h 2631"/>
                  <a:gd name="T12" fmla="*/ 168 w 2631"/>
                  <a:gd name="T13" fmla="*/ 1123 h 2631"/>
                  <a:gd name="T14" fmla="*/ 1124 w 2631"/>
                  <a:gd name="T15" fmla="*/ 2464 h 2631"/>
                  <a:gd name="T16" fmla="*/ 2464 w 2631"/>
                  <a:gd name="T17" fmla="*/ 1508 h 2631"/>
                  <a:gd name="T18" fmla="*/ 1508 w 2631"/>
                  <a:gd name="T19" fmla="*/ 168 h 26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31" h="2631">
                    <a:moveTo>
                      <a:pt x="1114" y="2520"/>
                    </a:moveTo>
                    <a:cubicBezTo>
                      <a:pt x="450" y="2409"/>
                      <a:pt x="0" y="1778"/>
                      <a:pt x="112" y="1114"/>
                    </a:cubicBezTo>
                    <a:cubicBezTo>
                      <a:pt x="223" y="450"/>
                      <a:pt x="853" y="0"/>
                      <a:pt x="1517" y="111"/>
                    </a:cubicBezTo>
                    <a:cubicBezTo>
                      <a:pt x="2181" y="222"/>
                      <a:pt x="2631" y="853"/>
                      <a:pt x="2520" y="1517"/>
                    </a:cubicBezTo>
                    <a:cubicBezTo>
                      <a:pt x="2409" y="2181"/>
                      <a:pt x="1778" y="2631"/>
                      <a:pt x="1114" y="2520"/>
                    </a:cubicBezTo>
                    <a:close/>
                    <a:moveTo>
                      <a:pt x="1508" y="168"/>
                    </a:moveTo>
                    <a:cubicBezTo>
                      <a:pt x="875" y="62"/>
                      <a:pt x="274" y="491"/>
                      <a:pt x="168" y="1123"/>
                    </a:cubicBezTo>
                    <a:cubicBezTo>
                      <a:pt x="62" y="1756"/>
                      <a:pt x="491" y="2358"/>
                      <a:pt x="1124" y="2464"/>
                    </a:cubicBezTo>
                    <a:cubicBezTo>
                      <a:pt x="1757" y="2570"/>
                      <a:pt x="2358" y="2141"/>
                      <a:pt x="2464" y="1508"/>
                    </a:cubicBezTo>
                    <a:cubicBezTo>
                      <a:pt x="2569" y="875"/>
                      <a:pt x="2141" y="274"/>
                      <a:pt x="1508" y="168"/>
                    </a:cubicBezTo>
                    <a:close/>
                  </a:path>
                </a:pathLst>
              </a:custGeom>
              <a:solidFill>
                <a:srgbClr val="0938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2" name="îṣḷïḑè"/>
              <p:cNvSpPr/>
              <p:nvPr/>
            </p:nvSpPr>
            <p:spPr bwMode="auto">
              <a:xfrm>
                <a:off x="3055440" y="3914156"/>
                <a:ext cx="1383126" cy="1055573"/>
              </a:xfrm>
              <a:custGeom>
                <a:avLst/>
                <a:gdLst>
                  <a:gd name="T0" fmla="*/ 99 w 2087"/>
                  <a:gd name="T1" fmla="*/ 1377 h 1594"/>
                  <a:gd name="T2" fmla="*/ 190 w 2087"/>
                  <a:gd name="T3" fmla="*/ 920 h 1594"/>
                  <a:gd name="T4" fmla="*/ 1539 w 2087"/>
                  <a:gd name="T5" fmla="*/ 92 h 1594"/>
                  <a:gd name="T6" fmla="*/ 1988 w 2087"/>
                  <a:gd name="T7" fmla="*/ 218 h 1594"/>
                  <a:gd name="T8" fmla="*/ 1897 w 2087"/>
                  <a:gd name="T9" fmla="*/ 675 h 1594"/>
                  <a:gd name="T10" fmla="*/ 547 w 2087"/>
                  <a:gd name="T11" fmla="*/ 1503 h 1594"/>
                  <a:gd name="T12" fmla="*/ 99 w 2087"/>
                  <a:gd name="T13" fmla="*/ 1377 h 15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7" h="1594">
                    <a:moveTo>
                      <a:pt x="99" y="1377"/>
                    </a:moveTo>
                    <a:cubicBezTo>
                      <a:pt x="0" y="1216"/>
                      <a:pt x="41" y="1011"/>
                      <a:pt x="190" y="920"/>
                    </a:cubicBezTo>
                    <a:cubicBezTo>
                      <a:pt x="1539" y="92"/>
                      <a:pt x="1539" y="92"/>
                      <a:pt x="1539" y="92"/>
                    </a:cubicBezTo>
                    <a:cubicBezTo>
                      <a:pt x="1688" y="0"/>
                      <a:pt x="1889" y="57"/>
                      <a:pt x="1988" y="218"/>
                    </a:cubicBezTo>
                    <a:cubicBezTo>
                      <a:pt x="2087" y="379"/>
                      <a:pt x="2046" y="584"/>
                      <a:pt x="1897" y="675"/>
                    </a:cubicBezTo>
                    <a:cubicBezTo>
                      <a:pt x="547" y="1503"/>
                      <a:pt x="547" y="1503"/>
                      <a:pt x="547" y="1503"/>
                    </a:cubicBezTo>
                    <a:cubicBezTo>
                      <a:pt x="399" y="1594"/>
                      <a:pt x="198" y="1538"/>
                      <a:pt x="99" y="1377"/>
                    </a:cubicBezTo>
                    <a:close/>
                  </a:path>
                </a:pathLst>
              </a:custGeom>
              <a:solidFill>
                <a:srgbClr val="1015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</p:grpSp>
      </p:grpSp>
      <p:sp>
        <p:nvSpPr>
          <p:cNvPr id="3" name="流程图: 接点 2"/>
          <p:cNvSpPr/>
          <p:nvPr/>
        </p:nvSpPr>
        <p:spPr>
          <a:xfrm>
            <a:off x="7077658" y="5026326"/>
            <a:ext cx="951084" cy="989326"/>
          </a:xfrm>
          <a:prstGeom prst="flowChartConnector">
            <a:avLst/>
          </a:prstGeom>
          <a:solidFill>
            <a:srgbClr val="F4CF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" name="Freeform 112"/>
          <p:cNvSpPr>
            <a:spLocks noEditPoints="1" noChangeArrowheads="1"/>
          </p:cNvSpPr>
          <p:nvPr/>
        </p:nvSpPr>
        <p:spPr bwMode="auto">
          <a:xfrm>
            <a:off x="7353469" y="5251978"/>
            <a:ext cx="444500" cy="496887"/>
          </a:xfrm>
          <a:custGeom>
            <a:avLst/>
            <a:gdLst>
              <a:gd name="T0" fmla="*/ 347346 w 182"/>
              <a:gd name="T1" fmla="*/ 211907 h 204"/>
              <a:gd name="T2" fmla="*/ 338497 w 182"/>
              <a:gd name="T3" fmla="*/ 105954 h 204"/>
              <a:gd name="T4" fmla="*/ 172567 w 182"/>
              <a:gd name="T5" fmla="*/ 0 h 204"/>
              <a:gd name="T6" fmla="*/ 2212 w 182"/>
              <a:gd name="T7" fmla="*/ 174382 h 204"/>
              <a:gd name="T8" fmla="*/ 0 w 182"/>
              <a:gd name="T9" fmla="*/ 450303 h 204"/>
              <a:gd name="T10" fmla="*/ 250001 w 182"/>
              <a:gd name="T11" fmla="*/ 388497 h 204"/>
              <a:gd name="T12" fmla="*/ 325222 w 182"/>
              <a:gd name="T13" fmla="*/ 388497 h 204"/>
              <a:gd name="T14" fmla="*/ 325222 w 182"/>
              <a:gd name="T15" fmla="*/ 388497 h 204"/>
              <a:gd name="T16" fmla="*/ 345134 w 182"/>
              <a:gd name="T17" fmla="*/ 333313 h 204"/>
              <a:gd name="T18" fmla="*/ 323010 w 182"/>
              <a:gd name="T19" fmla="*/ 320068 h 204"/>
              <a:gd name="T20" fmla="*/ 345134 w 182"/>
              <a:gd name="T21" fmla="*/ 309031 h 204"/>
              <a:gd name="T22" fmla="*/ 342921 w 182"/>
              <a:gd name="T23" fmla="*/ 304617 h 204"/>
              <a:gd name="T24" fmla="*/ 376107 w 182"/>
              <a:gd name="T25" fmla="*/ 245018 h 204"/>
              <a:gd name="T26" fmla="*/ 137169 w 182"/>
              <a:gd name="T27" fmla="*/ 205285 h 204"/>
              <a:gd name="T28" fmla="*/ 137169 w 182"/>
              <a:gd name="T29" fmla="*/ 225152 h 204"/>
              <a:gd name="T30" fmla="*/ 119469 w 182"/>
              <a:gd name="T31" fmla="*/ 231774 h 204"/>
              <a:gd name="T32" fmla="*/ 106195 w 182"/>
              <a:gd name="T33" fmla="*/ 242810 h 204"/>
              <a:gd name="T34" fmla="*/ 88496 w 182"/>
              <a:gd name="T35" fmla="*/ 236188 h 204"/>
              <a:gd name="T36" fmla="*/ 70797 w 182"/>
              <a:gd name="T37" fmla="*/ 236188 h 204"/>
              <a:gd name="T38" fmla="*/ 61947 w 182"/>
              <a:gd name="T39" fmla="*/ 218529 h 204"/>
              <a:gd name="T40" fmla="*/ 48673 w 182"/>
              <a:gd name="T41" fmla="*/ 205285 h 204"/>
              <a:gd name="T42" fmla="*/ 57522 w 182"/>
              <a:gd name="T43" fmla="*/ 187626 h 204"/>
              <a:gd name="T44" fmla="*/ 57522 w 182"/>
              <a:gd name="T45" fmla="*/ 167760 h 204"/>
              <a:gd name="T46" fmla="*/ 75221 w 182"/>
              <a:gd name="T47" fmla="*/ 161138 h 204"/>
              <a:gd name="T48" fmla="*/ 88496 w 182"/>
              <a:gd name="T49" fmla="*/ 150101 h 204"/>
              <a:gd name="T50" fmla="*/ 106195 w 182"/>
              <a:gd name="T51" fmla="*/ 156723 h 204"/>
              <a:gd name="T52" fmla="*/ 126107 w 182"/>
              <a:gd name="T53" fmla="*/ 156723 h 204"/>
              <a:gd name="T54" fmla="*/ 132744 w 182"/>
              <a:gd name="T55" fmla="*/ 174382 h 204"/>
              <a:gd name="T56" fmla="*/ 146018 w 182"/>
              <a:gd name="T57" fmla="*/ 187626 h 204"/>
              <a:gd name="T58" fmla="*/ 300886 w 182"/>
              <a:gd name="T59" fmla="*/ 169967 h 204"/>
              <a:gd name="T60" fmla="*/ 278762 w 182"/>
              <a:gd name="T61" fmla="*/ 192041 h 204"/>
              <a:gd name="T62" fmla="*/ 267700 w 182"/>
              <a:gd name="T63" fmla="*/ 220737 h 204"/>
              <a:gd name="T64" fmla="*/ 236726 w 182"/>
              <a:gd name="T65" fmla="*/ 220737 h 204"/>
              <a:gd name="T66" fmla="*/ 207965 w 182"/>
              <a:gd name="T67" fmla="*/ 231774 h 204"/>
              <a:gd name="T68" fmla="*/ 183629 w 182"/>
              <a:gd name="T69" fmla="*/ 211907 h 204"/>
              <a:gd name="T70" fmla="*/ 154868 w 182"/>
              <a:gd name="T71" fmla="*/ 200870 h 204"/>
              <a:gd name="T72" fmla="*/ 154868 w 182"/>
              <a:gd name="T73" fmla="*/ 169967 h 204"/>
              <a:gd name="T74" fmla="*/ 141593 w 182"/>
              <a:gd name="T75" fmla="*/ 141272 h 204"/>
              <a:gd name="T76" fmla="*/ 163717 w 182"/>
              <a:gd name="T77" fmla="*/ 116990 h 204"/>
              <a:gd name="T78" fmla="*/ 174779 w 182"/>
              <a:gd name="T79" fmla="*/ 88295 h 204"/>
              <a:gd name="T80" fmla="*/ 207965 w 182"/>
              <a:gd name="T81" fmla="*/ 88295 h 204"/>
              <a:gd name="T82" fmla="*/ 236726 w 182"/>
              <a:gd name="T83" fmla="*/ 77258 h 204"/>
              <a:gd name="T84" fmla="*/ 258850 w 182"/>
              <a:gd name="T85" fmla="*/ 97124 h 204"/>
              <a:gd name="T86" fmla="*/ 287611 w 182"/>
              <a:gd name="T87" fmla="*/ 108161 h 204"/>
              <a:gd name="T88" fmla="*/ 287611 w 182"/>
              <a:gd name="T89" fmla="*/ 141272 h 204"/>
              <a:gd name="T90" fmla="*/ 300886 w 182"/>
              <a:gd name="T91" fmla="*/ 169967 h 20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82"/>
              <a:gd name="T139" fmla="*/ 0 h 204"/>
              <a:gd name="T140" fmla="*/ 182 w 182"/>
              <a:gd name="T141" fmla="*/ 204 h 204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82" h="204">
                <a:moveTo>
                  <a:pt x="170" y="111"/>
                </a:moveTo>
                <a:cubicBezTo>
                  <a:pt x="166" y="107"/>
                  <a:pt x="160" y="102"/>
                  <a:pt x="157" y="96"/>
                </a:cubicBezTo>
                <a:cubicBezTo>
                  <a:pt x="153" y="87"/>
                  <a:pt x="158" y="79"/>
                  <a:pt x="157" y="70"/>
                </a:cubicBezTo>
                <a:cubicBezTo>
                  <a:pt x="157" y="63"/>
                  <a:pt x="155" y="54"/>
                  <a:pt x="153" y="48"/>
                </a:cubicBezTo>
                <a:cubicBezTo>
                  <a:pt x="149" y="37"/>
                  <a:pt x="142" y="28"/>
                  <a:pt x="133" y="21"/>
                </a:cubicBezTo>
                <a:cubicBezTo>
                  <a:pt x="119" y="8"/>
                  <a:pt x="100" y="0"/>
                  <a:pt x="78" y="0"/>
                </a:cubicBezTo>
                <a:cubicBezTo>
                  <a:pt x="35" y="0"/>
                  <a:pt x="0" y="32"/>
                  <a:pt x="0" y="71"/>
                </a:cubicBezTo>
                <a:cubicBezTo>
                  <a:pt x="0" y="74"/>
                  <a:pt x="0" y="77"/>
                  <a:pt x="1" y="79"/>
                </a:cubicBezTo>
                <a:cubicBezTo>
                  <a:pt x="1" y="96"/>
                  <a:pt x="6" y="117"/>
                  <a:pt x="22" y="139"/>
                </a:cubicBezTo>
                <a:cubicBezTo>
                  <a:pt x="22" y="139"/>
                  <a:pt x="43" y="182"/>
                  <a:pt x="0" y="204"/>
                </a:cubicBezTo>
                <a:cubicBezTo>
                  <a:pt x="95" y="204"/>
                  <a:pt x="95" y="204"/>
                  <a:pt x="95" y="204"/>
                </a:cubicBezTo>
                <a:cubicBezTo>
                  <a:pt x="95" y="204"/>
                  <a:pt x="102" y="176"/>
                  <a:pt x="113" y="176"/>
                </a:cubicBezTo>
                <a:cubicBezTo>
                  <a:pt x="123" y="176"/>
                  <a:pt x="133" y="177"/>
                  <a:pt x="142" y="176"/>
                </a:cubicBezTo>
                <a:cubicBezTo>
                  <a:pt x="144" y="177"/>
                  <a:pt x="146" y="176"/>
                  <a:pt x="147" y="176"/>
                </a:cubicBezTo>
                <a:cubicBezTo>
                  <a:pt x="147" y="176"/>
                  <a:pt x="147" y="176"/>
                  <a:pt x="147" y="176"/>
                </a:cubicBezTo>
                <a:cubicBezTo>
                  <a:pt x="147" y="176"/>
                  <a:pt x="147" y="176"/>
                  <a:pt x="147" y="176"/>
                </a:cubicBezTo>
                <a:cubicBezTo>
                  <a:pt x="154" y="173"/>
                  <a:pt x="149" y="157"/>
                  <a:pt x="149" y="157"/>
                </a:cubicBezTo>
                <a:cubicBezTo>
                  <a:pt x="153" y="155"/>
                  <a:pt x="156" y="153"/>
                  <a:pt x="156" y="151"/>
                </a:cubicBezTo>
                <a:cubicBezTo>
                  <a:pt x="156" y="150"/>
                  <a:pt x="156" y="150"/>
                  <a:pt x="156" y="150"/>
                </a:cubicBezTo>
                <a:cubicBezTo>
                  <a:pt x="156" y="148"/>
                  <a:pt x="152" y="146"/>
                  <a:pt x="146" y="145"/>
                </a:cubicBezTo>
                <a:cubicBezTo>
                  <a:pt x="149" y="145"/>
                  <a:pt x="149" y="145"/>
                  <a:pt x="149" y="145"/>
                </a:cubicBezTo>
                <a:cubicBezTo>
                  <a:pt x="153" y="145"/>
                  <a:pt x="156" y="143"/>
                  <a:pt x="156" y="140"/>
                </a:cubicBezTo>
                <a:cubicBezTo>
                  <a:pt x="156" y="140"/>
                  <a:pt x="156" y="140"/>
                  <a:pt x="156" y="140"/>
                </a:cubicBezTo>
                <a:cubicBezTo>
                  <a:pt x="156" y="139"/>
                  <a:pt x="156" y="138"/>
                  <a:pt x="155" y="138"/>
                </a:cubicBezTo>
                <a:cubicBezTo>
                  <a:pt x="156" y="135"/>
                  <a:pt x="159" y="121"/>
                  <a:pt x="160" y="121"/>
                </a:cubicBezTo>
                <a:cubicBezTo>
                  <a:pt x="182" y="119"/>
                  <a:pt x="170" y="111"/>
                  <a:pt x="170" y="111"/>
                </a:cubicBezTo>
                <a:close/>
                <a:moveTo>
                  <a:pt x="66" y="93"/>
                </a:moveTo>
                <a:cubicBezTo>
                  <a:pt x="62" y="93"/>
                  <a:pt x="62" y="93"/>
                  <a:pt x="62" y="93"/>
                </a:cubicBezTo>
                <a:cubicBezTo>
                  <a:pt x="62" y="95"/>
                  <a:pt x="61" y="97"/>
                  <a:pt x="60" y="99"/>
                </a:cubicBezTo>
                <a:cubicBezTo>
                  <a:pt x="62" y="102"/>
                  <a:pt x="62" y="102"/>
                  <a:pt x="62" y="102"/>
                </a:cubicBezTo>
                <a:cubicBezTo>
                  <a:pt x="57" y="107"/>
                  <a:pt x="57" y="107"/>
                  <a:pt x="57" y="107"/>
                </a:cubicBezTo>
                <a:cubicBezTo>
                  <a:pt x="54" y="105"/>
                  <a:pt x="54" y="105"/>
                  <a:pt x="54" y="105"/>
                </a:cubicBezTo>
                <a:cubicBezTo>
                  <a:pt x="52" y="106"/>
                  <a:pt x="50" y="107"/>
                  <a:pt x="48" y="107"/>
                </a:cubicBezTo>
                <a:cubicBezTo>
                  <a:pt x="48" y="110"/>
                  <a:pt x="48" y="110"/>
                  <a:pt x="48" y="110"/>
                </a:cubicBezTo>
                <a:cubicBezTo>
                  <a:pt x="40" y="110"/>
                  <a:pt x="40" y="110"/>
                  <a:pt x="40" y="110"/>
                </a:cubicBezTo>
                <a:cubicBezTo>
                  <a:pt x="40" y="107"/>
                  <a:pt x="40" y="107"/>
                  <a:pt x="40" y="107"/>
                </a:cubicBezTo>
                <a:cubicBezTo>
                  <a:pt x="38" y="107"/>
                  <a:pt x="36" y="106"/>
                  <a:pt x="34" y="105"/>
                </a:cubicBezTo>
                <a:cubicBezTo>
                  <a:pt x="32" y="107"/>
                  <a:pt x="32" y="107"/>
                  <a:pt x="32" y="107"/>
                </a:cubicBezTo>
                <a:cubicBezTo>
                  <a:pt x="26" y="102"/>
                  <a:pt x="26" y="102"/>
                  <a:pt x="26" y="102"/>
                </a:cubicBezTo>
                <a:cubicBezTo>
                  <a:pt x="28" y="99"/>
                  <a:pt x="28" y="99"/>
                  <a:pt x="28" y="99"/>
                </a:cubicBezTo>
                <a:cubicBezTo>
                  <a:pt x="27" y="97"/>
                  <a:pt x="26" y="95"/>
                  <a:pt x="26" y="93"/>
                </a:cubicBezTo>
                <a:cubicBezTo>
                  <a:pt x="22" y="93"/>
                  <a:pt x="22" y="93"/>
                  <a:pt x="22" y="93"/>
                </a:cubicBezTo>
                <a:cubicBezTo>
                  <a:pt x="22" y="85"/>
                  <a:pt x="22" y="85"/>
                  <a:pt x="22" y="85"/>
                </a:cubicBezTo>
                <a:cubicBezTo>
                  <a:pt x="26" y="85"/>
                  <a:pt x="26" y="85"/>
                  <a:pt x="26" y="85"/>
                </a:cubicBezTo>
                <a:cubicBezTo>
                  <a:pt x="26" y="83"/>
                  <a:pt x="27" y="81"/>
                  <a:pt x="28" y="79"/>
                </a:cubicBezTo>
                <a:cubicBezTo>
                  <a:pt x="26" y="76"/>
                  <a:pt x="26" y="76"/>
                  <a:pt x="26" y="76"/>
                </a:cubicBezTo>
                <a:cubicBezTo>
                  <a:pt x="31" y="71"/>
                  <a:pt x="31" y="71"/>
                  <a:pt x="31" y="71"/>
                </a:cubicBezTo>
                <a:cubicBezTo>
                  <a:pt x="34" y="73"/>
                  <a:pt x="34" y="73"/>
                  <a:pt x="34" y="73"/>
                </a:cubicBezTo>
                <a:cubicBezTo>
                  <a:pt x="36" y="72"/>
                  <a:pt x="38" y="71"/>
                  <a:pt x="40" y="71"/>
                </a:cubicBezTo>
                <a:cubicBezTo>
                  <a:pt x="40" y="68"/>
                  <a:pt x="40" y="68"/>
                  <a:pt x="40" y="68"/>
                </a:cubicBezTo>
                <a:cubicBezTo>
                  <a:pt x="48" y="68"/>
                  <a:pt x="48" y="68"/>
                  <a:pt x="48" y="68"/>
                </a:cubicBezTo>
                <a:cubicBezTo>
                  <a:pt x="48" y="71"/>
                  <a:pt x="48" y="71"/>
                  <a:pt x="48" y="71"/>
                </a:cubicBezTo>
                <a:cubicBezTo>
                  <a:pt x="50" y="71"/>
                  <a:pt x="52" y="72"/>
                  <a:pt x="54" y="73"/>
                </a:cubicBezTo>
                <a:cubicBezTo>
                  <a:pt x="57" y="71"/>
                  <a:pt x="57" y="71"/>
                  <a:pt x="57" y="71"/>
                </a:cubicBezTo>
                <a:cubicBezTo>
                  <a:pt x="63" y="76"/>
                  <a:pt x="63" y="76"/>
                  <a:pt x="63" y="76"/>
                </a:cubicBezTo>
                <a:cubicBezTo>
                  <a:pt x="60" y="79"/>
                  <a:pt x="60" y="79"/>
                  <a:pt x="60" y="79"/>
                </a:cubicBezTo>
                <a:cubicBezTo>
                  <a:pt x="61" y="81"/>
                  <a:pt x="62" y="83"/>
                  <a:pt x="63" y="85"/>
                </a:cubicBezTo>
                <a:cubicBezTo>
                  <a:pt x="66" y="85"/>
                  <a:pt x="66" y="85"/>
                  <a:pt x="66" y="85"/>
                </a:cubicBezTo>
                <a:lnTo>
                  <a:pt x="66" y="93"/>
                </a:lnTo>
                <a:close/>
                <a:moveTo>
                  <a:pt x="136" y="77"/>
                </a:moveTo>
                <a:cubicBezTo>
                  <a:pt x="130" y="77"/>
                  <a:pt x="130" y="77"/>
                  <a:pt x="130" y="77"/>
                </a:cubicBezTo>
                <a:cubicBezTo>
                  <a:pt x="129" y="80"/>
                  <a:pt x="128" y="84"/>
                  <a:pt x="126" y="87"/>
                </a:cubicBezTo>
                <a:cubicBezTo>
                  <a:pt x="130" y="91"/>
                  <a:pt x="130" y="91"/>
                  <a:pt x="130" y="91"/>
                </a:cubicBezTo>
                <a:cubicBezTo>
                  <a:pt x="121" y="100"/>
                  <a:pt x="121" y="100"/>
                  <a:pt x="121" y="100"/>
                </a:cubicBezTo>
                <a:cubicBezTo>
                  <a:pt x="117" y="96"/>
                  <a:pt x="117" y="96"/>
                  <a:pt x="117" y="96"/>
                </a:cubicBezTo>
                <a:cubicBezTo>
                  <a:pt x="114" y="98"/>
                  <a:pt x="110" y="99"/>
                  <a:pt x="107" y="100"/>
                </a:cubicBezTo>
                <a:cubicBezTo>
                  <a:pt x="107" y="105"/>
                  <a:pt x="107" y="105"/>
                  <a:pt x="107" y="105"/>
                </a:cubicBezTo>
                <a:cubicBezTo>
                  <a:pt x="94" y="105"/>
                  <a:pt x="94" y="105"/>
                  <a:pt x="94" y="105"/>
                </a:cubicBezTo>
                <a:cubicBezTo>
                  <a:pt x="94" y="100"/>
                  <a:pt x="94" y="100"/>
                  <a:pt x="94" y="100"/>
                </a:cubicBezTo>
                <a:cubicBezTo>
                  <a:pt x="90" y="100"/>
                  <a:pt x="86" y="98"/>
                  <a:pt x="83" y="96"/>
                </a:cubicBezTo>
                <a:cubicBezTo>
                  <a:pt x="79" y="100"/>
                  <a:pt x="79" y="100"/>
                  <a:pt x="79" y="100"/>
                </a:cubicBezTo>
                <a:cubicBezTo>
                  <a:pt x="70" y="91"/>
                  <a:pt x="70" y="91"/>
                  <a:pt x="70" y="91"/>
                </a:cubicBezTo>
                <a:cubicBezTo>
                  <a:pt x="74" y="87"/>
                  <a:pt x="74" y="87"/>
                  <a:pt x="74" y="87"/>
                </a:cubicBezTo>
                <a:cubicBezTo>
                  <a:pt x="72" y="84"/>
                  <a:pt x="71" y="81"/>
                  <a:pt x="70" y="77"/>
                </a:cubicBezTo>
                <a:cubicBezTo>
                  <a:pt x="64" y="77"/>
                  <a:pt x="64" y="77"/>
                  <a:pt x="64" y="77"/>
                </a:cubicBezTo>
                <a:cubicBezTo>
                  <a:pt x="64" y="64"/>
                  <a:pt x="64" y="64"/>
                  <a:pt x="64" y="64"/>
                </a:cubicBezTo>
                <a:cubicBezTo>
                  <a:pt x="70" y="64"/>
                  <a:pt x="70" y="64"/>
                  <a:pt x="70" y="64"/>
                </a:cubicBezTo>
                <a:cubicBezTo>
                  <a:pt x="70" y="60"/>
                  <a:pt x="72" y="56"/>
                  <a:pt x="74" y="53"/>
                </a:cubicBezTo>
                <a:cubicBezTo>
                  <a:pt x="70" y="49"/>
                  <a:pt x="70" y="49"/>
                  <a:pt x="70" y="49"/>
                </a:cubicBezTo>
                <a:cubicBezTo>
                  <a:pt x="79" y="40"/>
                  <a:pt x="79" y="40"/>
                  <a:pt x="79" y="40"/>
                </a:cubicBezTo>
                <a:cubicBezTo>
                  <a:pt x="83" y="44"/>
                  <a:pt x="83" y="44"/>
                  <a:pt x="83" y="44"/>
                </a:cubicBezTo>
                <a:cubicBezTo>
                  <a:pt x="86" y="42"/>
                  <a:pt x="90" y="41"/>
                  <a:pt x="94" y="40"/>
                </a:cubicBezTo>
                <a:cubicBezTo>
                  <a:pt x="94" y="35"/>
                  <a:pt x="94" y="35"/>
                  <a:pt x="94" y="35"/>
                </a:cubicBezTo>
                <a:cubicBezTo>
                  <a:pt x="107" y="35"/>
                  <a:pt x="107" y="35"/>
                  <a:pt x="107" y="35"/>
                </a:cubicBezTo>
                <a:cubicBezTo>
                  <a:pt x="107" y="40"/>
                  <a:pt x="107" y="40"/>
                  <a:pt x="107" y="40"/>
                </a:cubicBezTo>
                <a:cubicBezTo>
                  <a:pt x="110" y="41"/>
                  <a:pt x="114" y="42"/>
                  <a:pt x="117" y="44"/>
                </a:cubicBezTo>
                <a:cubicBezTo>
                  <a:pt x="121" y="40"/>
                  <a:pt x="121" y="40"/>
                  <a:pt x="121" y="40"/>
                </a:cubicBezTo>
                <a:cubicBezTo>
                  <a:pt x="130" y="49"/>
                  <a:pt x="130" y="49"/>
                  <a:pt x="130" y="49"/>
                </a:cubicBezTo>
                <a:cubicBezTo>
                  <a:pt x="126" y="53"/>
                  <a:pt x="126" y="53"/>
                  <a:pt x="126" y="53"/>
                </a:cubicBezTo>
                <a:cubicBezTo>
                  <a:pt x="128" y="57"/>
                  <a:pt x="130" y="60"/>
                  <a:pt x="130" y="64"/>
                </a:cubicBezTo>
                <a:cubicBezTo>
                  <a:pt x="136" y="64"/>
                  <a:pt x="136" y="64"/>
                  <a:pt x="136" y="64"/>
                </a:cubicBezTo>
                <a:lnTo>
                  <a:pt x="136" y="77"/>
                </a:lnTo>
                <a:close/>
              </a:path>
            </a:pathLst>
          </a:custGeom>
          <a:solidFill>
            <a:srgbClr val="FCFCF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90204"/>
              <a:ea typeface="微软雅黑"/>
              <a:cs typeface="+mn-ea"/>
              <a:sym typeface="+mn-lt"/>
            </a:endParaRPr>
          </a:p>
        </p:txBody>
      </p:sp>
      <p:sp>
        <p:nvSpPr>
          <p:cNvPr id="105" name="ïṥļiďè"/>
          <p:cNvSpPr/>
          <p:nvPr/>
        </p:nvSpPr>
        <p:spPr>
          <a:xfrm>
            <a:off x="5135330" y="1081303"/>
            <a:ext cx="2379943" cy="2142003"/>
          </a:xfrm>
          <a:prstGeom prst="ellipse">
            <a:avLst/>
          </a:prstGeom>
          <a:solidFill>
            <a:srgbClr val="FFC000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108" name="iSḻïḍê"/>
          <p:cNvSpPr txBox="1"/>
          <p:nvPr/>
        </p:nvSpPr>
        <p:spPr>
          <a:xfrm>
            <a:off x="5073370" y="1988854"/>
            <a:ext cx="2503862" cy="906931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200" dirty="0">
                <a:solidFill>
                  <a:schemeClr val="accent5">
                    <a:lumMod val="75000"/>
                  </a:schemeClr>
                </a:solidFill>
                <a:latin typeface="+mn-ea"/>
              </a:rPr>
              <a:t>用户画像、用户行为研究，</a:t>
            </a:r>
            <a:endParaRPr lang="en-US" altLang="zh-CN" sz="1200" dirty="0">
              <a:solidFill>
                <a:schemeClr val="accent5">
                  <a:lumMod val="75000"/>
                </a:schemeClr>
              </a:solidFill>
              <a:latin typeface="+mn-ea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200" dirty="0">
                <a:solidFill>
                  <a:schemeClr val="accent5">
                    <a:lumMod val="75000"/>
                  </a:schemeClr>
                </a:solidFill>
                <a:latin typeface="+mn-ea"/>
              </a:rPr>
              <a:t>提升撮合率</a:t>
            </a:r>
            <a:endParaRPr lang="en-US" altLang="zh-CN" sz="1200" dirty="0">
              <a:solidFill>
                <a:schemeClr val="accent5">
                  <a:lumMod val="75000"/>
                </a:schemeClr>
              </a:solidFill>
              <a:latin typeface="+mn-ea"/>
            </a:endParaRPr>
          </a:p>
        </p:txBody>
      </p:sp>
      <p:sp>
        <p:nvSpPr>
          <p:cNvPr id="109" name="ïŝliḍè"/>
          <p:cNvSpPr txBox="1"/>
          <p:nvPr/>
        </p:nvSpPr>
        <p:spPr>
          <a:xfrm>
            <a:off x="5103230" y="1517034"/>
            <a:ext cx="2503862" cy="471820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pPr algn="ctr"/>
            <a:r>
              <a:rPr lang="zh-CN" altLang="en-US" b="1" dirty="0">
                <a:solidFill>
                  <a:schemeClr val="accent5">
                    <a:lumMod val="75000"/>
                  </a:schemeClr>
                </a:solidFill>
              </a:rPr>
              <a:t>智能</a:t>
            </a:r>
            <a:r>
              <a:rPr lang="en-US" altLang="zh-CN" b="1" dirty="0">
                <a:solidFill>
                  <a:schemeClr val="accent5">
                    <a:lumMod val="75000"/>
                  </a:schemeClr>
                </a:solidFill>
              </a:rPr>
              <a:t>AI</a:t>
            </a:r>
            <a:endParaRPr lang="zh-CN" altLang="en-US" b="1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ïṥļiďè"/>
          <p:cNvSpPr/>
          <p:nvPr/>
        </p:nvSpPr>
        <p:spPr>
          <a:xfrm>
            <a:off x="859957" y="2369072"/>
            <a:ext cx="2379943" cy="2142003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106" name="ïṥļiďè"/>
          <p:cNvSpPr/>
          <p:nvPr/>
        </p:nvSpPr>
        <p:spPr>
          <a:xfrm>
            <a:off x="8970741" y="2474634"/>
            <a:ext cx="2379943" cy="2142003"/>
          </a:xfrm>
          <a:prstGeom prst="ellipse">
            <a:avLst/>
          </a:prstGeom>
          <a:solidFill>
            <a:srgbClr val="D9AB00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50536" y="-9254"/>
            <a:ext cx="10850563" cy="1028699"/>
          </a:xfrm>
        </p:spPr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核心竞争力</a:t>
            </a:r>
            <a:endParaRPr lang="zh-CN" altLang="en-US" dirty="0"/>
          </a:p>
        </p:txBody>
      </p:sp>
      <p:grpSp>
        <p:nvGrpSpPr>
          <p:cNvPr id="22" name="18671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60954" y="2156843"/>
            <a:ext cx="10679518" cy="3212990"/>
            <a:chOff x="760954" y="2921109"/>
            <a:chExt cx="10679518" cy="3212990"/>
          </a:xfrm>
        </p:grpSpPr>
        <p:sp>
          <p:nvSpPr>
            <p:cNvPr id="24" name="iSḻïḍê"/>
            <p:cNvSpPr txBox="1"/>
            <p:nvPr/>
          </p:nvSpPr>
          <p:spPr>
            <a:xfrm>
              <a:off x="760954" y="4204340"/>
              <a:ext cx="2503862" cy="90693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200" dirty="0">
                  <a:solidFill>
                    <a:schemeClr val="bg1"/>
                  </a:solidFill>
                  <a:latin typeface="+mn-ea"/>
                </a:rPr>
                <a:t>成功入职后，</a:t>
              </a:r>
              <a:endParaRPr lang="en-US" altLang="zh-CN" sz="1200" dirty="0">
                <a:solidFill>
                  <a:schemeClr val="bg1"/>
                </a:solidFill>
                <a:latin typeface="+mn-ea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200" dirty="0">
                  <a:solidFill>
                    <a:schemeClr val="bg1"/>
                  </a:solidFill>
                  <a:latin typeface="+mn-ea"/>
                </a:rPr>
                <a:t>扩散传播</a:t>
              </a:r>
              <a:endParaRPr lang="en-US" altLang="zh-CN" sz="12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5" name="ïŝliḍè"/>
            <p:cNvSpPr txBox="1"/>
            <p:nvPr/>
          </p:nvSpPr>
          <p:spPr>
            <a:xfrm>
              <a:off x="760954" y="3732520"/>
              <a:ext cx="2503862" cy="471820"/>
            </a:xfrm>
            <a:prstGeom prst="rect">
              <a:avLst/>
            </a:prstGeom>
            <a:noFill/>
          </p:spPr>
          <p:txBody>
            <a:bodyPr wrap="none" rtlCol="0" anchor="ctr">
              <a:normAutofit/>
            </a:bodyPr>
            <a:lstStyle/>
            <a:p>
              <a:pPr algn="ctr"/>
              <a:r>
                <a:rPr lang="zh-CN" altLang="en-US" b="1" dirty="0">
                  <a:solidFill>
                    <a:schemeClr val="bg1"/>
                  </a:solidFill>
                </a:rPr>
                <a:t>求职者信任平台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iṡļidè"/>
            <p:cNvSpPr txBox="1"/>
            <p:nvPr/>
          </p:nvSpPr>
          <p:spPr>
            <a:xfrm>
              <a:off x="8936610" y="4204341"/>
              <a:ext cx="2503862" cy="90693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200" dirty="0">
                  <a:solidFill>
                    <a:schemeClr val="bg1"/>
                  </a:solidFill>
                  <a:latin typeface="+mn-ea"/>
                </a:rPr>
                <a:t>数年后，</a:t>
              </a:r>
              <a:endParaRPr lang="en-US" altLang="zh-CN" sz="1200" dirty="0">
                <a:solidFill>
                  <a:schemeClr val="bg1"/>
                </a:solidFill>
                <a:latin typeface="+mn-ea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200" dirty="0">
                  <a:solidFill>
                    <a:schemeClr val="bg1"/>
                  </a:solidFill>
                  <a:latin typeface="+mn-ea"/>
                </a:rPr>
                <a:t>求职者成为导师</a:t>
              </a:r>
              <a:endParaRPr lang="en-US" altLang="zh-CN" sz="12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9" name="iš1iḍé"/>
            <p:cNvSpPr txBox="1"/>
            <p:nvPr/>
          </p:nvSpPr>
          <p:spPr>
            <a:xfrm>
              <a:off x="8936610" y="3732521"/>
              <a:ext cx="2503862" cy="471820"/>
            </a:xfrm>
            <a:prstGeom prst="rect">
              <a:avLst/>
            </a:prstGeom>
            <a:noFill/>
          </p:spPr>
          <p:txBody>
            <a:bodyPr wrap="none" rtlCol="0" anchor="ctr">
              <a:normAutofit/>
            </a:bodyPr>
            <a:lstStyle/>
            <a:p>
              <a:pPr algn="ctr"/>
              <a:r>
                <a:rPr lang="zh-CN" altLang="en-US" b="1" dirty="0">
                  <a:solidFill>
                    <a:schemeClr val="bg1"/>
                  </a:solidFill>
                </a:rPr>
                <a:t>二次转化导师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  <p:grpSp>
          <p:nvGrpSpPr>
            <p:cNvPr id="31" name="íŝḷïd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/>
          </p:nvGrpSpPr>
          <p:grpSpPr>
            <a:xfrm>
              <a:off x="3975263" y="2921109"/>
              <a:ext cx="3747417" cy="3212990"/>
              <a:chOff x="3055440" y="1527542"/>
              <a:chExt cx="5372777" cy="4606558"/>
            </a:xfrm>
          </p:grpSpPr>
          <p:sp>
            <p:nvSpPr>
              <p:cNvPr id="32" name="ísḻïḍè"/>
              <p:cNvSpPr/>
              <p:nvPr/>
            </p:nvSpPr>
            <p:spPr bwMode="auto">
              <a:xfrm>
                <a:off x="5622613" y="5156074"/>
                <a:ext cx="1221086" cy="288200"/>
              </a:xfrm>
              <a:custGeom>
                <a:avLst/>
                <a:gdLst>
                  <a:gd name="T0" fmla="*/ 0 w 1842"/>
                  <a:gd name="T1" fmla="*/ 335 h 436"/>
                  <a:gd name="T2" fmla="*/ 276 w 1842"/>
                  <a:gd name="T3" fmla="*/ 0 h 436"/>
                  <a:gd name="T4" fmla="*/ 1566 w 1842"/>
                  <a:gd name="T5" fmla="*/ 0 h 436"/>
                  <a:gd name="T6" fmla="*/ 1842 w 1842"/>
                  <a:gd name="T7" fmla="*/ 335 h 436"/>
                  <a:gd name="T8" fmla="*/ 1842 w 1842"/>
                  <a:gd name="T9" fmla="*/ 436 h 436"/>
                  <a:gd name="T10" fmla="*/ 0 w 1842"/>
                  <a:gd name="T11" fmla="*/ 436 h 436"/>
                  <a:gd name="T12" fmla="*/ 0 w 1842"/>
                  <a:gd name="T13" fmla="*/ 335 h 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42" h="436">
                    <a:moveTo>
                      <a:pt x="0" y="335"/>
                    </a:moveTo>
                    <a:cubicBezTo>
                      <a:pt x="0" y="150"/>
                      <a:pt x="124" y="0"/>
                      <a:pt x="276" y="0"/>
                    </a:cubicBezTo>
                    <a:cubicBezTo>
                      <a:pt x="1566" y="0"/>
                      <a:pt x="1566" y="0"/>
                      <a:pt x="1566" y="0"/>
                    </a:cubicBezTo>
                    <a:cubicBezTo>
                      <a:pt x="1718" y="0"/>
                      <a:pt x="1842" y="150"/>
                      <a:pt x="1842" y="335"/>
                    </a:cubicBezTo>
                    <a:cubicBezTo>
                      <a:pt x="1842" y="436"/>
                      <a:pt x="1842" y="436"/>
                      <a:pt x="1842" y="436"/>
                    </a:cubicBezTo>
                    <a:cubicBezTo>
                      <a:pt x="0" y="436"/>
                      <a:pt x="0" y="436"/>
                      <a:pt x="0" y="436"/>
                    </a:cubicBezTo>
                    <a:lnTo>
                      <a:pt x="0" y="335"/>
                    </a:ln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3" name="íṣliḍe"/>
              <p:cNvSpPr/>
              <p:nvPr/>
            </p:nvSpPr>
            <p:spPr bwMode="auto">
              <a:xfrm>
                <a:off x="5622613" y="5444274"/>
                <a:ext cx="1221086" cy="494222"/>
              </a:xfrm>
              <a:custGeom>
                <a:avLst/>
                <a:gdLst>
                  <a:gd name="T0" fmla="*/ 1842 w 1842"/>
                  <a:gd name="T1" fmla="*/ 0 h 747"/>
                  <a:gd name="T2" fmla="*/ 1842 w 1842"/>
                  <a:gd name="T3" fmla="*/ 412 h 747"/>
                  <a:gd name="T4" fmla="*/ 1566 w 1842"/>
                  <a:gd name="T5" fmla="*/ 747 h 747"/>
                  <a:gd name="T6" fmla="*/ 276 w 1842"/>
                  <a:gd name="T7" fmla="*/ 747 h 747"/>
                  <a:gd name="T8" fmla="*/ 0 w 1842"/>
                  <a:gd name="T9" fmla="*/ 412 h 747"/>
                  <a:gd name="T10" fmla="*/ 0 w 1842"/>
                  <a:gd name="T11" fmla="*/ 0 h 747"/>
                  <a:gd name="T12" fmla="*/ 1842 w 1842"/>
                  <a:gd name="T13" fmla="*/ 0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42" h="747">
                    <a:moveTo>
                      <a:pt x="1842" y="0"/>
                    </a:moveTo>
                    <a:cubicBezTo>
                      <a:pt x="1842" y="412"/>
                      <a:pt x="1842" y="412"/>
                      <a:pt x="1842" y="412"/>
                    </a:cubicBezTo>
                    <a:cubicBezTo>
                      <a:pt x="1842" y="597"/>
                      <a:pt x="1718" y="747"/>
                      <a:pt x="1566" y="747"/>
                    </a:cubicBezTo>
                    <a:cubicBezTo>
                      <a:pt x="276" y="747"/>
                      <a:pt x="276" y="747"/>
                      <a:pt x="276" y="747"/>
                    </a:cubicBezTo>
                    <a:cubicBezTo>
                      <a:pt x="124" y="747"/>
                      <a:pt x="0" y="597"/>
                      <a:pt x="0" y="412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842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4" name="îšľiḓê"/>
              <p:cNvSpPr/>
              <p:nvPr/>
            </p:nvSpPr>
            <p:spPr bwMode="auto">
              <a:xfrm>
                <a:off x="4038096" y="2242831"/>
                <a:ext cx="4390121" cy="3094959"/>
              </a:xfrm>
              <a:custGeom>
                <a:avLst/>
                <a:gdLst>
                  <a:gd name="T0" fmla="*/ 0 w 6624"/>
                  <a:gd name="T1" fmla="*/ 4343 h 4677"/>
                  <a:gd name="T2" fmla="*/ 335 w 6624"/>
                  <a:gd name="T3" fmla="*/ 4677 h 4677"/>
                  <a:gd name="T4" fmla="*/ 6289 w 6624"/>
                  <a:gd name="T5" fmla="*/ 4677 h 4677"/>
                  <a:gd name="T6" fmla="*/ 6624 w 6624"/>
                  <a:gd name="T7" fmla="*/ 4343 h 4677"/>
                  <a:gd name="T8" fmla="*/ 6624 w 6624"/>
                  <a:gd name="T9" fmla="*/ 335 h 4677"/>
                  <a:gd name="T10" fmla="*/ 6289 w 6624"/>
                  <a:gd name="T11" fmla="*/ 0 h 4677"/>
                  <a:gd name="T12" fmla="*/ 335 w 6624"/>
                  <a:gd name="T13" fmla="*/ 0 h 4677"/>
                  <a:gd name="T14" fmla="*/ 0 w 6624"/>
                  <a:gd name="T15" fmla="*/ 335 h 4677"/>
                  <a:gd name="T16" fmla="*/ 0 w 6624"/>
                  <a:gd name="T17" fmla="*/ 4343 h 46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24" h="4677">
                    <a:moveTo>
                      <a:pt x="0" y="4343"/>
                    </a:moveTo>
                    <a:cubicBezTo>
                      <a:pt x="0" y="4527"/>
                      <a:pt x="150" y="4677"/>
                      <a:pt x="335" y="4677"/>
                    </a:cubicBezTo>
                    <a:cubicBezTo>
                      <a:pt x="6289" y="4677"/>
                      <a:pt x="6289" y="4677"/>
                      <a:pt x="6289" y="4677"/>
                    </a:cubicBezTo>
                    <a:cubicBezTo>
                      <a:pt x="6474" y="4677"/>
                      <a:pt x="6624" y="4527"/>
                      <a:pt x="6624" y="4343"/>
                    </a:cubicBezTo>
                    <a:cubicBezTo>
                      <a:pt x="6624" y="335"/>
                      <a:pt x="6624" y="335"/>
                      <a:pt x="6624" y="335"/>
                    </a:cubicBezTo>
                    <a:cubicBezTo>
                      <a:pt x="6624" y="150"/>
                      <a:pt x="6474" y="0"/>
                      <a:pt x="6289" y="0"/>
                    </a:cubicBezTo>
                    <a:cubicBezTo>
                      <a:pt x="335" y="0"/>
                      <a:pt x="335" y="0"/>
                      <a:pt x="335" y="0"/>
                    </a:cubicBezTo>
                    <a:cubicBezTo>
                      <a:pt x="150" y="0"/>
                      <a:pt x="0" y="150"/>
                      <a:pt x="0" y="335"/>
                    </a:cubicBezTo>
                    <a:cubicBezTo>
                      <a:pt x="0" y="4343"/>
                      <a:pt x="0" y="4343"/>
                      <a:pt x="0" y="4343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5" name="íşļîḋê"/>
              <p:cNvSpPr/>
              <p:nvPr/>
            </p:nvSpPr>
            <p:spPr bwMode="auto">
              <a:xfrm>
                <a:off x="5043899" y="5742890"/>
                <a:ext cx="2378513" cy="391210"/>
              </a:xfrm>
              <a:custGeom>
                <a:avLst/>
                <a:gdLst>
                  <a:gd name="T0" fmla="*/ 501 w 2055"/>
                  <a:gd name="T1" fmla="*/ 0 h 338"/>
                  <a:gd name="T2" fmla="*/ 1554 w 2055"/>
                  <a:gd name="T3" fmla="*/ 0 h 338"/>
                  <a:gd name="T4" fmla="*/ 2055 w 2055"/>
                  <a:gd name="T5" fmla="*/ 338 h 338"/>
                  <a:gd name="T6" fmla="*/ 0 w 2055"/>
                  <a:gd name="T7" fmla="*/ 338 h 338"/>
                  <a:gd name="T8" fmla="*/ 501 w 2055"/>
                  <a:gd name="T9" fmla="*/ 0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55" h="338">
                    <a:moveTo>
                      <a:pt x="501" y="0"/>
                    </a:moveTo>
                    <a:lnTo>
                      <a:pt x="1554" y="0"/>
                    </a:lnTo>
                    <a:lnTo>
                      <a:pt x="2055" y="338"/>
                    </a:lnTo>
                    <a:lnTo>
                      <a:pt x="0" y="338"/>
                    </a:lnTo>
                    <a:lnTo>
                      <a:pt x="501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6" name="îSľïďé"/>
              <p:cNvSpPr/>
              <p:nvPr/>
            </p:nvSpPr>
            <p:spPr bwMode="auto">
              <a:xfrm>
                <a:off x="4187404" y="2421075"/>
                <a:ext cx="4070671" cy="2633146"/>
              </a:xfrm>
              <a:custGeom>
                <a:avLst/>
                <a:gdLst>
                  <a:gd name="T0" fmla="*/ 6116 w 6141"/>
                  <a:gd name="T1" fmla="*/ 0 h 3978"/>
                  <a:gd name="T2" fmla="*/ 6141 w 6141"/>
                  <a:gd name="T3" fmla="*/ 25 h 3978"/>
                  <a:gd name="T4" fmla="*/ 6141 w 6141"/>
                  <a:gd name="T5" fmla="*/ 3953 h 3978"/>
                  <a:gd name="T6" fmla="*/ 6116 w 6141"/>
                  <a:gd name="T7" fmla="*/ 3978 h 3978"/>
                  <a:gd name="T8" fmla="*/ 0 w 6141"/>
                  <a:gd name="T9" fmla="*/ 0 h 3978"/>
                  <a:gd name="T10" fmla="*/ 6116 w 6141"/>
                  <a:gd name="T11" fmla="*/ 0 h 39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141" h="3978">
                    <a:moveTo>
                      <a:pt x="6116" y="0"/>
                    </a:moveTo>
                    <a:cubicBezTo>
                      <a:pt x="6130" y="0"/>
                      <a:pt x="6141" y="11"/>
                      <a:pt x="6141" y="25"/>
                    </a:cubicBezTo>
                    <a:cubicBezTo>
                      <a:pt x="6141" y="3953"/>
                      <a:pt x="6141" y="3953"/>
                      <a:pt x="6141" y="3953"/>
                    </a:cubicBezTo>
                    <a:cubicBezTo>
                      <a:pt x="6141" y="3967"/>
                      <a:pt x="6130" y="3978"/>
                      <a:pt x="6116" y="397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116" y="0"/>
                      <a:pt x="6116" y="0"/>
                      <a:pt x="6116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7" name="ïṣlïḑê"/>
              <p:cNvSpPr/>
              <p:nvPr/>
            </p:nvSpPr>
            <p:spPr bwMode="auto">
              <a:xfrm>
                <a:off x="4154996" y="2421075"/>
                <a:ext cx="4085717" cy="2633146"/>
              </a:xfrm>
              <a:custGeom>
                <a:avLst/>
                <a:gdLst>
                  <a:gd name="T0" fmla="*/ 25 w 6164"/>
                  <a:gd name="T1" fmla="*/ 0 h 3978"/>
                  <a:gd name="T2" fmla="*/ 48 w 6164"/>
                  <a:gd name="T3" fmla="*/ 0 h 3978"/>
                  <a:gd name="T4" fmla="*/ 6164 w 6164"/>
                  <a:gd name="T5" fmla="*/ 3978 h 3978"/>
                  <a:gd name="T6" fmla="*/ 25 w 6164"/>
                  <a:gd name="T7" fmla="*/ 3978 h 3978"/>
                  <a:gd name="T8" fmla="*/ 0 w 6164"/>
                  <a:gd name="T9" fmla="*/ 3953 h 3978"/>
                  <a:gd name="T10" fmla="*/ 0 w 6164"/>
                  <a:gd name="T11" fmla="*/ 25 h 3978"/>
                  <a:gd name="T12" fmla="*/ 25 w 6164"/>
                  <a:gd name="T13" fmla="*/ 0 h 39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64" h="3978">
                    <a:moveTo>
                      <a:pt x="25" y="0"/>
                    </a:moveTo>
                    <a:cubicBezTo>
                      <a:pt x="48" y="0"/>
                      <a:pt x="48" y="0"/>
                      <a:pt x="48" y="0"/>
                    </a:cubicBezTo>
                    <a:cubicBezTo>
                      <a:pt x="6164" y="3978"/>
                      <a:pt x="6164" y="3978"/>
                      <a:pt x="6164" y="3978"/>
                    </a:cubicBezTo>
                    <a:cubicBezTo>
                      <a:pt x="25" y="3978"/>
                      <a:pt x="25" y="3978"/>
                      <a:pt x="25" y="3978"/>
                    </a:cubicBezTo>
                    <a:cubicBezTo>
                      <a:pt x="11" y="3978"/>
                      <a:pt x="0" y="3967"/>
                      <a:pt x="0" y="3953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1"/>
                      <a:pt x="11" y="0"/>
                      <a:pt x="25" y="0"/>
                    </a:cubicBezTo>
                  </a:path>
                </a:pathLst>
              </a:custGeom>
              <a:solidFill>
                <a:srgbClr val="EAEA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8" name="îšľîḍe"/>
              <p:cNvSpPr/>
              <p:nvPr/>
            </p:nvSpPr>
            <p:spPr bwMode="auto">
              <a:xfrm>
                <a:off x="6773095" y="1527542"/>
                <a:ext cx="1215298" cy="2031284"/>
              </a:xfrm>
              <a:custGeom>
                <a:avLst/>
                <a:gdLst>
                  <a:gd name="T0" fmla="*/ 1040 w 1834"/>
                  <a:gd name="T1" fmla="*/ 366 h 3069"/>
                  <a:gd name="T2" fmla="*/ 1281 w 1834"/>
                  <a:gd name="T3" fmla="*/ 1 h 3069"/>
                  <a:gd name="T4" fmla="*/ 1283 w 1834"/>
                  <a:gd name="T5" fmla="*/ 0 h 3069"/>
                  <a:gd name="T6" fmla="*/ 1431 w 1834"/>
                  <a:gd name="T7" fmla="*/ 0 h 3069"/>
                  <a:gd name="T8" fmla="*/ 1834 w 1834"/>
                  <a:gd name="T9" fmla="*/ 482 h 3069"/>
                  <a:gd name="T10" fmla="*/ 1834 w 1834"/>
                  <a:gd name="T11" fmla="*/ 482 h 3069"/>
                  <a:gd name="T12" fmla="*/ 1834 w 1834"/>
                  <a:gd name="T13" fmla="*/ 482 h 3069"/>
                  <a:gd name="T14" fmla="*/ 1834 w 1834"/>
                  <a:gd name="T15" fmla="*/ 3069 h 3069"/>
                  <a:gd name="T16" fmla="*/ 40 w 1834"/>
                  <a:gd name="T17" fmla="*/ 3069 h 3069"/>
                  <a:gd name="T18" fmla="*/ 0 w 1834"/>
                  <a:gd name="T19" fmla="*/ 213 h 3069"/>
                  <a:gd name="T20" fmla="*/ 1040 w 1834"/>
                  <a:gd name="T21" fmla="*/ 366 h 30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34" h="3069">
                    <a:moveTo>
                      <a:pt x="1040" y="366"/>
                    </a:moveTo>
                    <a:cubicBezTo>
                      <a:pt x="1083" y="69"/>
                      <a:pt x="1281" y="1"/>
                      <a:pt x="1281" y="1"/>
                    </a:cubicBezTo>
                    <a:cubicBezTo>
                      <a:pt x="1283" y="0"/>
                      <a:pt x="1283" y="0"/>
                      <a:pt x="1283" y="0"/>
                    </a:cubicBezTo>
                    <a:cubicBezTo>
                      <a:pt x="1352" y="0"/>
                      <a:pt x="1403" y="0"/>
                      <a:pt x="1431" y="0"/>
                    </a:cubicBezTo>
                    <a:cubicBezTo>
                      <a:pt x="1767" y="0"/>
                      <a:pt x="1834" y="482"/>
                      <a:pt x="1834" y="482"/>
                    </a:cubicBezTo>
                    <a:cubicBezTo>
                      <a:pt x="1834" y="482"/>
                      <a:pt x="1834" y="482"/>
                      <a:pt x="1834" y="482"/>
                    </a:cubicBezTo>
                    <a:cubicBezTo>
                      <a:pt x="1834" y="482"/>
                      <a:pt x="1834" y="482"/>
                      <a:pt x="1834" y="482"/>
                    </a:cubicBezTo>
                    <a:cubicBezTo>
                      <a:pt x="1834" y="3069"/>
                      <a:pt x="1834" y="3069"/>
                      <a:pt x="1834" y="3069"/>
                    </a:cubicBezTo>
                    <a:cubicBezTo>
                      <a:pt x="40" y="3069"/>
                      <a:pt x="40" y="3069"/>
                      <a:pt x="40" y="3069"/>
                    </a:cubicBezTo>
                    <a:cubicBezTo>
                      <a:pt x="0" y="213"/>
                      <a:pt x="0" y="213"/>
                      <a:pt x="0" y="213"/>
                    </a:cubicBezTo>
                    <a:lnTo>
                      <a:pt x="1040" y="366"/>
                    </a:lnTo>
                    <a:close/>
                  </a:path>
                </a:pathLst>
              </a:custGeom>
              <a:solidFill>
                <a:schemeClr val="accent1">
                  <a:lumMod val="90000"/>
                  <a:lumOff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9" name="íṥlidè"/>
              <p:cNvSpPr/>
              <p:nvPr/>
            </p:nvSpPr>
            <p:spPr bwMode="auto">
              <a:xfrm>
                <a:off x="4718663" y="1527542"/>
                <a:ext cx="2905142" cy="3456076"/>
              </a:xfrm>
              <a:custGeom>
                <a:avLst/>
                <a:gdLst>
                  <a:gd name="T0" fmla="*/ 3185 w 4383"/>
                  <a:gd name="T1" fmla="*/ 4743 h 5221"/>
                  <a:gd name="T2" fmla="*/ 0 w 4383"/>
                  <a:gd name="T3" fmla="*/ 4743 h 5221"/>
                  <a:gd name="T4" fmla="*/ 0 w 4383"/>
                  <a:gd name="T5" fmla="*/ 396 h 5221"/>
                  <a:gd name="T6" fmla="*/ 401 w 4383"/>
                  <a:gd name="T7" fmla="*/ 0 h 5221"/>
                  <a:gd name="T8" fmla="*/ 524 w 4383"/>
                  <a:gd name="T9" fmla="*/ 0 h 5221"/>
                  <a:gd name="T10" fmla="*/ 4128 w 4383"/>
                  <a:gd name="T11" fmla="*/ 0 h 5221"/>
                  <a:gd name="T12" fmla="*/ 4128 w 4383"/>
                  <a:gd name="T13" fmla="*/ 0 h 5221"/>
                  <a:gd name="T14" fmla="*/ 4383 w 4383"/>
                  <a:gd name="T15" fmla="*/ 0 h 5221"/>
                  <a:gd name="T16" fmla="*/ 4381 w 4383"/>
                  <a:gd name="T17" fmla="*/ 1 h 5221"/>
                  <a:gd name="T18" fmla="*/ 4132 w 4383"/>
                  <a:gd name="T19" fmla="*/ 482 h 5221"/>
                  <a:gd name="T20" fmla="*/ 4126 w 4383"/>
                  <a:gd name="T21" fmla="*/ 482 h 5221"/>
                  <a:gd name="T22" fmla="*/ 4126 w 4383"/>
                  <a:gd name="T23" fmla="*/ 577 h 5221"/>
                  <a:gd name="T24" fmla="*/ 4126 w 4383"/>
                  <a:gd name="T25" fmla="*/ 4822 h 5221"/>
                  <a:gd name="T26" fmla="*/ 4126 w 4383"/>
                  <a:gd name="T27" fmla="*/ 4825 h 5221"/>
                  <a:gd name="T28" fmla="*/ 3725 w 4383"/>
                  <a:gd name="T29" fmla="*/ 5221 h 5221"/>
                  <a:gd name="T30" fmla="*/ 3602 w 4383"/>
                  <a:gd name="T31" fmla="*/ 5221 h 5221"/>
                  <a:gd name="T32" fmla="*/ 3185 w 4383"/>
                  <a:gd name="T33" fmla="*/ 4743 h 5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83" h="5221">
                    <a:moveTo>
                      <a:pt x="3185" y="4743"/>
                    </a:moveTo>
                    <a:cubicBezTo>
                      <a:pt x="0" y="4743"/>
                      <a:pt x="0" y="4743"/>
                      <a:pt x="0" y="4743"/>
                    </a:cubicBezTo>
                    <a:cubicBezTo>
                      <a:pt x="0" y="396"/>
                      <a:pt x="0" y="396"/>
                      <a:pt x="0" y="396"/>
                    </a:cubicBezTo>
                    <a:cubicBezTo>
                      <a:pt x="5" y="361"/>
                      <a:pt x="60" y="34"/>
                      <a:pt x="401" y="0"/>
                    </a:cubicBezTo>
                    <a:cubicBezTo>
                      <a:pt x="524" y="0"/>
                      <a:pt x="524" y="0"/>
                      <a:pt x="524" y="0"/>
                    </a:cubicBezTo>
                    <a:cubicBezTo>
                      <a:pt x="4128" y="0"/>
                      <a:pt x="4128" y="0"/>
                      <a:pt x="4128" y="0"/>
                    </a:cubicBezTo>
                    <a:cubicBezTo>
                      <a:pt x="4128" y="0"/>
                      <a:pt x="4128" y="0"/>
                      <a:pt x="4128" y="0"/>
                    </a:cubicBezTo>
                    <a:cubicBezTo>
                      <a:pt x="4228" y="0"/>
                      <a:pt x="4315" y="0"/>
                      <a:pt x="4383" y="0"/>
                    </a:cubicBezTo>
                    <a:cubicBezTo>
                      <a:pt x="4381" y="1"/>
                      <a:pt x="4381" y="1"/>
                      <a:pt x="4381" y="1"/>
                    </a:cubicBezTo>
                    <a:cubicBezTo>
                      <a:pt x="4381" y="1"/>
                      <a:pt x="4132" y="86"/>
                      <a:pt x="4132" y="482"/>
                    </a:cubicBezTo>
                    <a:cubicBezTo>
                      <a:pt x="4126" y="482"/>
                      <a:pt x="4126" y="482"/>
                      <a:pt x="4126" y="482"/>
                    </a:cubicBezTo>
                    <a:cubicBezTo>
                      <a:pt x="4126" y="577"/>
                      <a:pt x="4126" y="577"/>
                      <a:pt x="4126" y="577"/>
                    </a:cubicBezTo>
                    <a:cubicBezTo>
                      <a:pt x="4126" y="4822"/>
                      <a:pt x="4126" y="4822"/>
                      <a:pt x="4126" y="4822"/>
                    </a:cubicBezTo>
                    <a:cubicBezTo>
                      <a:pt x="4126" y="4822"/>
                      <a:pt x="4126" y="4823"/>
                      <a:pt x="4126" y="4825"/>
                    </a:cubicBezTo>
                    <a:cubicBezTo>
                      <a:pt x="4121" y="4860"/>
                      <a:pt x="4066" y="5187"/>
                      <a:pt x="3725" y="5221"/>
                    </a:cubicBezTo>
                    <a:cubicBezTo>
                      <a:pt x="3602" y="5221"/>
                      <a:pt x="3602" y="5221"/>
                      <a:pt x="3602" y="5221"/>
                    </a:cubicBezTo>
                    <a:cubicBezTo>
                      <a:pt x="3162" y="5182"/>
                      <a:pt x="3185" y="4743"/>
                      <a:pt x="3185" y="4743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40" name="ïṩ1iḑe"/>
              <p:cNvSpPr/>
              <p:nvPr/>
            </p:nvSpPr>
            <p:spPr bwMode="auto">
              <a:xfrm>
                <a:off x="4187404" y="4667640"/>
                <a:ext cx="2978060" cy="332182"/>
              </a:xfrm>
              <a:custGeom>
                <a:avLst/>
                <a:gdLst>
                  <a:gd name="T0" fmla="*/ 3989 w 4494"/>
                  <a:gd name="T1" fmla="*/ 0 h 503"/>
                  <a:gd name="T2" fmla="*/ 0 w 4494"/>
                  <a:gd name="T3" fmla="*/ 0 h 503"/>
                  <a:gd name="T4" fmla="*/ 403 w 4494"/>
                  <a:gd name="T5" fmla="*/ 482 h 503"/>
                  <a:gd name="T6" fmla="*/ 4494 w 4494"/>
                  <a:gd name="T7" fmla="*/ 482 h 503"/>
                  <a:gd name="T8" fmla="*/ 3989 w 4494"/>
                  <a:gd name="T9" fmla="*/ 0 h 5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94" h="503">
                    <a:moveTo>
                      <a:pt x="398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67" y="482"/>
                      <a:pt x="403" y="482"/>
                    </a:cubicBezTo>
                    <a:cubicBezTo>
                      <a:pt x="739" y="482"/>
                      <a:pt x="4494" y="482"/>
                      <a:pt x="4494" y="482"/>
                    </a:cubicBezTo>
                    <a:cubicBezTo>
                      <a:pt x="4494" y="482"/>
                      <a:pt x="3987" y="503"/>
                      <a:pt x="3989" y="0"/>
                    </a:cubicBezTo>
                    <a:close/>
                  </a:path>
                </a:pathLst>
              </a:custGeom>
              <a:solidFill>
                <a:schemeClr val="accent1">
                  <a:lumMod val="90000"/>
                  <a:lumOff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1" name="îṣḷiḍè"/>
              <p:cNvSpPr/>
              <p:nvPr/>
            </p:nvSpPr>
            <p:spPr bwMode="auto">
              <a:xfrm>
                <a:off x="5886506" y="1868982"/>
                <a:ext cx="1331041" cy="74075"/>
              </a:xfrm>
              <a:prstGeom prst="rect">
                <a:avLst/>
              </a:pr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2" name="iṡḷîḍê"/>
              <p:cNvSpPr/>
              <p:nvPr/>
            </p:nvSpPr>
            <p:spPr bwMode="auto">
              <a:xfrm>
                <a:off x="5648076" y="2086579"/>
                <a:ext cx="1332199" cy="74075"/>
              </a:xfrm>
              <a:prstGeom prst="rect">
                <a:avLst/>
              </a:pr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3" name="ïṧlîḑê"/>
              <p:cNvSpPr/>
              <p:nvPr/>
            </p:nvSpPr>
            <p:spPr bwMode="auto">
              <a:xfrm>
                <a:off x="5192050" y="2086579"/>
                <a:ext cx="296301" cy="74075"/>
              </a:xfrm>
              <a:prstGeom prst="rect">
                <a:avLst/>
              </a:pr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4" name="íšļíḋê"/>
              <p:cNvSpPr/>
              <p:nvPr/>
            </p:nvSpPr>
            <p:spPr bwMode="auto">
              <a:xfrm>
                <a:off x="5438582" y="2304175"/>
                <a:ext cx="1331041" cy="74075"/>
              </a:xfrm>
              <a:prstGeom prst="rect">
                <a:avLst/>
              </a:pr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5" name="îṡḻidè"/>
              <p:cNvSpPr/>
              <p:nvPr/>
            </p:nvSpPr>
            <p:spPr bwMode="auto">
              <a:xfrm>
                <a:off x="5886506" y="2521771"/>
                <a:ext cx="1331041" cy="74075"/>
              </a:xfrm>
              <a:prstGeom prst="rect">
                <a:avLst/>
              </a:pr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6" name="îŝ1ide"/>
              <p:cNvSpPr/>
              <p:nvPr/>
            </p:nvSpPr>
            <p:spPr bwMode="auto">
              <a:xfrm>
                <a:off x="5329784" y="2521771"/>
                <a:ext cx="450239" cy="74075"/>
              </a:xfrm>
              <a:prstGeom prst="rect">
                <a:avLst/>
              </a:pr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7" name="iṡľiḑê"/>
              <p:cNvSpPr/>
              <p:nvPr/>
            </p:nvSpPr>
            <p:spPr bwMode="auto">
              <a:xfrm>
                <a:off x="4975612" y="3595863"/>
                <a:ext cx="576399" cy="94909"/>
              </a:xfrm>
              <a:prstGeom prst="rect">
                <a:avLst/>
              </a:pr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8" name="íš1íḋè"/>
              <p:cNvSpPr/>
              <p:nvPr/>
            </p:nvSpPr>
            <p:spPr bwMode="auto">
              <a:xfrm>
                <a:off x="4975612" y="3595863"/>
                <a:ext cx="576399" cy="949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9" name="i$ḻiḓé"/>
              <p:cNvSpPr/>
              <p:nvPr/>
            </p:nvSpPr>
            <p:spPr bwMode="auto">
              <a:xfrm>
                <a:off x="4989501" y="4263698"/>
                <a:ext cx="1332199" cy="74075"/>
              </a:xfrm>
              <a:prstGeom prst="rect">
                <a:avLst/>
              </a:pr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0" name="îślïḑê"/>
              <p:cNvSpPr/>
              <p:nvPr/>
            </p:nvSpPr>
            <p:spPr bwMode="auto">
              <a:xfrm>
                <a:off x="6427025" y="4263698"/>
                <a:ext cx="450239" cy="74075"/>
              </a:xfrm>
              <a:prstGeom prst="rect">
                <a:avLst/>
              </a:pr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1" name="îşlíďé"/>
              <p:cNvSpPr/>
              <p:nvPr/>
            </p:nvSpPr>
            <p:spPr bwMode="auto">
              <a:xfrm>
                <a:off x="5886506" y="4481295"/>
                <a:ext cx="1331041" cy="74075"/>
              </a:xfrm>
              <a:prstGeom prst="rect">
                <a:avLst/>
              </a:pr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2" name="ïṣḷíḑe"/>
              <p:cNvSpPr/>
              <p:nvPr/>
            </p:nvSpPr>
            <p:spPr bwMode="auto">
              <a:xfrm>
                <a:off x="6135353" y="5130611"/>
                <a:ext cx="162040" cy="163198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1" name="îṥḻïḑè"/>
              <p:cNvSpPr/>
              <p:nvPr/>
            </p:nvSpPr>
            <p:spPr bwMode="auto">
              <a:xfrm>
                <a:off x="5922387" y="2739367"/>
                <a:ext cx="982656" cy="74075"/>
              </a:xfrm>
              <a:custGeom>
                <a:avLst/>
                <a:gdLst>
                  <a:gd name="T0" fmla="*/ 849 w 849"/>
                  <a:gd name="T1" fmla="*/ 0 h 64"/>
                  <a:gd name="T2" fmla="*/ 0 w 849"/>
                  <a:gd name="T3" fmla="*/ 0 h 64"/>
                  <a:gd name="T4" fmla="*/ 80 w 849"/>
                  <a:gd name="T5" fmla="*/ 64 h 64"/>
                  <a:gd name="T6" fmla="*/ 849 w 849"/>
                  <a:gd name="T7" fmla="*/ 64 h 64"/>
                  <a:gd name="T8" fmla="*/ 849 w 849"/>
                  <a:gd name="T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9" h="64">
                    <a:moveTo>
                      <a:pt x="849" y="0"/>
                    </a:moveTo>
                    <a:lnTo>
                      <a:pt x="0" y="0"/>
                    </a:lnTo>
                    <a:lnTo>
                      <a:pt x="80" y="64"/>
                    </a:lnTo>
                    <a:lnTo>
                      <a:pt x="849" y="64"/>
                    </a:lnTo>
                    <a:lnTo>
                      <a:pt x="849" y="0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2" name="íšḷîďê"/>
              <p:cNvSpPr/>
              <p:nvPr/>
            </p:nvSpPr>
            <p:spPr bwMode="auto">
              <a:xfrm>
                <a:off x="5536963" y="2741682"/>
                <a:ext cx="565982" cy="94909"/>
              </a:xfrm>
              <a:custGeom>
                <a:avLst/>
                <a:gdLst>
                  <a:gd name="T0" fmla="*/ 0 w 489"/>
                  <a:gd name="T1" fmla="*/ 0 h 82"/>
                  <a:gd name="T2" fmla="*/ 0 w 489"/>
                  <a:gd name="T3" fmla="*/ 82 h 82"/>
                  <a:gd name="T4" fmla="*/ 489 w 489"/>
                  <a:gd name="T5" fmla="*/ 82 h 82"/>
                  <a:gd name="T6" fmla="*/ 385 w 489"/>
                  <a:gd name="T7" fmla="*/ 0 h 82"/>
                  <a:gd name="T8" fmla="*/ 0 w 489"/>
                  <a:gd name="T9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9" h="82">
                    <a:moveTo>
                      <a:pt x="0" y="0"/>
                    </a:moveTo>
                    <a:lnTo>
                      <a:pt x="0" y="82"/>
                    </a:lnTo>
                    <a:lnTo>
                      <a:pt x="489" y="82"/>
                    </a:lnTo>
                    <a:lnTo>
                      <a:pt x="38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3" name="ísḷíďè"/>
              <p:cNvSpPr/>
              <p:nvPr/>
            </p:nvSpPr>
            <p:spPr bwMode="auto">
              <a:xfrm>
                <a:off x="5536963" y="2741682"/>
                <a:ext cx="565982" cy="94909"/>
              </a:xfrm>
              <a:custGeom>
                <a:avLst/>
                <a:gdLst>
                  <a:gd name="T0" fmla="*/ 0 w 489"/>
                  <a:gd name="T1" fmla="*/ 0 h 82"/>
                  <a:gd name="T2" fmla="*/ 0 w 489"/>
                  <a:gd name="T3" fmla="*/ 82 h 82"/>
                  <a:gd name="T4" fmla="*/ 489 w 489"/>
                  <a:gd name="T5" fmla="*/ 82 h 82"/>
                  <a:gd name="T6" fmla="*/ 385 w 489"/>
                  <a:gd name="T7" fmla="*/ 0 h 82"/>
                  <a:gd name="T8" fmla="*/ 0 w 489"/>
                  <a:gd name="T9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9" h="82">
                    <a:moveTo>
                      <a:pt x="0" y="0"/>
                    </a:moveTo>
                    <a:lnTo>
                      <a:pt x="0" y="82"/>
                    </a:lnTo>
                    <a:lnTo>
                      <a:pt x="489" y="82"/>
                    </a:lnTo>
                    <a:lnTo>
                      <a:pt x="385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4" name="išḻîďê"/>
              <p:cNvSpPr/>
              <p:nvPr/>
            </p:nvSpPr>
            <p:spPr bwMode="auto">
              <a:xfrm>
                <a:off x="6145770" y="2956963"/>
                <a:ext cx="498851" cy="74075"/>
              </a:xfrm>
              <a:custGeom>
                <a:avLst/>
                <a:gdLst>
                  <a:gd name="T0" fmla="*/ 431 w 431"/>
                  <a:gd name="T1" fmla="*/ 0 h 64"/>
                  <a:gd name="T2" fmla="*/ 0 w 431"/>
                  <a:gd name="T3" fmla="*/ 0 h 64"/>
                  <a:gd name="T4" fmla="*/ 12 w 431"/>
                  <a:gd name="T5" fmla="*/ 31 h 64"/>
                  <a:gd name="T6" fmla="*/ 33 w 431"/>
                  <a:gd name="T7" fmla="*/ 64 h 64"/>
                  <a:gd name="T8" fmla="*/ 431 w 431"/>
                  <a:gd name="T9" fmla="*/ 64 h 64"/>
                  <a:gd name="T10" fmla="*/ 431 w 431"/>
                  <a:gd name="T11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1" h="64">
                    <a:moveTo>
                      <a:pt x="431" y="0"/>
                    </a:moveTo>
                    <a:lnTo>
                      <a:pt x="0" y="0"/>
                    </a:lnTo>
                    <a:lnTo>
                      <a:pt x="12" y="31"/>
                    </a:lnTo>
                    <a:lnTo>
                      <a:pt x="33" y="64"/>
                    </a:lnTo>
                    <a:lnTo>
                      <a:pt x="431" y="64"/>
                    </a:lnTo>
                    <a:lnTo>
                      <a:pt x="431" y="0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5" name="íšḷíḓé"/>
              <p:cNvSpPr/>
              <p:nvPr/>
            </p:nvSpPr>
            <p:spPr bwMode="auto">
              <a:xfrm>
                <a:off x="5923544" y="2966223"/>
                <a:ext cx="287042" cy="94909"/>
              </a:xfrm>
              <a:custGeom>
                <a:avLst/>
                <a:gdLst>
                  <a:gd name="T0" fmla="*/ 205 w 248"/>
                  <a:gd name="T1" fmla="*/ 0 h 82"/>
                  <a:gd name="T2" fmla="*/ 0 w 248"/>
                  <a:gd name="T3" fmla="*/ 0 h 82"/>
                  <a:gd name="T4" fmla="*/ 0 w 248"/>
                  <a:gd name="T5" fmla="*/ 82 h 82"/>
                  <a:gd name="T6" fmla="*/ 248 w 248"/>
                  <a:gd name="T7" fmla="*/ 82 h 82"/>
                  <a:gd name="T8" fmla="*/ 221 w 248"/>
                  <a:gd name="T9" fmla="*/ 39 h 82"/>
                  <a:gd name="T10" fmla="*/ 205 w 248"/>
                  <a:gd name="T11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82">
                    <a:moveTo>
                      <a:pt x="205" y="0"/>
                    </a:moveTo>
                    <a:lnTo>
                      <a:pt x="0" y="0"/>
                    </a:lnTo>
                    <a:lnTo>
                      <a:pt x="0" y="82"/>
                    </a:lnTo>
                    <a:lnTo>
                      <a:pt x="248" y="82"/>
                    </a:lnTo>
                    <a:lnTo>
                      <a:pt x="221" y="39"/>
                    </a:lnTo>
                    <a:lnTo>
                      <a:pt x="205" y="0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6" name="îṡľîḓe"/>
              <p:cNvSpPr/>
              <p:nvPr/>
            </p:nvSpPr>
            <p:spPr bwMode="auto">
              <a:xfrm>
                <a:off x="5923544" y="2966223"/>
                <a:ext cx="287042" cy="94909"/>
              </a:xfrm>
              <a:custGeom>
                <a:avLst/>
                <a:gdLst>
                  <a:gd name="T0" fmla="*/ 205 w 248"/>
                  <a:gd name="T1" fmla="*/ 0 h 82"/>
                  <a:gd name="T2" fmla="*/ 0 w 248"/>
                  <a:gd name="T3" fmla="*/ 0 h 82"/>
                  <a:gd name="T4" fmla="*/ 0 w 248"/>
                  <a:gd name="T5" fmla="*/ 82 h 82"/>
                  <a:gd name="T6" fmla="*/ 248 w 248"/>
                  <a:gd name="T7" fmla="*/ 82 h 82"/>
                  <a:gd name="T8" fmla="*/ 221 w 248"/>
                  <a:gd name="T9" fmla="*/ 39 h 82"/>
                  <a:gd name="T10" fmla="*/ 205 w 248"/>
                  <a:gd name="T11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82">
                    <a:moveTo>
                      <a:pt x="205" y="0"/>
                    </a:moveTo>
                    <a:lnTo>
                      <a:pt x="0" y="0"/>
                    </a:lnTo>
                    <a:lnTo>
                      <a:pt x="0" y="82"/>
                    </a:lnTo>
                    <a:lnTo>
                      <a:pt x="248" y="82"/>
                    </a:lnTo>
                    <a:lnTo>
                      <a:pt x="221" y="39"/>
                    </a:lnTo>
                    <a:lnTo>
                      <a:pt x="20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7" name="ïŝlíḋé"/>
              <p:cNvSpPr/>
              <p:nvPr/>
            </p:nvSpPr>
            <p:spPr bwMode="auto">
              <a:xfrm>
                <a:off x="5490666" y="3164143"/>
                <a:ext cx="888904" cy="93752"/>
              </a:xfrm>
              <a:custGeom>
                <a:avLst/>
                <a:gdLst>
                  <a:gd name="T0" fmla="*/ 0 w 768"/>
                  <a:gd name="T1" fmla="*/ 0 h 81"/>
                  <a:gd name="T2" fmla="*/ 0 w 768"/>
                  <a:gd name="T3" fmla="*/ 81 h 81"/>
                  <a:gd name="T4" fmla="*/ 768 w 768"/>
                  <a:gd name="T5" fmla="*/ 81 h 81"/>
                  <a:gd name="T6" fmla="*/ 756 w 768"/>
                  <a:gd name="T7" fmla="*/ 0 h 81"/>
                  <a:gd name="T8" fmla="*/ 0 w 768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8" h="81">
                    <a:moveTo>
                      <a:pt x="0" y="0"/>
                    </a:moveTo>
                    <a:lnTo>
                      <a:pt x="0" y="81"/>
                    </a:lnTo>
                    <a:lnTo>
                      <a:pt x="768" y="81"/>
                    </a:lnTo>
                    <a:lnTo>
                      <a:pt x="75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8" name="îṣḻîḍe"/>
              <p:cNvSpPr/>
              <p:nvPr/>
            </p:nvSpPr>
            <p:spPr bwMode="auto">
              <a:xfrm>
                <a:off x="5490666" y="3164143"/>
                <a:ext cx="888904" cy="93752"/>
              </a:xfrm>
              <a:custGeom>
                <a:avLst/>
                <a:gdLst>
                  <a:gd name="T0" fmla="*/ 0 w 768"/>
                  <a:gd name="T1" fmla="*/ 0 h 81"/>
                  <a:gd name="T2" fmla="*/ 0 w 768"/>
                  <a:gd name="T3" fmla="*/ 81 h 81"/>
                  <a:gd name="T4" fmla="*/ 768 w 768"/>
                  <a:gd name="T5" fmla="*/ 81 h 81"/>
                  <a:gd name="T6" fmla="*/ 756 w 768"/>
                  <a:gd name="T7" fmla="*/ 0 h 81"/>
                  <a:gd name="T8" fmla="*/ 0 w 768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8" h="81">
                    <a:moveTo>
                      <a:pt x="0" y="0"/>
                    </a:moveTo>
                    <a:lnTo>
                      <a:pt x="0" y="81"/>
                    </a:lnTo>
                    <a:lnTo>
                      <a:pt x="768" y="81"/>
                    </a:lnTo>
                    <a:lnTo>
                      <a:pt x="756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9" name="îṩ1îdê"/>
              <p:cNvSpPr/>
              <p:nvPr/>
            </p:nvSpPr>
            <p:spPr bwMode="auto">
              <a:xfrm>
                <a:off x="6261513" y="3175717"/>
                <a:ext cx="648159" cy="74075"/>
              </a:xfrm>
              <a:custGeom>
                <a:avLst/>
                <a:gdLst>
                  <a:gd name="T0" fmla="*/ 560 w 560"/>
                  <a:gd name="T1" fmla="*/ 0 h 64"/>
                  <a:gd name="T2" fmla="*/ 0 w 560"/>
                  <a:gd name="T3" fmla="*/ 0 h 64"/>
                  <a:gd name="T4" fmla="*/ 9 w 560"/>
                  <a:gd name="T5" fmla="*/ 64 h 64"/>
                  <a:gd name="T6" fmla="*/ 560 w 560"/>
                  <a:gd name="T7" fmla="*/ 64 h 64"/>
                  <a:gd name="T8" fmla="*/ 560 w 560"/>
                  <a:gd name="T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0" h="64">
                    <a:moveTo>
                      <a:pt x="560" y="0"/>
                    </a:moveTo>
                    <a:lnTo>
                      <a:pt x="0" y="0"/>
                    </a:lnTo>
                    <a:lnTo>
                      <a:pt x="9" y="64"/>
                    </a:lnTo>
                    <a:lnTo>
                      <a:pt x="560" y="64"/>
                    </a:lnTo>
                    <a:lnTo>
                      <a:pt x="560" y="0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0" name="ísḷiḑé"/>
              <p:cNvSpPr/>
              <p:nvPr/>
            </p:nvSpPr>
            <p:spPr bwMode="auto">
              <a:xfrm>
                <a:off x="5884191" y="3388684"/>
                <a:ext cx="403942" cy="93752"/>
              </a:xfrm>
              <a:custGeom>
                <a:avLst/>
                <a:gdLst>
                  <a:gd name="T0" fmla="*/ 0 w 349"/>
                  <a:gd name="T1" fmla="*/ 0 h 81"/>
                  <a:gd name="T2" fmla="*/ 0 w 349"/>
                  <a:gd name="T3" fmla="*/ 81 h 81"/>
                  <a:gd name="T4" fmla="*/ 349 w 349"/>
                  <a:gd name="T5" fmla="*/ 81 h 81"/>
                  <a:gd name="T6" fmla="*/ 346 w 349"/>
                  <a:gd name="T7" fmla="*/ 0 h 81"/>
                  <a:gd name="T8" fmla="*/ 0 w 349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9" h="81">
                    <a:moveTo>
                      <a:pt x="0" y="0"/>
                    </a:moveTo>
                    <a:lnTo>
                      <a:pt x="0" y="81"/>
                    </a:lnTo>
                    <a:lnTo>
                      <a:pt x="349" y="81"/>
                    </a:lnTo>
                    <a:lnTo>
                      <a:pt x="34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1" name="îSlidé"/>
              <p:cNvSpPr/>
              <p:nvPr/>
            </p:nvSpPr>
            <p:spPr bwMode="auto">
              <a:xfrm>
                <a:off x="5884191" y="3388684"/>
                <a:ext cx="403942" cy="93752"/>
              </a:xfrm>
              <a:custGeom>
                <a:avLst/>
                <a:gdLst>
                  <a:gd name="T0" fmla="*/ 0 w 349"/>
                  <a:gd name="T1" fmla="*/ 0 h 81"/>
                  <a:gd name="T2" fmla="*/ 0 w 349"/>
                  <a:gd name="T3" fmla="*/ 81 h 81"/>
                  <a:gd name="T4" fmla="*/ 349 w 349"/>
                  <a:gd name="T5" fmla="*/ 81 h 81"/>
                  <a:gd name="T6" fmla="*/ 346 w 349"/>
                  <a:gd name="T7" fmla="*/ 0 h 81"/>
                  <a:gd name="T8" fmla="*/ 0 w 349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9" h="81">
                    <a:moveTo>
                      <a:pt x="0" y="0"/>
                    </a:moveTo>
                    <a:lnTo>
                      <a:pt x="0" y="81"/>
                    </a:lnTo>
                    <a:lnTo>
                      <a:pt x="349" y="81"/>
                    </a:lnTo>
                    <a:lnTo>
                      <a:pt x="346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2" name="íŝlîḑe"/>
              <p:cNvSpPr/>
              <p:nvPr/>
            </p:nvSpPr>
            <p:spPr bwMode="auto">
              <a:xfrm>
                <a:off x="6284661" y="3393314"/>
                <a:ext cx="932886" cy="74075"/>
              </a:xfrm>
              <a:custGeom>
                <a:avLst/>
                <a:gdLst>
                  <a:gd name="T0" fmla="*/ 806 w 806"/>
                  <a:gd name="T1" fmla="*/ 0 h 64"/>
                  <a:gd name="T2" fmla="*/ 0 w 806"/>
                  <a:gd name="T3" fmla="*/ 0 h 64"/>
                  <a:gd name="T4" fmla="*/ 1 w 806"/>
                  <a:gd name="T5" fmla="*/ 64 h 64"/>
                  <a:gd name="T6" fmla="*/ 806 w 806"/>
                  <a:gd name="T7" fmla="*/ 64 h 64"/>
                  <a:gd name="T8" fmla="*/ 806 w 806"/>
                  <a:gd name="T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6" h="64">
                    <a:moveTo>
                      <a:pt x="806" y="0"/>
                    </a:moveTo>
                    <a:lnTo>
                      <a:pt x="0" y="0"/>
                    </a:lnTo>
                    <a:lnTo>
                      <a:pt x="1" y="64"/>
                    </a:lnTo>
                    <a:lnTo>
                      <a:pt x="806" y="64"/>
                    </a:lnTo>
                    <a:lnTo>
                      <a:pt x="806" y="0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3" name="işļiďe"/>
              <p:cNvSpPr/>
              <p:nvPr/>
            </p:nvSpPr>
            <p:spPr bwMode="auto">
              <a:xfrm>
                <a:off x="5687429" y="3595863"/>
                <a:ext cx="564824" cy="94909"/>
              </a:xfrm>
              <a:custGeom>
                <a:avLst/>
                <a:gdLst>
                  <a:gd name="T0" fmla="*/ 0 w 488"/>
                  <a:gd name="T1" fmla="*/ 82 h 82"/>
                  <a:gd name="T2" fmla="*/ 469 w 488"/>
                  <a:gd name="T3" fmla="*/ 82 h 82"/>
                  <a:gd name="T4" fmla="*/ 481 w 488"/>
                  <a:gd name="T5" fmla="*/ 51 h 82"/>
                  <a:gd name="T6" fmla="*/ 488 w 488"/>
                  <a:gd name="T7" fmla="*/ 0 h 82"/>
                  <a:gd name="T8" fmla="*/ 0 w 488"/>
                  <a:gd name="T9" fmla="*/ 0 h 82"/>
                  <a:gd name="T10" fmla="*/ 0 w 488"/>
                  <a:gd name="T11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8" h="82">
                    <a:moveTo>
                      <a:pt x="0" y="82"/>
                    </a:moveTo>
                    <a:lnTo>
                      <a:pt x="469" y="82"/>
                    </a:lnTo>
                    <a:lnTo>
                      <a:pt x="481" y="51"/>
                    </a:lnTo>
                    <a:lnTo>
                      <a:pt x="488" y="0"/>
                    </a:lnTo>
                    <a:lnTo>
                      <a:pt x="0" y="0"/>
                    </a:lnTo>
                    <a:lnTo>
                      <a:pt x="0" y="82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4" name="ïŝľîḑe"/>
              <p:cNvSpPr/>
              <p:nvPr/>
            </p:nvSpPr>
            <p:spPr bwMode="auto">
              <a:xfrm>
                <a:off x="5687429" y="3595863"/>
                <a:ext cx="564824" cy="94909"/>
              </a:xfrm>
              <a:custGeom>
                <a:avLst/>
                <a:gdLst>
                  <a:gd name="T0" fmla="*/ 0 w 488"/>
                  <a:gd name="T1" fmla="*/ 82 h 82"/>
                  <a:gd name="T2" fmla="*/ 469 w 488"/>
                  <a:gd name="T3" fmla="*/ 82 h 82"/>
                  <a:gd name="T4" fmla="*/ 481 w 488"/>
                  <a:gd name="T5" fmla="*/ 51 h 82"/>
                  <a:gd name="T6" fmla="*/ 488 w 488"/>
                  <a:gd name="T7" fmla="*/ 0 h 82"/>
                  <a:gd name="T8" fmla="*/ 0 w 488"/>
                  <a:gd name="T9" fmla="*/ 0 h 82"/>
                  <a:gd name="T10" fmla="*/ 0 w 488"/>
                  <a:gd name="T11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8" h="82">
                    <a:moveTo>
                      <a:pt x="0" y="82"/>
                    </a:moveTo>
                    <a:lnTo>
                      <a:pt x="469" y="82"/>
                    </a:lnTo>
                    <a:lnTo>
                      <a:pt x="481" y="51"/>
                    </a:lnTo>
                    <a:lnTo>
                      <a:pt x="488" y="0"/>
                    </a:lnTo>
                    <a:lnTo>
                      <a:pt x="0" y="0"/>
                    </a:lnTo>
                    <a:lnTo>
                      <a:pt x="0" y="8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5" name="î$ľîḋé"/>
              <p:cNvSpPr/>
              <p:nvPr/>
            </p:nvSpPr>
            <p:spPr bwMode="auto">
              <a:xfrm>
                <a:off x="6255726" y="3610910"/>
                <a:ext cx="795153" cy="74075"/>
              </a:xfrm>
              <a:custGeom>
                <a:avLst/>
                <a:gdLst>
                  <a:gd name="T0" fmla="*/ 0 w 687"/>
                  <a:gd name="T1" fmla="*/ 64 h 64"/>
                  <a:gd name="T2" fmla="*/ 687 w 687"/>
                  <a:gd name="T3" fmla="*/ 64 h 64"/>
                  <a:gd name="T4" fmla="*/ 687 w 687"/>
                  <a:gd name="T5" fmla="*/ 0 h 64"/>
                  <a:gd name="T6" fmla="*/ 14 w 687"/>
                  <a:gd name="T7" fmla="*/ 0 h 64"/>
                  <a:gd name="T8" fmla="*/ 9 w 687"/>
                  <a:gd name="T9" fmla="*/ 39 h 64"/>
                  <a:gd name="T10" fmla="*/ 0 w 687"/>
                  <a:gd name="T1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87" h="64">
                    <a:moveTo>
                      <a:pt x="0" y="64"/>
                    </a:moveTo>
                    <a:lnTo>
                      <a:pt x="687" y="64"/>
                    </a:lnTo>
                    <a:lnTo>
                      <a:pt x="687" y="0"/>
                    </a:lnTo>
                    <a:lnTo>
                      <a:pt x="14" y="0"/>
                    </a:lnTo>
                    <a:lnTo>
                      <a:pt x="9" y="39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6" name="íṧ1íḑè"/>
              <p:cNvSpPr/>
              <p:nvPr/>
            </p:nvSpPr>
            <p:spPr bwMode="auto">
              <a:xfrm>
                <a:off x="6173548" y="3828506"/>
                <a:ext cx="430563" cy="74075"/>
              </a:xfrm>
              <a:custGeom>
                <a:avLst/>
                <a:gdLst>
                  <a:gd name="T0" fmla="*/ 0 w 372"/>
                  <a:gd name="T1" fmla="*/ 64 h 64"/>
                  <a:gd name="T2" fmla="*/ 372 w 372"/>
                  <a:gd name="T3" fmla="*/ 64 h 64"/>
                  <a:gd name="T4" fmla="*/ 372 w 372"/>
                  <a:gd name="T5" fmla="*/ 0 h 64"/>
                  <a:gd name="T6" fmla="*/ 24 w 372"/>
                  <a:gd name="T7" fmla="*/ 0 h 64"/>
                  <a:gd name="T8" fmla="*/ 21 w 372"/>
                  <a:gd name="T9" fmla="*/ 9 h 64"/>
                  <a:gd name="T10" fmla="*/ 0 w 372"/>
                  <a:gd name="T1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2" h="64">
                    <a:moveTo>
                      <a:pt x="0" y="64"/>
                    </a:moveTo>
                    <a:lnTo>
                      <a:pt x="372" y="64"/>
                    </a:lnTo>
                    <a:lnTo>
                      <a:pt x="372" y="0"/>
                    </a:lnTo>
                    <a:lnTo>
                      <a:pt x="24" y="0"/>
                    </a:lnTo>
                    <a:lnTo>
                      <a:pt x="21" y="9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7" name="îṡļíḍé"/>
              <p:cNvSpPr/>
              <p:nvPr/>
            </p:nvSpPr>
            <p:spPr bwMode="auto">
              <a:xfrm>
                <a:off x="5946692" y="4046102"/>
                <a:ext cx="922470" cy="74075"/>
              </a:xfrm>
              <a:custGeom>
                <a:avLst/>
                <a:gdLst>
                  <a:gd name="T0" fmla="*/ 0 w 797"/>
                  <a:gd name="T1" fmla="*/ 64 h 64"/>
                  <a:gd name="T2" fmla="*/ 797 w 797"/>
                  <a:gd name="T3" fmla="*/ 64 h 64"/>
                  <a:gd name="T4" fmla="*/ 797 w 797"/>
                  <a:gd name="T5" fmla="*/ 0 h 64"/>
                  <a:gd name="T6" fmla="*/ 59 w 797"/>
                  <a:gd name="T7" fmla="*/ 0 h 64"/>
                  <a:gd name="T8" fmla="*/ 48 w 797"/>
                  <a:gd name="T9" fmla="*/ 8 h 64"/>
                  <a:gd name="T10" fmla="*/ 0 w 797"/>
                  <a:gd name="T1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7" h="64">
                    <a:moveTo>
                      <a:pt x="0" y="64"/>
                    </a:moveTo>
                    <a:lnTo>
                      <a:pt x="797" y="64"/>
                    </a:lnTo>
                    <a:lnTo>
                      <a:pt x="797" y="0"/>
                    </a:lnTo>
                    <a:lnTo>
                      <a:pt x="59" y="0"/>
                    </a:lnTo>
                    <a:lnTo>
                      <a:pt x="48" y="8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8" name="ïSḻïḍe"/>
              <p:cNvSpPr/>
              <p:nvPr/>
            </p:nvSpPr>
            <p:spPr bwMode="auto">
              <a:xfrm>
                <a:off x="5767292" y="3822719"/>
                <a:ext cx="402785" cy="94909"/>
              </a:xfrm>
              <a:custGeom>
                <a:avLst/>
                <a:gdLst>
                  <a:gd name="T0" fmla="*/ 0 w 348"/>
                  <a:gd name="T1" fmla="*/ 0 h 82"/>
                  <a:gd name="T2" fmla="*/ 0 w 348"/>
                  <a:gd name="T3" fmla="*/ 82 h 82"/>
                  <a:gd name="T4" fmla="*/ 348 w 348"/>
                  <a:gd name="T5" fmla="*/ 82 h 82"/>
                  <a:gd name="T6" fmla="*/ 345 w 348"/>
                  <a:gd name="T7" fmla="*/ 0 h 82"/>
                  <a:gd name="T8" fmla="*/ 0 w 348"/>
                  <a:gd name="T9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8" h="82">
                    <a:moveTo>
                      <a:pt x="0" y="0"/>
                    </a:moveTo>
                    <a:lnTo>
                      <a:pt x="0" y="82"/>
                    </a:lnTo>
                    <a:lnTo>
                      <a:pt x="348" y="82"/>
                    </a:lnTo>
                    <a:lnTo>
                      <a:pt x="34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9" name="íślíḋê"/>
              <p:cNvSpPr/>
              <p:nvPr/>
            </p:nvSpPr>
            <p:spPr bwMode="auto">
              <a:xfrm>
                <a:off x="5767292" y="3822719"/>
                <a:ext cx="402785" cy="94909"/>
              </a:xfrm>
              <a:custGeom>
                <a:avLst/>
                <a:gdLst>
                  <a:gd name="T0" fmla="*/ 0 w 348"/>
                  <a:gd name="T1" fmla="*/ 0 h 82"/>
                  <a:gd name="T2" fmla="*/ 0 w 348"/>
                  <a:gd name="T3" fmla="*/ 82 h 82"/>
                  <a:gd name="T4" fmla="*/ 348 w 348"/>
                  <a:gd name="T5" fmla="*/ 82 h 82"/>
                  <a:gd name="T6" fmla="*/ 345 w 348"/>
                  <a:gd name="T7" fmla="*/ 0 h 82"/>
                  <a:gd name="T8" fmla="*/ 0 w 348"/>
                  <a:gd name="T9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8" h="82">
                    <a:moveTo>
                      <a:pt x="0" y="0"/>
                    </a:moveTo>
                    <a:lnTo>
                      <a:pt x="0" y="82"/>
                    </a:lnTo>
                    <a:lnTo>
                      <a:pt x="348" y="82"/>
                    </a:lnTo>
                    <a:lnTo>
                      <a:pt x="345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0" name="işľïḓê"/>
              <p:cNvSpPr/>
              <p:nvPr/>
            </p:nvSpPr>
            <p:spPr bwMode="auto">
              <a:xfrm>
                <a:off x="4230229" y="3770635"/>
                <a:ext cx="531259" cy="415517"/>
              </a:xfrm>
              <a:custGeom>
                <a:avLst/>
                <a:gdLst>
                  <a:gd name="T0" fmla="*/ 76 w 459"/>
                  <a:gd name="T1" fmla="*/ 359 h 359"/>
                  <a:gd name="T2" fmla="*/ 0 w 459"/>
                  <a:gd name="T3" fmla="*/ 235 h 359"/>
                  <a:gd name="T4" fmla="*/ 383 w 459"/>
                  <a:gd name="T5" fmla="*/ 0 h 359"/>
                  <a:gd name="T6" fmla="*/ 459 w 459"/>
                  <a:gd name="T7" fmla="*/ 124 h 359"/>
                  <a:gd name="T8" fmla="*/ 76 w 459"/>
                  <a:gd name="T9" fmla="*/ 359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9" h="359">
                    <a:moveTo>
                      <a:pt x="76" y="359"/>
                    </a:moveTo>
                    <a:lnTo>
                      <a:pt x="0" y="235"/>
                    </a:lnTo>
                    <a:lnTo>
                      <a:pt x="383" y="0"/>
                    </a:lnTo>
                    <a:lnTo>
                      <a:pt x="459" y="124"/>
                    </a:lnTo>
                    <a:lnTo>
                      <a:pt x="76" y="359"/>
                    </a:lnTo>
                    <a:close/>
                  </a:path>
                </a:pathLst>
              </a:custGeom>
              <a:solidFill>
                <a:srgbClr val="4368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1" name="iṣľîḍé"/>
              <p:cNvSpPr/>
              <p:nvPr/>
            </p:nvSpPr>
            <p:spPr bwMode="auto">
              <a:xfrm>
                <a:off x="4351758" y="2362046"/>
                <a:ext cx="2156287" cy="2153971"/>
              </a:xfrm>
              <a:custGeom>
                <a:avLst/>
                <a:gdLst>
                  <a:gd name="T0" fmla="*/ 2838 w 3254"/>
                  <a:gd name="T1" fmla="*/ 875 h 3254"/>
                  <a:gd name="T2" fmla="*/ 875 w 3254"/>
                  <a:gd name="T3" fmla="*/ 416 h 3254"/>
                  <a:gd name="T4" fmla="*/ 415 w 3254"/>
                  <a:gd name="T5" fmla="*/ 2379 h 3254"/>
                  <a:gd name="T6" fmla="*/ 2379 w 3254"/>
                  <a:gd name="T7" fmla="*/ 2839 h 3254"/>
                  <a:gd name="T8" fmla="*/ 2838 w 3254"/>
                  <a:gd name="T9" fmla="*/ 875 h 3254"/>
                  <a:gd name="T10" fmla="*/ 2250 w 3254"/>
                  <a:gd name="T11" fmla="*/ 2631 h 3254"/>
                  <a:gd name="T12" fmla="*/ 623 w 3254"/>
                  <a:gd name="T13" fmla="*/ 2250 h 3254"/>
                  <a:gd name="T14" fmla="*/ 1004 w 3254"/>
                  <a:gd name="T15" fmla="*/ 623 h 3254"/>
                  <a:gd name="T16" fmla="*/ 2630 w 3254"/>
                  <a:gd name="T17" fmla="*/ 1004 h 3254"/>
                  <a:gd name="T18" fmla="*/ 2250 w 3254"/>
                  <a:gd name="T19" fmla="*/ 2631 h 3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54" h="3254">
                    <a:moveTo>
                      <a:pt x="2838" y="875"/>
                    </a:moveTo>
                    <a:cubicBezTo>
                      <a:pt x="2423" y="206"/>
                      <a:pt x="1544" y="0"/>
                      <a:pt x="875" y="416"/>
                    </a:cubicBezTo>
                    <a:cubicBezTo>
                      <a:pt x="206" y="831"/>
                      <a:pt x="0" y="1710"/>
                      <a:pt x="415" y="2379"/>
                    </a:cubicBezTo>
                    <a:cubicBezTo>
                      <a:pt x="830" y="3048"/>
                      <a:pt x="1710" y="3254"/>
                      <a:pt x="2379" y="2839"/>
                    </a:cubicBezTo>
                    <a:cubicBezTo>
                      <a:pt x="3048" y="2423"/>
                      <a:pt x="3254" y="1544"/>
                      <a:pt x="2838" y="875"/>
                    </a:cubicBezTo>
                    <a:moveTo>
                      <a:pt x="2250" y="2631"/>
                    </a:moveTo>
                    <a:cubicBezTo>
                      <a:pt x="1695" y="2975"/>
                      <a:pt x="967" y="2804"/>
                      <a:pt x="623" y="2250"/>
                    </a:cubicBezTo>
                    <a:cubicBezTo>
                      <a:pt x="279" y="1696"/>
                      <a:pt x="450" y="967"/>
                      <a:pt x="1004" y="623"/>
                    </a:cubicBezTo>
                    <a:cubicBezTo>
                      <a:pt x="1558" y="280"/>
                      <a:pt x="2286" y="450"/>
                      <a:pt x="2630" y="1004"/>
                    </a:cubicBezTo>
                    <a:cubicBezTo>
                      <a:pt x="2974" y="1559"/>
                      <a:pt x="2804" y="2287"/>
                      <a:pt x="2250" y="2631"/>
                    </a:cubicBezTo>
                  </a:path>
                </a:pathLst>
              </a:custGeom>
              <a:solidFill>
                <a:srgbClr val="4368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2" name="iṣliḑé"/>
              <p:cNvSpPr/>
              <p:nvPr/>
            </p:nvSpPr>
            <p:spPr bwMode="auto">
              <a:xfrm>
                <a:off x="4646902" y="3113216"/>
                <a:ext cx="71760" cy="652789"/>
              </a:xfrm>
              <a:custGeom>
                <a:avLst/>
                <a:gdLst>
                  <a:gd name="T0" fmla="*/ 108 w 108"/>
                  <a:gd name="T1" fmla="*/ 0 h 986"/>
                  <a:gd name="T2" fmla="*/ 1 w 108"/>
                  <a:gd name="T3" fmla="*/ 495 h 986"/>
                  <a:gd name="T4" fmla="*/ 108 w 108"/>
                  <a:gd name="T5" fmla="*/ 986 h 986"/>
                  <a:gd name="T6" fmla="*/ 108 w 108"/>
                  <a:gd name="T7" fmla="*/ 0 h 9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8" h="986">
                    <a:moveTo>
                      <a:pt x="108" y="0"/>
                    </a:moveTo>
                    <a:cubicBezTo>
                      <a:pt x="37" y="155"/>
                      <a:pt x="0" y="324"/>
                      <a:pt x="1" y="495"/>
                    </a:cubicBezTo>
                    <a:cubicBezTo>
                      <a:pt x="1" y="661"/>
                      <a:pt x="36" y="828"/>
                      <a:pt x="108" y="986"/>
                    </a:cubicBezTo>
                    <a:cubicBezTo>
                      <a:pt x="108" y="0"/>
                      <a:pt x="108" y="0"/>
                      <a:pt x="108" y="0"/>
                    </a:cubicBezTo>
                  </a:path>
                </a:pathLst>
              </a:custGeom>
              <a:solidFill>
                <a:srgbClr val="B8D5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3" name="îṡľïḓé"/>
              <p:cNvSpPr/>
              <p:nvPr/>
            </p:nvSpPr>
            <p:spPr bwMode="auto">
              <a:xfrm>
                <a:off x="4718663" y="2657190"/>
                <a:ext cx="1334514" cy="1194464"/>
              </a:xfrm>
              <a:custGeom>
                <a:avLst/>
                <a:gdLst>
                  <a:gd name="T0" fmla="*/ 1073 w 2014"/>
                  <a:gd name="T1" fmla="*/ 0 h 1804"/>
                  <a:gd name="T2" fmla="*/ 1073 w 2014"/>
                  <a:gd name="T3" fmla="*/ 0 h 1804"/>
                  <a:gd name="T4" fmla="*/ 455 w 2014"/>
                  <a:gd name="T5" fmla="*/ 175 h 1804"/>
                  <a:gd name="T6" fmla="*/ 451 w 2014"/>
                  <a:gd name="T7" fmla="*/ 177 h 1804"/>
                  <a:gd name="T8" fmla="*/ 451 w 2014"/>
                  <a:gd name="T9" fmla="*/ 177 h 1804"/>
                  <a:gd name="T10" fmla="*/ 0 w 2014"/>
                  <a:gd name="T11" fmla="*/ 688 h 1804"/>
                  <a:gd name="T12" fmla="*/ 0 w 2014"/>
                  <a:gd name="T13" fmla="*/ 1674 h 1804"/>
                  <a:gd name="T14" fmla="*/ 70 w 2014"/>
                  <a:gd name="T15" fmla="*/ 1804 h 1804"/>
                  <a:gd name="T16" fmla="*/ 70 w 2014"/>
                  <a:gd name="T17" fmla="*/ 1804 h 1804"/>
                  <a:gd name="T18" fmla="*/ 70 w 2014"/>
                  <a:gd name="T19" fmla="*/ 1804 h 1804"/>
                  <a:gd name="T20" fmla="*/ 461 w 2014"/>
                  <a:gd name="T21" fmla="*/ 1561 h 1804"/>
                  <a:gd name="T22" fmla="*/ 389 w 2014"/>
                  <a:gd name="T23" fmla="*/ 1561 h 1804"/>
                  <a:gd name="T24" fmla="*/ 389 w 2014"/>
                  <a:gd name="T25" fmla="*/ 1418 h 1804"/>
                  <a:gd name="T26" fmla="*/ 691 w 2014"/>
                  <a:gd name="T27" fmla="*/ 1418 h 1804"/>
                  <a:gd name="T28" fmla="*/ 1515 w 2014"/>
                  <a:gd name="T29" fmla="*/ 907 h 1804"/>
                  <a:gd name="T30" fmla="*/ 1166 w 2014"/>
                  <a:gd name="T31" fmla="*/ 907 h 1804"/>
                  <a:gd name="T32" fmla="*/ 1166 w 2014"/>
                  <a:gd name="T33" fmla="*/ 765 h 1804"/>
                  <a:gd name="T34" fmla="*/ 1745 w 2014"/>
                  <a:gd name="T35" fmla="*/ 765 h 1804"/>
                  <a:gd name="T36" fmla="*/ 1995 w 2014"/>
                  <a:gd name="T37" fmla="*/ 609 h 1804"/>
                  <a:gd name="T38" fmla="*/ 1819 w 2014"/>
                  <a:gd name="T39" fmla="*/ 609 h 1804"/>
                  <a:gd name="T40" fmla="*/ 1819 w 2014"/>
                  <a:gd name="T41" fmla="*/ 466 h 1804"/>
                  <a:gd name="T42" fmla="*/ 2014 w 2014"/>
                  <a:gd name="T43" fmla="*/ 466 h 1804"/>
                  <a:gd name="T44" fmla="*/ 1826 w 2014"/>
                  <a:gd name="T45" fmla="*/ 270 h 1804"/>
                  <a:gd name="T46" fmla="*/ 1236 w 2014"/>
                  <a:gd name="T47" fmla="*/ 270 h 1804"/>
                  <a:gd name="T48" fmla="*/ 1236 w 2014"/>
                  <a:gd name="T49" fmla="*/ 127 h 1804"/>
                  <a:gd name="T50" fmla="*/ 1607 w 2014"/>
                  <a:gd name="T51" fmla="*/ 127 h 1804"/>
                  <a:gd name="T52" fmla="*/ 1073 w 2014"/>
                  <a:gd name="T53" fmla="*/ 0 h 1804"/>
                  <a:gd name="T54" fmla="*/ 1073 w 2014"/>
                  <a:gd name="T55" fmla="*/ 0 h 1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014" h="1804">
                    <a:moveTo>
                      <a:pt x="1073" y="0"/>
                    </a:moveTo>
                    <a:cubicBezTo>
                      <a:pt x="1073" y="0"/>
                      <a:pt x="1073" y="0"/>
                      <a:pt x="1073" y="0"/>
                    </a:cubicBezTo>
                    <a:cubicBezTo>
                      <a:pt x="862" y="0"/>
                      <a:pt x="648" y="56"/>
                      <a:pt x="455" y="175"/>
                    </a:cubicBezTo>
                    <a:cubicBezTo>
                      <a:pt x="454" y="176"/>
                      <a:pt x="452" y="177"/>
                      <a:pt x="451" y="177"/>
                    </a:cubicBezTo>
                    <a:cubicBezTo>
                      <a:pt x="451" y="177"/>
                      <a:pt x="451" y="177"/>
                      <a:pt x="451" y="177"/>
                    </a:cubicBezTo>
                    <a:cubicBezTo>
                      <a:pt x="246" y="305"/>
                      <a:pt x="94" y="484"/>
                      <a:pt x="0" y="688"/>
                    </a:cubicBezTo>
                    <a:cubicBezTo>
                      <a:pt x="0" y="1674"/>
                      <a:pt x="0" y="1674"/>
                      <a:pt x="0" y="1674"/>
                    </a:cubicBezTo>
                    <a:cubicBezTo>
                      <a:pt x="21" y="1718"/>
                      <a:pt x="44" y="1762"/>
                      <a:pt x="70" y="1804"/>
                    </a:cubicBezTo>
                    <a:cubicBezTo>
                      <a:pt x="70" y="1804"/>
                      <a:pt x="70" y="1804"/>
                      <a:pt x="70" y="1804"/>
                    </a:cubicBezTo>
                    <a:cubicBezTo>
                      <a:pt x="70" y="1804"/>
                      <a:pt x="70" y="1804"/>
                      <a:pt x="70" y="1804"/>
                    </a:cubicBezTo>
                    <a:cubicBezTo>
                      <a:pt x="461" y="1561"/>
                      <a:pt x="461" y="1561"/>
                      <a:pt x="461" y="1561"/>
                    </a:cubicBezTo>
                    <a:cubicBezTo>
                      <a:pt x="389" y="1561"/>
                      <a:pt x="389" y="1561"/>
                      <a:pt x="389" y="1561"/>
                    </a:cubicBezTo>
                    <a:cubicBezTo>
                      <a:pt x="389" y="1418"/>
                      <a:pt x="389" y="1418"/>
                      <a:pt x="389" y="1418"/>
                    </a:cubicBezTo>
                    <a:cubicBezTo>
                      <a:pt x="691" y="1418"/>
                      <a:pt x="691" y="1418"/>
                      <a:pt x="691" y="1418"/>
                    </a:cubicBezTo>
                    <a:cubicBezTo>
                      <a:pt x="1515" y="907"/>
                      <a:pt x="1515" y="907"/>
                      <a:pt x="1515" y="907"/>
                    </a:cubicBezTo>
                    <a:cubicBezTo>
                      <a:pt x="1166" y="907"/>
                      <a:pt x="1166" y="907"/>
                      <a:pt x="1166" y="907"/>
                    </a:cubicBezTo>
                    <a:cubicBezTo>
                      <a:pt x="1166" y="765"/>
                      <a:pt x="1166" y="765"/>
                      <a:pt x="1166" y="765"/>
                    </a:cubicBezTo>
                    <a:cubicBezTo>
                      <a:pt x="1745" y="765"/>
                      <a:pt x="1745" y="765"/>
                      <a:pt x="1745" y="765"/>
                    </a:cubicBezTo>
                    <a:cubicBezTo>
                      <a:pt x="1995" y="609"/>
                      <a:pt x="1995" y="609"/>
                      <a:pt x="1995" y="609"/>
                    </a:cubicBezTo>
                    <a:cubicBezTo>
                      <a:pt x="1819" y="609"/>
                      <a:pt x="1819" y="609"/>
                      <a:pt x="1819" y="609"/>
                    </a:cubicBezTo>
                    <a:cubicBezTo>
                      <a:pt x="1819" y="466"/>
                      <a:pt x="1819" y="466"/>
                      <a:pt x="1819" y="466"/>
                    </a:cubicBezTo>
                    <a:cubicBezTo>
                      <a:pt x="2014" y="466"/>
                      <a:pt x="2014" y="466"/>
                      <a:pt x="2014" y="466"/>
                    </a:cubicBezTo>
                    <a:cubicBezTo>
                      <a:pt x="1958" y="392"/>
                      <a:pt x="1895" y="327"/>
                      <a:pt x="1826" y="270"/>
                    </a:cubicBezTo>
                    <a:cubicBezTo>
                      <a:pt x="1236" y="270"/>
                      <a:pt x="1236" y="270"/>
                      <a:pt x="1236" y="270"/>
                    </a:cubicBezTo>
                    <a:cubicBezTo>
                      <a:pt x="1236" y="127"/>
                      <a:pt x="1236" y="127"/>
                      <a:pt x="1236" y="127"/>
                    </a:cubicBezTo>
                    <a:cubicBezTo>
                      <a:pt x="1607" y="127"/>
                      <a:pt x="1607" y="127"/>
                      <a:pt x="1607" y="127"/>
                    </a:cubicBezTo>
                    <a:cubicBezTo>
                      <a:pt x="1442" y="43"/>
                      <a:pt x="1258" y="0"/>
                      <a:pt x="1073" y="0"/>
                    </a:cubicBezTo>
                    <a:cubicBezTo>
                      <a:pt x="1073" y="0"/>
                      <a:pt x="1073" y="0"/>
                      <a:pt x="1073" y="0"/>
                    </a:cubicBezTo>
                  </a:path>
                </a:pathLst>
              </a:custGeom>
              <a:solidFill>
                <a:schemeClr val="accent1">
                  <a:lumMod val="90000"/>
                  <a:lumOff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4" name="iṣḷíḋe"/>
              <p:cNvSpPr/>
              <p:nvPr/>
            </p:nvSpPr>
            <p:spPr bwMode="auto">
              <a:xfrm>
                <a:off x="4975612" y="3595863"/>
                <a:ext cx="200235" cy="94909"/>
              </a:xfrm>
              <a:custGeom>
                <a:avLst/>
                <a:gdLst>
                  <a:gd name="T0" fmla="*/ 173 w 173"/>
                  <a:gd name="T1" fmla="*/ 0 h 82"/>
                  <a:gd name="T2" fmla="*/ 0 w 173"/>
                  <a:gd name="T3" fmla="*/ 0 h 82"/>
                  <a:gd name="T4" fmla="*/ 0 w 173"/>
                  <a:gd name="T5" fmla="*/ 82 h 82"/>
                  <a:gd name="T6" fmla="*/ 42 w 173"/>
                  <a:gd name="T7" fmla="*/ 82 h 82"/>
                  <a:gd name="T8" fmla="*/ 173 w 173"/>
                  <a:gd name="T9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82">
                    <a:moveTo>
                      <a:pt x="173" y="0"/>
                    </a:moveTo>
                    <a:lnTo>
                      <a:pt x="0" y="0"/>
                    </a:lnTo>
                    <a:lnTo>
                      <a:pt x="0" y="82"/>
                    </a:lnTo>
                    <a:lnTo>
                      <a:pt x="42" y="82"/>
                    </a:lnTo>
                    <a:lnTo>
                      <a:pt x="173" y="0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5" name="íšļíḋé"/>
              <p:cNvSpPr/>
              <p:nvPr/>
            </p:nvSpPr>
            <p:spPr bwMode="auto">
              <a:xfrm>
                <a:off x="4975612" y="3595863"/>
                <a:ext cx="200235" cy="94909"/>
              </a:xfrm>
              <a:custGeom>
                <a:avLst/>
                <a:gdLst>
                  <a:gd name="T0" fmla="*/ 173 w 173"/>
                  <a:gd name="T1" fmla="*/ 0 h 82"/>
                  <a:gd name="T2" fmla="*/ 0 w 173"/>
                  <a:gd name="T3" fmla="*/ 0 h 82"/>
                  <a:gd name="T4" fmla="*/ 0 w 173"/>
                  <a:gd name="T5" fmla="*/ 82 h 82"/>
                  <a:gd name="T6" fmla="*/ 42 w 173"/>
                  <a:gd name="T7" fmla="*/ 82 h 82"/>
                  <a:gd name="T8" fmla="*/ 173 w 173"/>
                  <a:gd name="T9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82">
                    <a:moveTo>
                      <a:pt x="173" y="0"/>
                    </a:moveTo>
                    <a:lnTo>
                      <a:pt x="0" y="0"/>
                    </a:lnTo>
                    <a:lnTo>
                      <a:pt x="0" y="82"/>
                    </a:lnTo>
                    <a:lnTo>
                      <a:pt x="42" y="82"/>
                    </a:lnTo>
                    <a:lnTo>
                      <a:pt x="17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6" name="ïṥḷïḋé"/>
              <p:cNvSpPr/>
              <p:nvPr/>
            </p:nvSpPr>
            <p:spPr bwMode="auto">
              <a:xfrm>
                <a:off x="5536963" y="2741682"/>
                <a:ext cx="391210" cy="94909"/>
              </a:xfrm>
              <a:custGeom>
                <a:avLst/>
                <a:gdLst>
                  <a:gd name="T0" fmla="*/ 371 w 590"/>
                  <a:gd name="T1" fmla="*/ 0 h 143"/>
                  <a:gd name="T2" fmla="*/ 0 w 590"/>
                  <a:gd name="T3" fmla="*/ 0 h 143"/>
                  <a:gd name="T4" fmla="*/ 0 w 590"/>
                  <a:gd name="T5" fmla="*/ 143 h 143"/>
                  <a:gd name="T6" fmla="*/ 590 w 590"/>
                  <a:gd name="T7" fmla="*/ 143 h 143"/>
                  <a:gd name="T8" fmla="*/ 371 w 590"/>
                  <a:gd name="T9" fmla="*/ 0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0" h="143">
                    <a:moveTo>
                      <a:pt x="37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590" y="143"/>
                      <a:pt x="590" y="143"/>
                      <a:pt x="590" y="143"/>
                    </a:cubicBezTo>
                    <a:cubicBezTo>
                      <a:pt x="522" y="87"/>
                      <a:pt x="448" y="39"/>
                      <a:pt x="371" y="0"/>
                    </a:cubicBez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7" name="í$ḷíḓê"/>
              <p:cNvSpPr/>
              <p:nvPr/>
            </p:nvSpPr>
            <p:spPr bwMode="auto">
              <a:xfrm>
                <a:off x="5923544" y="2966223"/>
                <a:ext cx="171299" cy="94909"/>
              </a:xfrm>
              <a:custGeom>
                <a:avLst/>
                <a:gdLst>
                  <a:gd name="T0" fmla="*/ 195 w 258"/>
                  <a:gd name="T1" fmla="*/ 0 h 143"/>
                  <a:gd name="T2" fmla="*/ 0 w 258"/>
                  <a:gd name="T3" fmla="*/ 0 h 143"/>
                  <a:gd name="T4" fmla="*/ 0 w 258"/>
                  <a:gd name="T5" fmla="*/ 143 h 143"/>
                  <a:gd name="T6" fmla="*/ 176 w 258"/>
                  <a:gd name="T7" fmla="*/ 143 h 143"/>
                  <a:gd name="T8" fmla="*/ 258 w 258"/>
                  <a:gd name="T9" fmla="*/ 92 h 143"/>
                  <a:gd name="T10" fmla="*/ 195 w 258"/>
                  <a:gd name="T11" fmla="*/ 0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8" h="143">
                    <a:moveTo>
                      <a:pt x="19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176" y="143"/>
                      <a:pt x="176" y="143"/>
                      <a:pt x="176" y="143"/>
                    </a:cubicBezTo>
                    <a:cubicBezTo>
                      <a:pt x="258" y="92"/>
                      <a:pt x="258" y="92"/>
                      <a:pt x="258" y="92"/>
                    </a:cubicBezTo>
                    <a:cubicBezTo>
                      <a:pt x="239" y="60"/>
                      <a:pt x="218" y="30"/>
                      <a:pt x="195" y="0"/>
                    </a:cubicBezTo>
                  </a:path>
                </a:pathLst>
              </a:custGeom>
              <a:solidFill>
                <a:schemeClr val="accent1">
                  <a:lumMod val="10000"/>
                  <a:lumOff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8" name="ïsḷîďê"/>
              <p:cNvSpPr/>
              <p:nvPr/>
            </p:nvSpPr>
            <p:spPr bwMode="auto">
              <a:xfrm>
                <a:off x="5490666" y="3164143"/>
                <a:ext cx="384266" cy="93752"/>
              </a:xfrm>
              <a:custGeom>
                <a:avLst/>
                <a:gdLst>
                  <a:gd name="T0" fmla="*/ 332 w 332"/>
                  <a:gd name="T1" fmla="*/ 0 h 81"/>
                  <a:gd name="T2" fmla="*/ 0 w 332"/>
                  <a:gd name="T3" fmla="*/ 0 h 81"/>
                  <a:gd name="T4" fmla="*/ 0 w 332"/>
                  <a:gd name="T5" fmla="*/ 81 h 81"/>
                  <a:gd name="T6" fmla="*/ 200 w 332"/>
                  <a:gd name="T7" fmla="*/ 81 h 81"/>
                  <a:gd name="T8" fmla="*/ 332 w 332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2" h="81">
                    <a:moveTo>
                      <a:pt x="332" y="0"/>
                    </a:moveTo>
                    <a:lnTo>
                      <a:pt x="0" y="0"/>
                    </a:lnTo>
                    <a:lnTo>
                      <a:pt x="0" y="81"/>
                    </a:lnTo>
                    <a:lnTo>
                      <a:pt x="200" y="81"/>
                    </a:lnTo>
                    <a:lnTo>
                      <a:pt x="332" y="0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9" name="íṡlïḓe"/>
              <p:cNvSpPr/>
              <p:nvPr/>
            </p:nvSpPr>
            <p:spPr bwMode="auto">
              <a:xfrm>
                <a:off x="5490666" y="3164143"/>
                <a:ext cx="384266" cy="93752"/>
              </a:xfrm>
              <a:custGeom>
                <a:avLst/>
                <a:gdLst>
                  <a:gd name="T0" fmla="*/ 332 w 332"/>
                  <a:gd name="T1" fmla="*/ 0 h 81"/>
                  <a:gd name="T2" fmla="*/ 0 w 332"/>
                  <a:gd name="T3" fmla="*/ 0 h 81"/>
                  <a:gd name="T4" fmla="*/ 0 w 332"/>
                  <a:gd name="T5" fmla="*/ 81 h 81"/>
                  <a:gd name="T6" fmla="*/ 200 w 332"/>
                  <a:gd name="T7" fmla="*/ 81 h 81"/>
                  <a:gd name="T8" fmla="*/ 332 w 332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2" h="81">
                    <a:moveTo>
                      <a:pt x="332" y="0"/>
                    </a:moveTo>
                    <a:lnTo>
                      <a:pt x="0" y="0"/>
                    </a:lnTo>
                    <a:lnTo>
                      <a:pt x="0" y="81"/>
                    </a:lnTo>
                    <a:lnTo>
                      <a:pt x="200" y="81"/>
                    </a:lnTo>
                    <a:lnTo>
                      <a:pt x="332" y="0"/>
                    </a:lnTo>
                  </a:path>
                </a:pathLst>
              </a:custGeom>
              <a:solidFill>
                <a:schemeClr val="accent1">
                  <a:lumMod val="10000"/>
                  <a:lumOff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0" name="išlíḋè"/>
              <p:cNvSpPr/>
              <p:nvPr/>
            </p:nvSpPr>
            <p:spPr bwMode="auto">
              <a:xfrm>
                <a:off x="4646902" y="2657190"/>
                <a:ext cx="782421" cy="783578"/>
              </a:xfrm>
              <a:custGeom>
                <a:avLst/>
                <a:gdLst>
                  <a:gd name="T0" fmla="*/ 559 w 1181"/>
                  <a:gd name="T1" fmla="*/ 177 h 1183"/>
                  <a:gd name="T2" fmla="*/ 559 w 1181"/>
                  <a:gd name="T3" fmla="*/ 177 h 1183"/>
                  <a:gd name="T4" fmla="*/ 1 w 1181"/>
                  <a:gd name="T5" fmla="*/ 1183 h 1183"/>
                  <a:gd name="T6" fmla="*/ 108 w 1181"/>
                  <a:gd name="T7" fmla="*/ 688 h 1183"/>
                  <a:gd name="T8" fmla="*/ 559 w 1181"/>
                  <a:gd name="T9" fmla="*/ 177 h 1183"/>
                  <a:gd name="T10" fmla="*/ 559 w 1181"/>
                  <a:gd name="T11" fmla="*/ 177 h 1183"/>
                  <a:gd name="T12" fmla="*/ 1181 w 1181"/>
                  <a:gd name="T13" fmla="*/ 0 h 1183"/>
                  <a:gd name="T14" fmla="*/ 563 w 1181"/>
                  <a:gd name="T15" fmla="*/ 175 h 1183"/>
                  <a:gd name="T16" fmla="*/ 1181 w 1181"/>
                  <a:gd name="T17" fmla="*/ 0 h 1183"/>
                  <a:gd name="T18" fmla="*/ 1181 w 1181"/>
                  <a:gd name="T19" fmla="*/ 0 h 1183"/>
                  <a:gd name="T20" fmla="*/ 1181 w 1181"/>
                  <a:gd name="T21" fmla="*/ 0 h 1183"/>
                  <a:gd name="T22" fmla="*/ 1181 w 1181"/>
                  <a:gd name="T23" fmla="*/ 0 h 1183"/>
                  <a:gd name="T24" fmla="*/ 1181 w 1181"/>
                  <a:gd name="T25" fmla="*/ 0 h 1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81" h="1183">
                    <a:moveTo>
                      <a:pt x="559" y="177"/>
                    </a:moveTo>
                    <a:cubicBezTo>
                      <a:pt x="559" y="177"/>
                      <a:pt x="559" y="177"/>
                      <a:pt x="559" y="177"/>
                    </a:cubicBezTo>
                    <a:cubicBezTo>
                      <a:pt x="199" y="401"/>
                      <a:pt x="0" y="787"/>
                      <a:pt x="1" y="1183"/>
                    </a:cubicBezTo>
                    <a:cubicBezTo>
                      <a:pt x="0" y="1012"/>
                      <a:pt x="37" y="843"/>
                      <a:pt x="108" y="688"/>
                    </a:cubicBezTo>
                    <a:cubicBezTo>
                      <a:pt x="202" y="484"/>
                      <a:pt x="354" y="305"/>
                      <a:pt x="559" y="177"/>
                    </a:cubicBezTo>
                    <a:cubicBezTo>
                      <a:pt x="559" y="177"/>
                      <a:pt x="559" y="177"/>
                      <a:pt x="559" y="177"/>
                    </a:cubicBezTo>
                    <a:moveTo>
                      <a:pt x="1181" y="0"/>
                    </a:moveTo>
                    <a:cubicBezTo>
                      <a:pt x="970" y="0"/>
                      <a:pt x="756" y="56"/>
                      <a:pt x="563" y="175"/>
                    </a:cubicBezTo>
                    <a:cubicBezTo>
                      <a:pt x="756" y="56"/>
                      <a:pt x="970" y="0"/>
                      <a:pt x="1181" y="0"/>
                    </a:cubicBezTo>
                    <a:moveTo>
                      <a:pt x="1181" y="0"/>
                    </a:moveTo>
                    <a:cubicBezTo>
                      <a:pt x="1181" y="0"/>
                      <a:pt x="1181" y="0"/>
                      <a:pt x="1181" y="0"/>
                    </a:cubicBezTo>
                    <a:cubicBezTo>
                      <a:pt x="1181" y="0"/>
                      <a:pt x="1181" y="0"/>
                      <a:pt x="1181" y="0"/>
                    </a:cubicBezTo>
                    <a:cubicBezTo>
                      <a:pt x="1181" y="0"/>
                      <a:pt x="1181" y="0"/>
                      <a:pt x="1181" y="0"/>
                    </a:cubicBezTo>
                  </a:path>
                </a:pathLst>
              </a:custGeom>
              <a:solidFill>
                <a:srgbClr val="355F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1" name="iṧľîḍe"/>
              <p:cNvSpPr/>
              <p:nvPr/>
            </p:nvSpPr>
            <p:spPr bwMode="auto">
              <a:xfrm>
                <a:off x="4764960" y="3061132"/>
                <a:ext cx="1446784" cy="1159742"/>
              </a:xfrm>
              <a:custGeom>
                <a:avLst/>
                <a:gdLst>
                  <a:gd name="T0" fmla="*/ 2153 w 2183"/>
                  <a:gd name="T1" fmla="*/ 298 h 1753"/>
                  <a:gd name="T2" fmla="*/ 1445 w 2183"/>
                  <a:gd name="T3" fmla="*/ 298 h 1753"/>
                  <a:gd name="T4" fmla="*/ 621 w 2183"/>
                  <a:gd name="T5" fmla="*/ 809 h 1753"/>
                  <a:gd name="T6" fmla="*/ 1188 w 2183"/>
                  <a:gd name="T7" fmla="*/ 809 h 1753"/>
                  <a:gd name="T8" fmla="*/ 1188 w 2183"/>
                  <a:gd name="T9" fmla="*/ 952 h 1753"/>
                  <a:gd name="T10" fmla="*/ 391 w 2183"/>
                  <a:gd name="T11" fmla="*/ 952 h 1753"/>
                  <a:gd name="T12" fmla="*/ 0 w 2183"/>
                  <a:gd name="T13" fmla="*/ 1195 h 1753"/>
                  <a:gd name="T14" fmla="*/ 0 w 2183"/>
                  <a:gd name="T15" fmla="*/ 1195 h 1753"/>
                  <a:gd name="T16" fmla="*/ 2 w 2183"/>
                  <a:gd name="T17" fmla="*/ 1198 h 1753"/>
                  <a:gd name="T18" fmla="*/ 5 w 2183"/>
                  <a:gd name="T19" fmla="*/ 1203 h 1753"/>
                  <a:gd name="T20" fmla="*/ 6 w 2183"/>
                  <a:gd name="T21" fmla="*/ 1203 h 1753"/>
                  <a:gd name="T22" fmla="*/ 1005 w 2183"/>
                  <a:gd name="T23" fmla="*/ 1753 h 1753"/>
                  <a:gd name="T24" fmla="*/ 1005 w 2183"/>
                  <a:gd name="T25" fmla="*/ 1753 h 1753"/>
                  <a:gd name="T26" fmla="*/ 1005 w 2183"/>
                  <a:gd name="T27" fmla="*/ 1753 h 1753"/>
                  <a:gd name="T28" fmla="*/ 1627 w 2183"/>
                  <a:gd name="T29" fmla="*/ 1576 h 1753"/>
                  <a:gd name="T30" fmla="*/ 1627 w 2183"/>
                  <a:gd name="T31" fmla="*/ 1576 h 1753"/>
                  <a:gd name="T32" fmla="*/ 1939 w 2183"/>
                  <a:gd name="T33" fmla="*/ 1295 h 1753"/>
                  <a:gd name="T34" fmla="*/ 1512 w 2183"/>
                  <a:gd name="T35" fmla="*/ 1295 h 1753"/>
                  <a:gd name="T36" fmla="*/ 1512 w 2183"/>
                  <a:gd name="T37" fmla="*/ 1152 h 1753"/>
                  <a:gd name="T38" fmla="*/ 2033 w 2183"/>
                  <a:gd name="T39" fmla="*/ 1152 h 1753"/>
                  <a:gd name="T40" fmla="*/ 2122 w 2183"/>
                  <a:gd name="T41" fmla="*/ 952 h 1753"/>
                  <a:gd name="T42" fmla="*/ 1393 w 2183"/>
                  <a:gd name="T43" fmla="*/ 952 h 1753"/>
                  <a:gd name="T44" fmla="*/ 1393 w 2183"/>
                  <a:gd name="T45" fmla="*/ 809 h 1753"/>
                  <a:gd name="T46" fmla="*/ 2161 w 2183"/>
                  <a:gd name="T47" fmla="*/ 809 h 1753"/>
                  <a:gd name="T48" fmla="*/ 2183 w 2183"/>
                  <a:gd name="T49" fmla="*/ 638 h 1753"/>
                  <a:gd name="T50" fmla="*/ 1690 w 2183"/>
                  <a:gd name="T51" fmla="*/ 638 h 1753"/>
                  <a:gd name="T52" fmla="*/ 1690 w 2183"/>
                  <a:gd name="T53" fmla="*/ 495 h 1753"/>
                  <a:gd name="T54" fmla="*/ 2183 w 2183"/>
                  <a:gd name="T55" fmla="*/ 495 h 1753"/>
                  <a:gd name="T56" fmla="*/ 2153 w 2183"/>
                  <a:gd name="T57" fmla="*/ 298 h 1753"/>
                  <a:gd name="T58" fmla="*/ 2037 w 2183"/>
                  <a:gd name="T59" fmla="*/ 0 h 1753"/>
                  <a:gd name="T60" fmla="*/ 1925 w 2183"/>
                  <a:gd name="T61" fmla="*/ 0 h 1753"/>
                  <a:gd name="T62" fmla="*/ 1675 w 2183"/>
                  <a:gd name="T63" fmla="*/ 156 h 1753"/>
                  <a:gd name="T64" fmla="*/ 2109 w 2183"/>
                  <a:gd name="T65" fmla="*/ 156 h 1753"/>
                  <a:gd name="T66" fmla="*/ 2037 w 2183"/>
                  <a:gd name="T67" fmla="*/ 0 h 17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183" h="1753">
                    <a:moveTo>
                      <a:pt x="2153" y="298"/>
                    </a:moveTo>
                    <a:cubicBezTo>
                      <a:pt x="1445" y="298"/>
                      <a:pt x="1445" y="298"/>
                      <a:pt x="1445" y="298"/>
                    </a:cubicBezTo>
                    <a:cubicBezTo>
                      <a:pt x="621" y="809"/>
                      <a:pt x="621" y="809"/>
                      <a:pt x="621" y="809"/>
                    </a:cubicBezTo>
                    <a:cubicBezTo>
                      <a:pt x="1188" y="809"/>
                      <a:pt x="1188" y="809"/>
                      <a:pt x="1188" y="809"/>
                    </a:cubicBezTo>
                    <a:cubicBezTo>
                      <a:pt x="1188" y="952"/>
                      <a:pt x="1188" y="952"/>
                      <a:pt x="1188" y="952"/>
                    </a:cubicBezTo>
                    <a:cubicBezTo>
                      <a:pt x="391" y="952"/>
                      <a:pt x="391" y="952"/>
                      <a:pt x="391" y="952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1" y="1196"/>
                      <a:pt x="2" y="1197"/>
                      <a:pt x="2" y="1198"/>
                    </a:cubicBezTo>
                    <a:cubicBezTo>
                      <a:pt x="3" y="1200"/>
                      <a:pt x="4" y="1201"/>
                      <a:pt x="5" y="1203"/>
                    </a:cubicBezTo>
                    <a:cubicBezTo>
                      <a:pt x="5" y="1203"/>
                      <a:pt x="5" y="1203"/>
                      <a:pt x="6" y="1203"/>
                    </a:cubicBezTo>
                    <a:cubicBezTo>
                      <a:pt x="230" y="1558"/>
                      <a:pt x="613" y="1753"/>
                      <a:pt x="1005" y="1753"/>
                    </a:cubicBezTo>
                    <a:cubicBezTo>
                      <a:pt x="1005" y="1753"/>
                      <a:pt x="1005" y="1753"/>
                      <a:pt x="1005" y="1753"/>
                    </a:cubicBezTo>
                    <a:cubicBezTo>
                      <a:pt x="1005" y="1753"/>
                      <a:pt x="1005" y="1753"/>
                      <a:pt x="1005" y="1753"/>
                    </a:cubicBezTo>
                    <a:cubicBezTo>
                      <a:pt x="1218" y="1753"/>
                      <a:pt x="1433" y="1696"/>
                      <a:pt x="1627" y="1576"/>
                    </a:cubicBezTo>
                    <a:cubicBezTo>
                      <a:pt x="1627" y="1576"/>
                      <a:pt x="1627" y="1576"/>
                      <a:pt x="1627" y="1576"/>
                    </a:cubicBezTo>
                    <a:cubicBezTo>
                      <a:pt x="1750" y="1499"/>
                      <a:pt x="1855" y="1403"/>
                      <a:pt x="1939" y="1295"/>
                    </a:cubicBezTo>
                    <a:cubicBezTo>
                      <a:pt x="1512" y="1295"/>
                      <a:pt x="1512" y="1295"/>
                      <a:pt x="1512" y="1295"/>
                    </a:cubicBezTo>
                    <a:cubicBezTo>
                      <a:pt x="1512" y="1152"/>
                      <a:pt x="1512" y="1152"/>
                      <a:pt x="1512" y="1152"/>
                    </a:cubicBezTo>
                    <a:cubicBezTo>
                      <a:pt x="2033" y="1152"/>
                      <a:pt x="2033" y="1152"/>
                      <a:pt x="2033" y="1152"/>
                    </a:cubicBezTo>
                    <a:cubicBezTo>
                      <a:pt x="2069" y="1088"/>
                      <a:pt x="2099" y="1021"/>
                      <a:pt x="2122" y="952"/>
                    </a:cubicBezTo>
                    <a:cubicBezTo>
                      <a:pt x="1393" y="952"/>
                      <a:pt x="1393" y="952"/>
                      <a:pt x="1393" y="952"/>
                    </a:cubicBezTo>
                    <a:cubicBezTo>
                      <a:pt x="1393" y="809"/>
                      <a:pt x="1393" y="809"/>
                      <a:pt x="1393" y="809"/>
                    </a:cubicBezTo>
                    <a:cubicBezTo>
                      <a:pt x="2161" y="809"/>
                      <a:pt x="2161" y="809"/>
                      <a:pt x="2161" y="809"/>
                    </a:cubicBezTo>
                    <a:cubicBezTo>
                      <a:pt x="2173" y="753"/>
                      <a:pt x="2180" y="696"/>
                      <a:pt x="2183" y="638"/>
                    </a:cubicBezTo>
                    <a:cubicBezTo>
                      <a:pt x="1690" y="638"/>
                      <a:pt x="1690" y="638"/>
                      <a:pt x="1690" y="638"/>
                    </a:cubicBezTo>
                    <a:cubicBezTo>
                      <a:pt x="1690" y="495"/>
                      <a:pt x="1690" y="495"/>
                      <a:pt x="1690" y="495"/>
                    </a:cubicBezTo>
                    <a:cubicBezTo>
                      <a:pt x="2183" y="495"/>
                      <a:pt x="2183" y="495"/>
                      <a:pt x="2183" y="495"/>
                    </a:cubicBezTo>
                    <a:cubicBezTo>
                      <a:pt x="2178" y="429"/>
                      <a:pt x="2169" y="363"/>
                      <a:pt x="2153" y="298"/>
                    </a:cubicBezTo>
                    <a:moveTo>
                      <a:pt x="2037" y="0"/>
                    </a:moveTo>
                    <a:cubicBezTo>
                      <a:pt x="1925" y="0"/>
                      <a:pt x="1925" y="0"/>
                      <a:pt x="1925" y="0"/>
                    </a:cubicBezTo>
                    <a:cubicBezTo>
                      <a:pt x="1675" y="156"/>
                      <a:pt x="1675" y="156"/>
                      <a:pt x="1675" y="156"/>
                    </a:cubicBezTo>
                    <a:cubicBezTo>
                      <a:pt x="2109" y="156"/>
                      <a:pt x="2109" y="156"/>
                      <a:pt x="2109" y="156"/>
                    </a:cubicBezTo>
                    <a:cubicBezTo>
                      <a:pt x="2089" y="103"/>
                      <a:pt x="2065" y="51"/>
                      <a:pt x="2037" y="0"/>
                    </a:cubicBezTo>
                  </a:path>
                </a:pathLst>
              </a:custGeom>
              <a:solidFill>
                <a:schemeClr val="accent1">
                  <a:lumMod val="90000"/>
                  <a:lumOff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2" name="ïṧ1îḑé"/>
              <p:cNvSpPr/>
              <p:nvPr/>
            </p:nvSpPr>
            <p:spPr bwMode="auto">
              <a:xfrm>
                <a:off x="5024224" y="3595863"/>
                <a:ext cx="527787" cy="94909"/>
              </a:xfrm>
              <a:custGeom>
                <a:avLst/>
                <a:gdLst>
                  <a:gd name="T0" fmla="*/ 456 w 456"/>
                  <a:gd name="T1" fmla="*/ 0 h 82"/>
                  <a:gd name="T2" fmla="*/ 131 w 456"/>
                  <a:gd name="T3" fmla="*/ 0 h 82"/>
                  <a:gd name="T4" fmla="*/ 0 w 456"/>
                  <a:gd name="T5" fmla="*/ 82 h 82"/>
                  <a:gd name="T6" fmla="*/ 456 w 456"/>
                  <a:gd name="T7" fmla="*/ 82 h 82"/>
                  <a:gd name="T8" fmla="*/ 456 w 456"/>
                  <a:gd name="T9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6" h="82">
                    <a:moveTo>
                      <a:pt x="456" y="0"/>
                    </a:moveTo>
                    <a:lnTo>
                      <a:pt x="131" y="0"/>
                    </a:lnTo>
                    <a:lnTo>
                      <a:pt x="0" y="82"/>
                    </a:lnTo>
                    <a:lnTo>
                      <a:pt x="456" y="82"/>
                    </a:lnTo>
                    <a:lnTo>
                      <a:pt x="456" y="0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3" name="ïşḷïḍe"/>
              <p:cNvSpPr/>
              <p:nvPr/>
            </p:nvSpPr>
            <p:spPr bwMode="auto">
              <a:xfrm>
                <a:off x="5024224" y="3595863"/>
                <a:ext cx="527787" cy="94909"/>
              </a:xfrm>
              <a:custGeom>
                <a:avLst/>
                <a:gdLst>
                  <a:gd name="T0" fmla="*/ 456 w 456"/>
                  <a:gd name="T1" fmla="*/ 0 h 82"/>
                  <a:gd name="T2" fmla="*/ 131 w 456"/>
                  <a:gd name="T3" fmla="*/ 0 h 82"/>
                  <a:gd name="T4" fmla="*/ 0 w 456"/>
                  <a:gd name="T5" fmla="*/ 82 h 82"/>
                  <a:gd name="T6" fmla="*/ 456 w 456"/>
                  <a:gd name="T7" fmla="*/ 82 h 82"/>
                  <a:gd name="T8" fmla="*/ 456 w 456"/>
                  <a:gd name="T9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6" h="82">
                    <a:moveTo>
                      <a:pt x="456" y="0"/>
                    </a:moveTo>
                    <a:lnTo>
                      <a:pt x="131" y="0"/>
                    </a:lnTo>
                    <a:lnTo>
                      <a:pt x="0" y="82"/>
                    </a:lnTo>
                    <a:lnTo>
                      <a:pt x="456" y="82"/>
                    </a:lnTo>
                    <a:lnTo>
                      <a:pt x="456" y="0"/>
                    </a:lnTo>
                  </a:path>
                </a:pathLst>
              </a:custGeom>
              <a:solidFill>
                <a:schemeClr val="accent1">
                  <a:lumMod val="10000"/>
                  <a:lumOff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4" name="íṧ1ïďê"/>
              <p:cNvSpPr/>
              <p:nvPr/>
            </p:nvSpPr>
            <p:spPr bwMode="auto">
              <a:xfrm>
                <a:off x="6040444" y="3026409"/>
                <a:ext cx="74075" cy="34723"/>
              </a:xfrm>
              <a:custGeom>
                <a:avLst/>
                <a:gdLst>
                  <a:gd name="T0" fmla="*/ 82 w 112"/>
                  <a:gd name="T1" fmla="*/ 0 h 51"/>
                  <a:gd name="T2" fmla="*/ 0 w 112"/>
                  <a:gd name="T3" fmla="*/ 51 h 51"/>
                  <a:gd name="T4" fmla="*/ 112 w 112"/>
                  <a:gd name="T5" fmla="*/ 51 h 51"/>
                  <a:gd name="T6" fmla="*/ 82 w 112"/>
                  <a:gd name="T7" fmla="*/ 0 h 51"/>
                  <a:gd name="T8" fmla="*/ 82 w 112"/>
                  <a:gd name="T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51">
                    <a:moveTo>
                      <a:pt x="82" y="0"/>
                    </a:moveTo>
                    <a:cubicBezTo>
                      <a:pt x="0" y="51"/>
                      <a:pt x="0" y="51"/>
                      <a:pt x="0" y="51"/>
                    </a:cubicBezTo>
                    <a:cubicBezTo>
                      <a:pt x="112" y="51"/>
                      <a:pt x="112" y="51"/>
                      <a:pt x="112" y="51"/>
                    </a:cubicBezTo>
                    <a:cubicBezTo>
                      <a:pt x="103" y="34"/>
                      <a:pt x="93" y="17"/>
                      <a:pt x="82" y="0"/>
                    </a:cubicBezTo>
                    <a:cubicBezTo>
                      <a:pt x="82" y="0"/>
                      <a:pt x="82" y="0"/>
                      <a:pt x="82" y="0"/>
                    </a:cubicBezTo>
                  </a:path>
                </a:pathLst>
              </a:custGeom>
              <a:solidFill>
                <a:srgbClr val="F1F9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95" name="íşḷîḓè"/>
              <p:cNvSpPr/>
              <p:nvPr/>
            </p:nvSpPr>
            <p:spPr bwMode="auto">
              <a:xfrm>
                <a:off x="5722152" y="3164143"/>
                <a:ext cx="469915" cy="93752"/>
              </a:xfrm>
              <a:custGeom>
                <a:avLst/>
                <a:gdLst>
                  <a:gd name="T0" fmla="*/ 664 w 708"/>
                  <a:gd name="T1" fmla="*/ 0 h 142"/>
                  <a:gd name="T2" fmla="*/ 230 w 708"/>
                  <a:gd name="T3" fmla="*/ 0 h 142"/>
                  <a:gd name="T4" fmla="*/ 0 w 708"/>
                  <a:gd name="T5" fmla="*/ 142 h 142"/>
                  <a:gd name="T6" fmla="*/ 708 w 708"/>
                  <a:gd name="T7" fmla="*/ 142 h 142"/>
                  <a:gd name="T8" fmla="*/ 664 w 708"/>
                  <a:gd name="T9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8" h="142">
                    <a:moveTo>
                      <a:pt x="664" y="0"/>
                    </a:moveTo>
                    <a:cubicBezTo>
                      <a:pt x="230" y="0"/>
                      <a:pt x="230" y="0"/>
                      <a:pt x="230" y="0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708" y="142"/>
                      <a:pt x="708" y="142"/>
                      <a:pt x="708" y="142"/>
                    </a:cubicBezTo>
                    <a:cubicBezTo>
                      <a:pt x="697" y="94"/>
                      <a:pt x="682" y="47"/>
                      <a:pt x="664" y="0"/>
                    </a:cubicBezTo>
                  </a:path>
                </a:pathLst>
              </a:custGeom>
              <a:solidFill>
                <a:schemeClr val="accent1">
                  <a:lumMod val="10000"/>
                  <a:lumOff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6" name="íṧ1íḋe"/>
              <p:cNvSpPr/>
              <p:nvPr/>
            </p:nvSpPr>
            <p:spPr bwMode="auto">
              <a:xfrm>
                <a:off x="5884191" y="3388684"/>
                <a:ext cx="328709" cy="93752"/>
              </a:xfrm>
              <a:custGeom>
                <a:avLst/>
                <a:gdLst>
                  <a:gd name="T0" fmla="*/ 493 w 495"/>
                  <a:gd name="T1" fmla="*/ 0 h 143"/>
                  <a:gd name="T2" fmla="*/ 0 w 495"/>
                  <a:gd name="T3" fmla="*/ 0 h 143"/>
                  <a:gd name="T4" fmla="*/ 0 w 495"/>
                  <a:gd name="T5" fmla="*/ 143 h 143"/>
                  <a:gd name="T6" fmla="*/ 493 w 495"/>
                  <a:gd name="T7" fmla="*/ 143 h 143"/>
                  <a:gd name="T8" fmla="*/ 495 w 495"/>
                  <a:gd name="T9" fmla="*/ 76 h 143"/>
                  <a:gd name="T10" fmla="*/ 493 w 495"/>
                  <a:gd name="T11" fmla="*/ 0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5" h="143">
                    <a:moveTo>
                      <a:pt x="49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493" y="143"/>
                      <a:pt x="493" y="143"/>
                      <a:pt x="493" y="143"/>
                    </a:cubicBezTo>
                    <a:cubicBezTo>
                      <a:pt x="495" y="120"/>
                      <a:pt x="495" y="98"/>
                      <a:pt x="495" y="76"/>
                    </a:cubicBezTo>
                    <a:cubicBezTo>
                      <a:pt x="495" y="50"/>
                      <a:pt x="494" y="25"/>
                      <a:pt x="493" y="0"/>
                    </a:cubicBezTo>
                  </a:path>
                </a:pathLst>
              </a:custGeom>
              <a:solidFill>
                <a:schemeClr val="accent1">
                  <a:lumMod val="10000"/>
                  <a:lumOff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7" name="í$ḷîďe"/>
              <p:cNvSpPr/>
              <p:nvPr/>
            </p:nvSpPr>
            <p:spPr bwMode="auto">
              <a:xfrm>
                <a:off x="5687429" y="3595863"/>
                <a:ext cx="509268" cy="94909"/>
              </a:xfrm>
              <a:custGeom>
                <a:avLst/>
                <a:gdLst>
                  <a:gd name="T0" fmla="*/ 768 w 768"/>
                  <a:gd name="T1" fmla="*/ 0 h 143"/>
                  <a:gd name="T2" fmla="*/ 0 w 768"/>
                  <a:gd name="T3" fmla="*/ 0 h 143"/>
                  <a:gd name="T4" fmla="*/ 0 w 768"/>
                  <a:gd name="T5" fmla="*/ 143 h 143"/>
                  <a:gd name="T6" fmla="*/ 729 w 768"/>
                  <a:gd name="T7" fmla="*/ 143 h 143"/>
                  <a:gd name="T8" fmla="*/ 768 w 768"/>
                  <a:gd name="T9" fmla="*/ 0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8" h="143">
                    <a:moveTo>
                      <a:pt x="76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729" y="143"/>
                      <a:pt x="729" y="143"/>
                      <a:pt x="729" y="143"/>
                    </a:cubicBezTo>
                    <a:cubicBezTo>
                      <a:pt x="745" y="97"/>
                      <a:pt x="758" y="49"/>
                      <a:pt x="768" y="0"/>
                    </a:cubicBezTo>
                  </a:path>
                </a:pathLst>
              </a:custGeom>
              <a:solidFill>
                <a:schemeClr val="accent1">
                  <a:lumMod val="10000"/>
                  <a:lumOff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8" name="îṧḻîďê"/>
              <p:cNvSpPr/>
              <p:nvPr/>
            </p:nvSpPr>
            <p:spPr bwMode="auto">
              <a:xfrm>
                <a:off x="5767292" y="3822719"/>
                <a:ext cx="344913" cy="94909"/>
              </a:xfrm>
              <a:custGeom>
                <a:avLst/>
                <a:gdLst>
                  <a:gd name="T0" fmla="*/ 521 w 521"/>
                  <a:gd name="T1" fmla="*/ 0 h 143"/>
                  <a:gd name="T2" fmla="*/ 0 w 521"/>
                  <a:gd name="T3" fmla="*/ 0 h 143"/>
                  <a:gd name="T4" fmla="*/ 0 w 521"/>
                  <a:gd name="T5" fmla="*/ 143 h 143"/>
                  <a:gd name="T6" fmla="*/ 427 w 521"/>
                  <a:gd name="T7" fmla="*/ 143 h 143"/>
                  <a:gd name="T8" fmla="*/ 521 w 521"/>
                  <a:gd name="T9" fmla="*/ 0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1" h="143">
                    <a:moveTo>
                      <a:pt x="52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427" y="143"/>
                      <a:pt x="427" y="143"/>
                      <a:pt x="427" y="143"/>
                    </a:cubicBezTo>
                    <a:cubicBezTo>
                      <a:pt x="462" y="97"/>
                      <a:pt x="494" y="49"/>
                      <a:pt x="521" y="0"/>
                    </a:cubicBezTo>
                  </a:path>
                </a:pathLst>
              </a:custGeom>
              <a:solidFill>
                <a:schemeClr val="accent1">
                  <a:lumMod val="10000"/>
                  <a:lumOff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9" name="ísľidè"/>
              <p:cNvSpPr/>
              <p:nvPr/>
            </p:nvSpPr>
            <p:spPr bwMode="auto">
              <a:xfrm>
                <a:off x="4764960" y="3026409"/>
                <a:ext cx="1447941" cy="1194464"/>
              </a:xfrm>
              <a:custGeom>
                <a:avLst/>
                <a:gdLst>
                  <a:gd name="T0" fmla="*/ 1005 w 2185"/>
                  <a:gd name="T1" fmla="*/ 1804 h 1804"/>
                  <a:gd name="T2" fmla="*/ 1005 w 2185"/>
                  <a:gd name="T3" fmla="*/ 1804 h 1804"/>
                  <a:gd name="T4" fmla="*/ 1005 w 2185"/>
                  <a:gd name="T5" fmla="*/ 1804 h 1804"/>
                  <a:gd name="T6" fmla="*/ 1005 w 2185"/>
                  <a:gd name="T7" fmla="*/ 1804 h 1804"/>
                  <a:gd name="T8" fmla="*/ 1627 w 2185"/>
                  <a:gd name="T9" fmla="*/ 1627 h 1804"/>
                  <a:gd name="T10" fmla="*/ 1005 w 2185"/>
                  <a:gd name="T11" fmla="*/ 1804 h 1804"/>
                  <a:gd name="T12" fmla="*/ 1627 w 2185"/>
                  <a:gd name="T13" fmla="*/ 1627 h 1804"/>
                  <a:gd name="T14" fmla="*/ 5 w 2185"/>
                  <a:gd name="T15" fmla="*/ 1254 h 1804"/>
                  <a:gd name="T16" fmla="*/ 6 w 2185"/>
                  <a:gd name="T17" fmla="*/ 1254 h 1804"/>
                  <a:gd name="T18" fmla="*/ 5 w 2185"/>
                  <a:gd name="T19" fmla="*/ 1254 h 1804"/>
                  <a:gd name="T20" fmla="*/ 0 w 2185"/>
                  <a:gd name="T21" fmla="*/ 1246 h 1804"/>
                  <a:gd name="T22" fmla="*/ 2 w 2185"/>
                  <a:gd name="T23" fmla="*/ 1249 h 1804"/>
                  <a:gd name="T24" fmla="*/ 0 w 2185"/>
                  <a:gd name="T25" fmla="*/ 1246 h 1804"/>
                  <a:gd name="T26" fmla="*/ 2007 w 2185"/>
                  <a:gd name="T27" fmla="*/ 0 h 1804"/>
                  <a:gd name="T28" fmla="*/ 2007 w 2185"/>
                  <a:gd name="T29" fmla="*/ 0 h 1804"/>
                  <a:gd name="T30" fmla="*/ 2007 w 2185"/>
                  <a:gd name="T31" fmla="*/ 0 h 1804"/>
                  <a:gd name="T32" fmla="*/ 2007 w 2185"/>
                  <a:gd name="T33" fmla="*/ 0 h 1804"/>
                  <a:gd name="T34" fmla="*/ 2007 w 2185"/>
                  <a:gd name="T35" fmla="*/ 0 h 1804"/>
                  <a:gd name="T36" fmla="*/ 2037 w 2185"/>
                  <a:gd name="T37" fmla="*/ 51 h 1804"/>
                  <a:gd name="T38" fmla="*/ 2109 w 2185"/>
                  <a:gd name="T39" fmla="*/ 207 h 1804"/>
                  <a:gd name="T40" fmla="*/ 2153 w 2185"/>
                  <a:gd name="T41" fmla="*/ 349 h 1804"/>
                  <a:gd name="T42" fmla="*/ 2183 w 2185"/>
                  <a:gd name="T43" fmla="*/ 546 h 1804"/>
                  <a:gd name="T44" fmla="*/ 2185 w 2185"/>
                  <a:gd name="T45" fmla="*/ 622 h 1804"/>
                  <a:gd name="T46" fmla="*/ 2007 w 2185"/>
                  <a:gd name="T47" fmla="*/ 0 h 1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185" h="1804">
                    <a:moveTo>
                      <a:pt x="1005" y="1804"/>
                    </a:moveTo>
                    <a:cubicBezTo>
                      <a:pt x="1005" y="1804"/>
                      <a:pt x="1005" y="1804"/>
                      <a:pt x="1005" y="1804"/>
                    </a:cubicBezTo>
                    <a:cubicBezTo>
                      <a:pt x="1005" y="1804"/>
                      <a:pt x="1005" y="1804"/>
                      <a:pt x="1005" y="1804"/>
                    </a:cubicBezTo>
                    <a:cubicBezTo>
                      <a:pt x="1005" y="1804"/>
                      <a:pt x="1005" y="1804"/>
                      <a:pt x="1005" y="1804"/>
                    </a:cubicBezTo>
                    <a:moveTo>
                      <a:pt x="1627" y="1627"/>
                    </a:moveTo>
                    <a:cubicBezTo>
                      <a:pt x="1433" y="1747"/>
                      <a:pt x="1218" y="1804"/>
                      <a:pt x="1005" y="1804"/>
                    </a:cubicBezTo>
                    <a:cubicBezTo>
                      <a:pt x="1218" y="1804"/>
                      <a:pt x="1433" y="1747"/>
                      <a:pt x="1627" y="1627"/>
                    </a:cubicBezTo>
                    <a:moveTo>
                      <a:pt x="5" y="1254"/>
                    </a:moveTo>
                    <a:cubicBezTo>
                      <a:pt x="5" y="1254"/>
                      <a:pt x="5" y="1254"/>
                      <a:pt x="6" y="1254"/>
                    </a:cubicBezTo>
                    <a:cubicBezTo>
                      <a:pt x="5" y="1254"/>
                      <a:pt x="5" y="1254"/>
                      <a:pt x="5" y="1254"/>
                    </a:cubicBezTo>
                    <a:moveTo>
                      <a:pt x="0" y="1246"/>
                    </a:moveTo>
                    <a:cubicBezTo>
                      <a:pt x="1" y="1247"/>
                      <a:pt x="2" y="1248"/>
                      <a:pt x="2" y="1249"/>
                    </a:cubicBezTo>
                    <a:cubicBezTo>
                      <a:pt x="2" y="1248"/>
                      <a:pt x="1" y="1247"/>
                      <a:pt x="0" y="1246"/>
                    </a:cubicBezTo>
                    <a:moveTo>
                      <a:pt x="2007" y="0"/>
                    </a:moveTo>
                    <a:cubicBezTo>
                      <a:pt x="2007" y="0"/>
                      <a:pt x="2007" y="0"/>
                      <a:pt x="2007" y="0"/>
                    </a:cubicBezTo>
                    <a:cubicBezTo>
                      <a:pt x="2007" y="0"/>
                      <a:pt x="2007" y="0"/>
                      <a:pt x="2007" y="0"/>
                    </a:cubicBezTo>
                    <a:cubicBezTo>
                      <a:pt x="2007" y="0"/>
                      <a:pt x="2007" y="0"/>
                      <a:pt x="2007" y="0"/>
                    </a:cubicBezTo>
                    <a:cubicBezTo>
                      <a:pt x="2007" y="0"/>
                      <a:pt x="2007" y="0"/>
                      <a:pt x="2007" y="0"/>
                    </a:cubicBezTo>
                    <a:cubicBezTo>
                      <a:pt x="2018" y="17"/>
                      <a:pt x="2028" y="34"/>
                      <a:pt x="2037" y="51"/>
                    </a:cubicBezTo>
                    <a:cubicBezTo>
                      <a:pt x="2065" y="102"/>
                      <a:pt x="2089" y="154"/>
                      <a:pt x="2109" y="207"/>
                    </a:cubicBezTo>
                    <a:cubicBezTo>
                      <a:pt x="2127" y="254"/>
                      <a:pt x="2142" y="301"/>
                      <a:pt x="2153" y="349"/>
                    </a:cubicBezTo>
                    <a:cubicBezTo>
                      <a:pt x="2169" y="414"/>
                      <a:pt x="2178" y="480"/>
                      <a:pt x="2183" y="546"/>
                    </a:cubicBezTo>
                    <a:cubicBezTo>
                      <a:pt x="2184" y="571"/>
                      <a:pt x="2185" y="596"/>
                      <a:pt x="2185" y="622"/>
                    </a:cubicBezTo>
                    <a:cubicBezTo>
                      <a:pt x="2185" y="409"/>
                      <a:pt x="2128" y="194"/>
                      <a:pt x="2007" y="0"/>
                    </a:cubicBezTo>
                  </a:path>
                </a:pathLst>
              </a:custGeom>
              <a:solidFill>
                <a:srgbClr val="2F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0" name="í$ḻíḋè"/>
              <p:cNvSpPr/>
              <p:nvPr/>
            </p:nvSpPr>
            <p:spPr bwMode="auto">
              <a:xfrm>
                <a:off x="4805469" y="2694228"/>
                <a:ext cx="843765" cy="605335"/>
              </a:xfrm>
              <a:custGeom>
                <a:avLst/>
                <a:gdLst>
                  <a:gd name="T0" fmla="*/ 69 w 1272"/>
                  <a:gd name="T1" fmla="*/ 909 h 914"/>
                  <a:gd name="T2" fmla="*/ 4 w 1272"/>
                  <a:gd name="T3" fmla="*/ 823 h 914"/>
                  <a:gd name="T4" fmla="*/ 356 w 1272"/>
                  <a:gd name="T5" fmla="*/ 268 h 914"/>
                  <a:gd name="T6" fmla="*/ 1214 w 1272"/>
                  <a:gd name="T7" fmla="*/ 183 h 914"/>
                  <a:gd name="T8" fmla="*/ 1254 w 1272"/>
                  <a:gd name="T9" fmla="*/ 287 h 914"/>
                  <a:gd name="T10" fmla="*/ 1151 w 1272"/>
                  <a:gd name="T11" fmla="*/ 327 h 914"/>
                  <a:gd name="T12" fmla="*/ 439 w 1272"/>
                  <a:gd name="T13" fmla="*/ 402 h 914"/>
                  <a:gd name="T14" fmla="*/ 160 w 1272"/>
                  <a:gd name="T15" fmla="*/ 840 h 914"/>
                  <a:gd name="T16" fmla="*/ 74 w 1272"/>
                  <a:gd name="T17" fmla="*/ 910 h 914"/>
                  <a:gd name="T18" fmla="*/ 69 w 1272"/>
                  <a:gd name="T19" fmla="*/ 909 h 9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72" h="914">
                    <a:moveTo>
                      <a:pt x="69" y="909"/>
                    </a:moveTo>
                    <a:cubicBezTo>
                      <a:pt x="28" y="902"/>
                      <a:pt x="0" y="865"/>
                      <a:pt x="4" y="823"/>
                    </a:cubicBezTo>
                    <a:cubicBezTo>
                      <a:pt x="6" y="809"/>
                      <a:pt x="46" y="462"/>
                      <a:pt x="356" y="268"/>
                    </a:cubicBezTo>
                    <a:cubicBezTo>
                      <a:pt x="788" y="0"/>
                      <a:pt x="1197" y="176"/>
                      <a:pt x="1214" y="183"/>
                    </a:cubicBezTo>
                    <a:cubicBezTo>
                      <a:pt x="1254" y="201"/>
                      <a:pt x="1272" y="247"/>
                      <a:pt x="1254" y="287"/>
                    </a:cubicBezTo>
                    <a:cubicBezTo>
                      <a:pt x="1237" y="327"/>
                      <a:pt x="1191" y="345"/>
                      <a:pt x="1151" y="327"/>
                    </a:cubicBezTo>
                    <a:cubicBezTo>
                      <a:pt x="1137" y="321"/>
                      <a:pt x="798" y="178"/>
                      <a:pt x="439" y="402"/>
                    </a:cubicBezTo>
                    <a:cubicBezTo>
                      <a:pt x="193" y="555"/>
                      <a:pt x="161" y="837"/>
                      <a:pt x="160" y="840"/>
                    </a:cubicBezTo>
                    <a:cubicBezTo>
                      <a:pt x="156" y="883"/>
                      <a:pt x="117" y="914"/>
                      <a:pt x="74" y="910"/>
                    </a:cubicBezTo>
                    <a:cubicBezTo>
                      <a:pt x="72" y="910"/>
                      <a:pt x="71" y="909"/>
                      <a:pt x="69" y="90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1" name="is1îḋé"/>
              <p:cNvSpPr/>
              <p:nvPr/>
            </p:nvSpPr>
            <p:spPr bwMode="auto">
              <a:xfrm>
                <a:off x="4553150" y="2564596"/>
                <a:ext cx="1744243" cy="1740770"/>
              </a:xfrm>
              <a:custGeom>
                <a:avLst/>
                <a:gdLst>
                  <a:gd name="T0" fmla="*/ 1114 w 2631"/>
                  <a:gd name="T1" fmla="*/ 2520 h 2631"/>
                  <a:gd name="T2" fmla="*/ 112 w 2631"/>
                  <a:gd name="T3" fmla="*/ 1114 h 2631"/>
                  <a:gd name="T4" fmla="*/ 1517 w 2631"/>
                  <a:gd name="T5" fmla="*/ 111 h 2631"/>
                  <a:gd name="T6" fmla="*/ 2520 w 2631"/>
                  <a:gd name="T7" fmla="*/ 1517 h 2631"/>
                  <a:gd name="T8" fmla="*/ 1114 w 2631"/>
                  <a:gd name="T9" fmla="*/ 2520 h 2631"/>
                  <a:gd name="T10" fmla="*/ 1508 w 2631"/>
                  <a:gd name="T11" fmla="*/ 168 h 2631"/>
                  <a:gd name="T12" fmla="*/ 168 w 2631"/>
                  <a:gd name="T13" fmla="*/ 1123 h 2631"/>
                  <a:gd name="T14" fmla="*/ 1124 w 2631"/>
                  <a:gd name="T15" fmla="*/ 2464 h 2631"/>
                  <a:gd name="T16" fmla="*/ 2464 w 2631"/>
                  <a:gd name="T17" fmla="*/ 1508 h 2631"/>
                  <a:gd name="T18" fmla="*/ 1508 w 2631"/>
                  <a:gd name="T19" fmla="*/ 168 h 26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31" h="2631">
                    <a:moveTo>
                      <a:pt x="1114" y="2520"/>
                    </a:moveTo>
                    <a:cubicBezTo>
                      <a:pt x="450" y="2409"/>
                      <a:pt x="0" y="1778"/>
                      <a:pt x="112" y="1114"/>
                    </a:cubicBezTo>
                    <a:cubicBezTo>
                      <a:pt x="223" y="450"/>
                      <a:pt x="853" y="0"/>
                      <a:pt x="1517" y="111"/>
                    </a:cubicBezTo>
                    <a:cubicBezTo>
                      <a:pt x="2181" y="222"/>
                      <a:pt x="2631" y="853"/>
                      <a:pt x="2520" y="1517"/>
                    </a:cubicBezTo>
                    <a:cubicBezTo>
                      <a:pt x="2409" y="2181"/>
                      <a:pt x="1778" y="2631"/>
                      <a:pt x="1114" y="2520"/>
                    </a:cubicBezTo>
                    <a:close/>
                    <a:moveTo>
                      <a:pt x="1508" y="168"/>
                    </a:moveTo>
                    <a:cubicBezTo>
                      <a:pt x="875" y="62"/>
                      <a:pt x="274" y="491"/>
                      <a:pt x="168" y="1123"/>
                    </a:cubicBezTo>
                    <a:cubicBezTo>
                      <a:pt x="62" y="1756"/>
                      <a:pt x="491" y="2358"/>
                      <a:pt x="1124" y="2464"/>
                    </a:cubicBezTo>
                    <a:cubicBezTo>
                      <a:pt x="1757" y="2570"/>
                      <a:pt x="2358" y="2141"/>
                      <a:pt x="2464" y="1508"/>
                    </a:cubicBezTo>
                    <a:cubicBezTo>
                      <a:pt x="2569" y="875"/>
                      <a:pt x="2141" y="274"/>
                      <a:pt x="1508" y="168"/>
                    </a:cubicBezTo>
                    <a:close/>
                  </a:path>
                </a:pathLst>
              </a:custGeom>
              <a:solidFill>
                <a:srgbClr val="0938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2" name="îṣḷïḑè"/>
              <p:cNvSpPr/>
              <p:nvPr/>
            </p:nvSpPr>
            <p:spPr bwMode="auto">
              <a:xfrm>
                <a:off x="3055440" y="3914156"/>
                <a:ext cx="1383126" cy="1055573"/>
              </a:xfrm>
              <a:custGeom>
                <a:avLst/>
                <a:gdLst>
                  <a:gd name="T0" fmla="*/ 99 w 2087"/>
                  <a:gd name="T1" fmla="*/ 1377 h 1594"/>
                  <a:gd name="T2" fmla="*/ 190 w 2087"/>
                  <a:gd name="T3" fmla="*/ 920 h 1594"/>
                  <a:gd name="T4" fmla="*/ 1539 w 2087"/>
                  <a:gd name="T5" fmla="*/ 92 h 1594"/>
                  <a:gd name="T6" fmla="*/ 1988 w 2087"/>
                  <a:gd name="T7" fmla="*/ 218 h 1594"/>
                  <a:gd name="T8" fmla="*/ 1897 w 2087"/>
                  <a:gd name="T9" fmla="*/ 675 h 1594"/>
                  <a:gd name="T10" fmla="*/ 547 w 2087"/>
                  <a:gd name="T11" fmla="*/ 1503 h 1594"/>
                  <a:gd name="T12" fmla="*/ 99 w 2087"/>
                  <a:gd name="T13" fmla="*/ 1377 h 15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7" h="1594">
                    <a:moveTo>
                      <a:pt x="99" y="1377"/>
                    </a:moveTo>
                    <a:cubicBezTo>
                      <a:pt x="0" y="1216"/>
                      <a:pt x="41" y="1011"/>
                      <a:pt x="190" y="920"/>
                    </a:cubicBezTo>
                    <a:cubicBezTo>
                      <a:pt x="1539" y="92"/>
                      <a:pt x="1539" y="92"/>
                      <a:pt x="1539" y="92"/>
                    </a:cubicBezTo>
                    <a:cubicBezTo>
                      <a:pt x="1688" y="0"/>
                      <a:pt x="1889" y="57"/>
                      <a:pt x="1988" y="218"/>
                    </a:cubicBezTo>
                    <a:cubicBezTo>
                      <a:pt x="2087" y="379"/>
                      <a:pt x="2046" y="584"/>
                      <a:pt x="1897" y="675"/>
                    </a:cubicBezTo>
                    <a:cubicBezTo>
                      <a:pt x="547" y="1503"/>
                      <a:pt x="547" y="1503"/>
                      <a:pt x="547" y="1503"/>
                    </a:cubicBezTo>
                    <a:cubicBezTo>
                      <a:pt x="399" y="1594"/>
                      <a:pt x="198" y="1538"/>
                      <a:pt x="99" y="1377"/>
                    </a:cubicBezTo>
                    <a:close/>
                  </a:path>
                </a:pathLst>
              </a:custGeom>
              <a:solidFill>
                <a:srgbClr val="1015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</p:grpSp>
      </p:grpSp>
      <p:sp>
        <p:nvSpPr>
          <p:cNvPr id="3" name="流程图: 接点 2"/>
          <p:cNvSpPr/>
          <p:nvPr/>
        </p:nvSpPr>
        <p:spPr>
          <a:xfrm>
            <a:off x="7077658" y="3866267"/>
            <a:ext cx="951084" cy="989326"/>
          </a:xfrm>
          <a:prstGeom prst="flowChartConnector">
            <a:avLst/>
          </a:prstGeom>
          <a:solidFill>
            <a:srgbClr val="F4CF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" name="Freeform 112"/>
          <p:cNvSpPr>
            <a:spLocks noEditPoints="1" noChangeArrowheads="1"/>
          </p:cNvSpPr>
          <p:nvPr/>
        </p:nvSpPr>
        <p:spPr bwMode="auto">
          <a:xfrm>
            <a:off x="7353469" y="4091919"/>
            <a:ext cx="444500" cy="496887"/>
          </a:xfrm>
          <a:custGeom>
            <a:avLst/>
            <a:gdLst>
              <a:gd name="T0" fmla="*/ 347346 w 182"/>
              <a:gd name="T1" fmla="*/ 211907 h 204"/>
              <a:gd name="T2" fmla="*/ 338497 w 182"/>
              <a:gd name="T3" fmla="*/ 105954 h 204"/>
              <a:gd name="T4" fmla="*/ 172567 w 182"/>
              <a:gd name="T5" fmla="*/ 0 h 204"/>
              <a:gd name="T6" fmla="*/ 2212 w 182"/>
              <a:gd name="T7" fmla="*/ 174382 h 204"/>
              <a:gd name="T8" fmla="*/ 0 w 182"/>
              <a:gd name="T9" fmla="*/ 450303 h 204"/>
              <a:gd name="T10" fmla="*/ 250001 w 182"/>
              <a:gd name="T11" fmla="*/ 388497 h 204"/>
              <a:gd name="T12" fmla="*/ 325222 w 182"/>
              <a:gd name="T13" fmla="*/ 388497 h 204"/>
              <a:gd name="T14" fmla="*/ 325222 w 182"/>
              <a:gd name="T15" fmla="*/ 388497 h 204"/>
              <a:gd name="T16" fmla="*/ 345134 w 182"/>
              <a:gd name="T17" fmla="*/ 333313 h 204"/>
              <a:gd name="T18" fmla="*/ 323010 w 182"/>
              <a:gd name="T19" fmla="*/ 320068 h 204"/>
              <a:gd name="T20" fmla="*/ 345134 w 182"/>
              <a:gd name="T21" fmla="*/ 309031 h 204"/>
              <a:gd name="T22" fmla="*/ 342921 w 182"/>
              <a:gd name="T23" fmla="*/ 304617 h 204"/>
              <a:gd name="T24" fmla="*/ 376107 w 182"/>
              <a:gd name="T25" fmla="*/ 245018 h 204"/>
              <a:gd name="T26" fmla="*/ 137169 w 182"/>
              <a:gd name="T27" fmla="*/ 205285 h 204"/>
              <a:gd name="T28" fmla="*/ 137169 w 182"/>
              <a:gd name="T29" fmla="*/ 225152 h 204"/>
              <a:gd name="T30" fmla="*/ 119469 w 182"/>
              <a:gd name="T31" fmla="*/ 231774 h 204"/>
              <a:gd name="T32" fmla="*/ 106195 w 182"/>
              <a:gd name="T33" fmla="*/ 242810 h 204"/>
              <a:gd name="T34" fmla="*/ 88496 w 182"/>
              <a:gd name="T35" fmla="*/ 236188 h 204"/>
              <a:gd name="T36" fmla="*/ 70797 w 182"/>
              <a:gd name="T37" fmla="*/ 236188 h 204"/>
              <a:gd name="T38" fmla="*/ 61947 w 182"/>
              <a:gd name="T39" fmla="*/ 218529 h 204"/>
              <a:gd name="T40" fmla="*/ 48673 w 182"/>
              <a:gd name="T41" fmla="*/ 205285 h 204"/>
              <a:gd name="T42" fmla="*/ 57522 w 182"/>
              <a:gd name="T43" fmla="*/ 187626 h 204"/>
              <a:gd name="T44" fmla="*/ 57522 w 182"/>
              <a:gd name="T45" fmla="*/ 167760 h 204"/>
              <a:gd name="T46" fmla="*/ 75221 w 182"/>
              <a:gd name="T47" fmla="*/ 161138 h 204"/>
              <a:gd name="T48" fmla="*/ 88496 w 182"/>
              <a:gd name="T49" fmla="*/ 150101 h 204"/>
              <a:gd name="T50" fmla="*/ 106195 w 182"/>
              <a:gd name="T51" fmla="*/ 156723 h 204"/>
              <a:gd name="T52" fmla="*/ 126107 w 182"/>
              <a:gd name="T53" fmla="*/ 156723 h 204"/>
              <a:gd name="T54" fmla="*/ 132744 w 182"/>
              <a:gd name="T55" fmla="*/ 174382 h 204"/>
              <a:gd name="T56" fmla="*/ 146018 w 182"/>
              <a:gd name="T57" fmla="*/ 187626 h 204"/>
              <a:gd name="T58" fmla="*/ 300886 w 182"/>
              <a:gd name="T59" fmla="*/ 169967 h 204"/>
              <a:gd name="T60" fmla="*/ 278762 w 182"/>
              <a:gd name="T61" fmla="*/ 192041 h 204"/>
              <a:gd name="T62" fmla="*/ 267700 w 182"/>
              <a:gd name="T63" fmla="*/ 220737 h 204"/>
              <a:gd name="T64" fmla="*/ 236726 w 182"/>
              <a:gd name="T65" fmla="*/ 220737 h 204"/>
              <a:gd name="T66" fmla="*/ 207965 w 182"/>
              <a:gd name="T67" fmla="*/ 231774 h 204"/>
              <a:gd name="T68" fmla="*/ 183629 w 182"/>
              <a:gd name="T69" fmla="*/ 211907 h 204"/>
              <a:gd name="T70" fmla="*/ 154868 w 182"/>
              <a:gd name="T71" fmla="*/ 200870 h 204"/>
              <a:gd name="T72" fmla="*/ 154868 w 182"/>
              <a:gd name="T73" fmla="*/ 169967 h 204"/>
              <a:gd name="T74" fmla="*/ 141593 w 182"/>
              <a:gd name="T75" fmla="*/ 141272 h 204"/>
              <a:gd name="T76" fmla="*/ 163717 w 182"/>
              <a:gd name="T77" fmla="*/ 116990 h 204"/>
              <a:gd name="T78" fmla="*/ 174779 w 182"/>
              <a:gd name="T79" fmla="*/ 88295 h 204"/>
              <a:gd name="T80" fmla="*/ 207965 w 182"/>
              <a:gd name="T81" fmla="*/ 88295 h 204"/>
              <a:gd name="T82" fmla="*/ 236726 w 182"/>
              <a:gd name="T83" fmla="*/ 77258 h 204"/>
              <a:gd name="T84" fmla="*/ 258850 w 182"/>
              <a:gd name="T85" fmla="*/ 97124 h 204"/>
              <a:gd name="T86" fmla="*/ 287611 w 182"/>
              <a:gd name="T87" fmla="*/ 108161 h 204"/>
              <a:gd name="T88" fmla="*/ 287611 w 182"/>
              <a:gd name="T89" fmla="*/ 141272 h 204"/>
              <a:gd name="T90" fmla="*/ 300886 w 182"/>
              <a:gd name="T91" fmla="*/ 169967 h 20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82"/>
              <a:gd name="T139" fmla="*/ 0 h 204"/>
              <a:gd name="T140" fmla="*/ 182 w 182"/>
              <a:gd name="T141" fmla="*/ 204 h 204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82" h="204">
                <a:moveTo>
                  <a:pt x="170" y="111"/>
                </a:moveTo>
                <a:cubicBezTo>
                  <a:pt x="166" y="107"/>
                  <a:pt x="160" y="102"/>
                  <a:pt x="157" y="96"/>
                </a:cubicBezTo>
                <a:cubicBezTo>
                  <a:pt x="153" y="87"/>
                  <a:pt x="158" y="79"/>
                  <a:pt x="157" y="70"/>
                </a:cubicBezTo>
                <a:cubicBezTo>
                  <a:pt x="157" y="63"/>
                  <a:pt x="155" y="54"/>
                  <a:pt x="153" y="48"/>
                </a:cubicBezTo>
                <a:cubicBezTo>
                  <a:pt x="149" y="37"/>
                  <a:pt x="142" y="28"/>
                  <a:pt x="133" y="21"/>
                </a:cubicBezTo>
                <a:cubicBezTo>
                  <a:pt x="119" y="8"/>
                  <a:pt x="100" y="0"/>
                  <a:pt x="78" y="0"/>
                </a:cubicBezTo>
                <a:cubicBezTo>
                  <a:pt x="35" y="0"/>
                  <a:pt x="0" y="32"/>
                  <a:pt x="0" y="71"/>
                </a:cubicBezTo>
                <a:cubicBezTo>
                  <a:pt x="0" y="74"/>
                  <a:pt x="0" y="77"/>
                  <a:pt x="1" y="79"/>
                </a:cubicBezTo>
                <a:cubicBezTo>
                  <a:pt x="1" y="96"/>
                  <a:pt x="6" y="117"/>
                  <a:pt x="22" y="139"/>
                </a:cubicBezTo>
                <a:cubicBezTo>
                  <a:pt x="22" y="139"/>
                  <a:pt x="43" y="182"/>
                  <a:pt x="0" y="204"/>
                </a:cubicBezTo>
                <a:cubicBezTo>
                  <a:pt x="95" y="204"/>
                  <a:pt x="95" y="204"/>
                  <a:pt x="95" y="204"/>
                </a:cubicBezTo>
                <a:cubicBezTo>
                  <a:pt x="95" y="204"/>
                  <a:pt x="102" y="176"/>
                  <a:pt x="113" y="176"/>
                </a:cubicBezTo>
                <a:cubicBezTo>
                  <a:pt x="123" y="176"/>
                  <a:pt x="133" y="177"/>
                  <a:pt x="142" y="176"/>
                </a:cubicBezTo>
                <a:cubicBezTo>
                  <a:pt x="144" y="177"/>
                  <a:pt x="146" y="176"/>
                  <a:pt x="147" y="176"/>
                </a:cubicBezTo>
                <a:cubicBezTo>
                  <a:pt x="147" y="176"/>
                  <a:pt x="147" y="176"/>
                  <a:pt x="147" y="176"/>
                </a:cubicBezTo>
                <a:cubicBezTo>
                  <a:pt x="147" y="176"/>
                  <a:pt x="147" y="176"/>
                  <a:pt x="147" y="176"/>
                </a:cubicBezTo>
                <a:cubicBezTo>
                  <a:pt x="154" y="173"/>
                  <a:pt x="149" y="157"/>
                  <a:pt x="149" y="157"/>
                </a:cubicBezTo>
                <a:cubicBezTo>
                  <a:pt x="153" y="155"/>
                  <a:pt x="156" y="153"/>
                  <a:pt x="156" y="151"/>
                </a:cubicBezTo>
                <a:cubicBezTo>
                  <a:pt x="156" y="150"/>
                  <a:pt x="156" y="150"/>
                  <a:pt x="156" y="150"/>
                </a:cubicBezTo>
                <a:cubicBezTo>
                  <a:pt x="156" y="148"/>
                  <a:pt x="152" y="146"/>
                  <a:pt x="146" y="145"/>
                </a:cubicBezTo>
                <a:cubicBezTo>
                  <a:pt x="149" y="145"/>
                  <a:pt x="149" y="145"/>
                  <a:pt x="149" y="145"/>
                </a:cubicBezTo>
                <a:cubicBezTo>
                  <a:pt x="153" y="145"/>
                  <a:pt x="156" y="143"/>
                  <a:pt x="156" y="140"/>
                </a:cubicBezTo>
                <a:cubicBezTo>
                  <a:pt x="156" y="140"/>
                  <a:pt x="156" y="140"/>
                  <a:pt x="156" y="140"/>
                </a:cubicBezTo>
                <a:cubicBezTo>
                  <a:pt x="156" y="139"/>
                  <a:pt x="156" y="138"/>
                  <a:pt x="155" y="138"/>
                </a:cubicBezTo>
                <a:cubicBezTo>
                  <a:pt x="156" y="135"/>
                  <a:pt x="159" y="121"/>
                  <a:pt x="160" y="121"/>
                </a:cubicBezTo>
                <a:cubicBezTo>
                  <a:pt x="182" y="119"/>
                  <a:pt x="170" y="111"/>
                  <a:pt x="170" y="111"/>
                </a:cubicBezTo>
                <a:close/>
                <a:moveTo>
                  <a:pt x="66" y="93"/>
                </a:moveTo>
                <a:cubicBezTo>
                  <a:pt x="62" y="93"/>
                  <a:pt x="62" y="93"/>
                  <a:pt x="62" y="93"/>
                </a:cubicBezTo>
                <a:cubicBezTo>
                  <a:pt x="62" y="95"/>
                  <a:pt x="61" y="97"/>
                  <a:pt x="60" y="99"/>
                </a:cubicBezTo>
                <a:cubicBezTo>
                  <a:pt x="62" y="102"/>
                  <a:pt x="62" y="102"/>
                  <a:pt x="62" y="102"/>
                </a:cubicBezTo>
                <a:cubicBezTo>
                  <a:pt x="57" y="107"/>
                  <a:pt x="57" y="107"/>
                  <a:pt x="57" y="107"/>
                </a:cubicBezTo>
                <a:cubicBezTo>
                  <a:pt x="54" y="105"/>
                  <a:pt x="54" y="105"/>
                  <a:pt x="54" y="105"/>
                </a:cubicBezTo>
                <a:cubicBezTo>
                  <a:pt x="52" y="106"/>
                  <a:pt x="50" y="107"/>
                  <a:pt x="48" y="107"/>
                </a:cubicBezTo>
                <a:cubicBezTo>
                  <a:pt x="48" y="110"/>
                  <a:pt x="48" y="110"/>
                  <a:pt x="48" y="110"/>
                </a:cubicBezTo>
                <a:cubicBezTo>
                  <a:pt x="40" y="110"/>
                  <a:pt x="40" y="110"/>
                  <a:pt x="40" y="110"/>
                </a:cubicBezTo>
                <a:cubicBezTo>
                  <a:pt x="40" y="107"/>
                  <a:pt x="40" y="107"/>
                  <a:pt x="40" y="107"/>
                </a:cubicBezTo>
                <a:cubicBezTo>
                  <a:pt x="38" y="107"/>
                  <a:pt x="36" y="106"/>
                  <a:pt x="34" y="105"/>
                </a:cubicBezTo>
                <a:cubicBezTo>
                  <a:pt x="32" y="107"/>
                  <a:pt x="32" y="107"/>
                  <a:pt x="32" y="107"/>
                </a:cubicBezTo>
                <a:cubicBezTo>
                  <a:pt x="26" y="102"/>
                  <a:pt x="26" y="102"/>
                  <a:pt x="26" y="102"/>
                </a:cubicBezTo>
                <a:cubicBezTo>
                  <a:pt x="28" y="99"/>
                  <a:pt x="28" y="99"/>
                  <a:pt x="28" y="99"/>
                </a:cubicBezTo>
                <a:cubicBezTo>
                  <a:pt x="27" y="97"/>
                  <a:pt x="26" y="95"/>
                  <a:pt x="26" y="93"/>
                </a:cubicBezTo>
                <a:cubicBezTo>
                  <a:pt x="22" y="93"/>
                  <a:pt x="22" y="93"/>
                  <a:pt x="22" y="93"/>
                </a:cubicBezTo>
                <a:cubicBezTo>
                  <a:pt x="22" y="85"/>
                  <a:pt x="22" y="85"/>
                  <a:pt x="22" y="85"/>
                </a:cubicBezTo>
                <a:cubicBezTo>
                  <a:pt x="26" y="85"/>
                  <a:pt x="26" y="85"/>
                  <a:pt x="26" y="85"/>
                </a:cubicBezTo>
                <a:cubicBezTo>
                  <a:pt x="26" y="83"/>
                  <a:pt x="27" y="81"/>
                  <a:pt x="28" y="79"/>
                </a:cubicBezTo>
                <a:cubicBezTo>
                  <a:pt x="26" y="76"/>
                  <a:pt x="26" y="76"/>
                  <a:pt x="26" y="76"/>
                </a:cubicBezTo>
                <a:cubicBezTo>
                  <a:pt x="31" y="71"/>
                  <a:pt x="31" y="71"/>
                  <a:pt x="31" y="71"/>
                </a:cubicBezTo>
                <a:cubicBezTo>
                  <a:pt x="34" y="73"/>
                  <a:pt x="34" y="73"/>
                  <a:pt x="34" y="73"/>
                </a:cubicBezTo>
                <a:cubicBezTo>
                  <a:pt x="36" y="72"/>
                  <a:pt x="38" y="71"/>
                  <a:pt x="40" y="71"/>
                </a:cubicBezTo>
                <a:cubicBezTo>
                  <a:pt x="40" y="68"/>
                  <a:pt x="40" y="68"/>
                  <a:pt x="40" y="68"/>
                </a:cubicBezTo>
                <a:cubicBezTo>
                  <a:pt x="48" y="68"/>
                  <a:pt x="48" y="68"/>
                  <a:pt x="48" y="68"/>
                </a:cubicBezTo>
                <a:cubicBezTo>
                  <a:pt x="48" y="71"/>
                  <a:pt x="48" y="71"/>
                  <a:pt x="48" y="71"/>
                </a:cubicBezTo>
                <a:cubicBezTo>
                  <a:pt x="50" y="71"/>
                  <a:pt x="52" y="72"/>
                  <a:pt x="54" y="73"/>
                </a:cubicBezTo>
                <a:cubicBezTo>
                  <a:pt x="57" y="71"/>
                  <a:pt x="57" y="71"/>
                  <a:pt x="57" y="71"/>
                </a:cubicBezTo>
                <a:cubicBezTo>
                  <a:pt x="63" y="76"/>
                  <a:pt x="63" y="76"/>
                  <a:pt x="63" y="76"/>
                </a:cubicBezTo>
                <a:cubicBezTo>
                  <a:pt x="60" y="79"/>
                  <a:pt x="60" y="79"/>
                  <a:pt x="60" y="79"/>
                </a:cubicBezTo>
                <a:cubicBezTo>
                  <a:pt x="61" y="81"/>
                  <a:pt x="62" y="83"/>
                  <a:pt x="63" y="85"/>
                </a:cubicBezTo>
                <a:cubicBezTo>
                  <a:pt x="66" y="85"/>
                  <a:pt x="66" y="85"/>
                  <a:pt x="66" y="85"/>
                </a:cubicBezTo>
                <a:lnTo>
                  <a:pt x="66" y="93"/>
                </a:lnTo>
                <a:close/>
                <a:moveTo>
                  <a:pt x="136" y="77"/>
                </a:moveTo>
                <a:cubicBezTo>
                  <a:pt x="130" y="77"/>
                  <a:pt x="130" y="77"/>
                  <a:pt x="130" y="77"/>
                </a:cubicBezTo>
                <a:cubicBezTo>
                  <a:pt x="129" y="80"/>
                  <a:pt x="128" y="84"/>
                  <a:pt x="126" y="87"/>
                </a:cubicBezTo>
                <a:cubicBezTo>
                  <a:pt x="130" y="91"/>
                  <a:pt x="130" y="91"/>
                  <a:pt x="130" y="91"/>
                </a:cubicBezTo>
                <a:cubicBezTo>
                  <a:pt x="121" y="100"/>
                  <a:pt x="121" y="100"/>
                  <a:pt x="121" y="100"/>
                </a:cubicBezTo>
                <a:cubicBezTo>
                  <a:pt x="117" y="96"/>
                  <a:pt x="117" y="96"/>
                  <a:pt x="117" y="96"/>
                </a:cubicBezTo>
                <a:cubicBezTo>
                  <a:pt x="114" y="98"/>
                  <a:pt x="110" y="99"/>
                  <a:pt x="107" y="100"/>
                </a:cubicBezTo>
                <a:cubicBezTo>
                  <a:pt x="107" y="105"/>
                  <a:pt x="107" y="105"/>
                  <a:pt x="107" y="105"/>
                </a:cubicBezTo>
                <a:cubicBezTo>
                  <a:pt x="94" y="105"/>
                  <a:pt x="94" y="105"/>
                  <a:pt x="94" y="105"/>
                </a:cubicBezTo>
                <a:cubicBezTo>
                  <a:pt x="94" y="100"/>
                  <a:pt x="94" y="100"/>
                  <a:pt x="94" y="100"/>
                </a:cubicBezTo>
                <a:cubicBezTo>
                  <a:pt x="90" y="100"/>
                  <a:pt x="86" y="98"/>
                  <a:pt x="83" y="96"/>
                </a:cubicBezTo>
                <a:cubicBezTo>
                  <a:pt x="79" y="100"/>
                  <a:pt x="79" y="100"/>
                  <a:pt x="79" y="100"/>
                </a:cubicBezTo>
                <a:cubicBezTo>
                  <a:pt x="70" y="91"/>
                  <a:pt x="70" y="91"/>
                  <a:pt x="70" y="91"/>
                </a:cubicBezTo>
                <a:cubicBezTo>
                  <a:pt x="74" y="87"/>
                  <a:pt x="74" y="87"/>
                  <a:pt x="74" y="87"/>
                </a:cubicBezTo>
                <a:cubicBezTo>
                  <a:pt x="72" y="84"/>
                  <a:pt x="71" y="81"/>
                  <a:pt x="70" y="77"/>
                </a:cubicBezTo>
                <a:cubicBezTo>
                  <a:pt x="64" y="77"/>
                  <a:pt x="64" y="77"/>
                  <a:pt x="64" y="77"/>
                </a:cubicBezTo>
                <a:cubicBezTo>
                  <a:pt x="64" y="64"/>
                  <a:pt x="64" y="64"/>
                  <a:pt x="64" y="64"/>
                </a:cubicBezTo>
                <a:cubicBezTo>
                  <a:pt x="70" y="64"/>
                  <a:pt x="70" y="64"/>
                  <a:pt x="70" y="64"/>
                </a:cubicBezTo>
                <a:cubicBezTo>
                  <a:pt x="70" y="60"/>
                  <a:pt x="72" y="56"/>
                  <a:pt x="74" y="53"/>
                </a:cubicBezTo>
                <a:cubicBezTo>
                  <a:pt x="70" y="49"/>
                  <a:pt x="70" y="49"/>
                  <a:pt x="70" y="49"/>
                </a:cubicBezTo>
                <a:cubicBezTo>
                  <a:pt x="79" y="40"/>
                  <a:pt x="79" y="40"/>
                  <a:pt x="79" y="40"/>
                </a:cubicBezTo>
                <a:cubicBezTo>
                  <a:pt x="83" y="44"/>
                  <a:pt x="83" y="44"/>
                  <a:pt x="83" y="44"/>
                </a:cubicBezTo>
                <a:cubicBezTo>
                  <a:pt x="86" y="42"/>
                  <a:pt x="90" y="41"/>
                  <a:pt x="94" y="40"/>
                </a:cubicBezTo>
                <a:cubicBezTo>
                  <a:pt x="94" y="35"/>
                  <a:pt x="94" y="35"/>
                  <a:pt x="94" y="35"/>
                </a:cubicBezTo>
                <a:cubicBezTo>
                  <a:pt x="107" y="35"/>
                  <a:pt x="107" y="35"/>
                  <a:pt x="107" y="35"/>
                </a:cubicBezTo>
                <a:cubicBezTo>
                  <a:pt x="107" y="40"/>
                  <a:pt x="107" y="40"/>
                  <a:pt x="107" y="40"/>
                </a:cubicBezTo>
                <a:cubicBezTo>
                  <a:pt x="110" y="41"/>
                  <a:pt x="114" y="42"/>
                  <a:pt x="117" y="44"/>
                </a:cubicBezTo>
                <a:cubicBezTo>
                  <a:pt x="121" y="40"/>
                  <a:pt x="121" y="40"/>
                  <a:pt x="121" y="40"/>
                </a:cubicBezTo>
                <a:cubicBezTo>
                  <a:pt x="130" y="49"/>
                  <a:pt x="130" y="49"/>
                  <a:pt x="130" y="49"/>
                </a:cubicBezTo>
                <a:cubicBezTo>
                  <a:pt x="126" y="53"/>
                  <a:pt x="126" y="53"/>
                  <a:pt x="126" y="53"/>
                </a:cubicBezTo>
                <a:cubicBezTo>
                  <a:pt x="128" y="57"/>
                  <a:pt x="130" y="60"/>
                  <a:pt x="130" y="64"/>
                </a:cubicBezTo>
                <a:cubicBezTo>
                  <a:pt x="136" y="64"/>
                  <a:pt x="136" y="64"/>
                  <a:pt x="136" y="64"/>
                </a:cubicBezTo>
                <a:lnTo>
                  <a:pt x="136" y="77"/>
                </a:lnTo>
                <a:close/>
              </a:path>
            </a:pathLst>
          </a:custGeom>
          <a:solidFill>
            <a:srgbClr val="FCFCF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90204"/>
              <a:ea typeface="微软雅黑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262840" y="2258535"/>
            <a:ext cx="4621853" cy="1375181"/>
          </a:xfrm>
        </p:spPr>
        <p:txBody>
          <a:bodyPr anchor="ctr">
            <a:normAutofit/>
          </a:bodyPr>
          <a:lstStyle/>
          <a:p>
            <a:r>
              <a:rPr lang="zh-CN" altLang="en-US" sz="3600" dirty="0">
                <a:solidFill>
                  <a:srgbClr val="030157"/>
                </a:solidFill>
              </a:rPr>
              <a:t>商业计划</a:t>
            </a:r>
            <a:endParaRPr lang="en-US" altLang="zh-CN" sz="3600" dirty="0">
              <a:solidFill>
                <a:srgbClr val="030157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3177491" y="256707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27755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162050" y="1906905"/>
            <a:ext cx="9446260" cy="3555365"/>
            <a:chOff x="1166159" y="1979477"/>
            <a:chExt cx="9277724" cy="3491775"/>
          </a:xfrm>
        </p:grpSpPr>
        <p:sp>
          <p:nvSpPr>
            <p:cNvPr id="12" name="îṩlîḋé"/>
            <p:cNvSpPr/>
            <p:nvPr/>
          </p:nvSpPr>
          <p:spPr bwMode="auto">
            <a:xfrm rot="16200000">
              <a:off x="3144431" y="3314021"/>
              <a:ext cx="3318146" cy="649058"/>
            </a:xfrm>
            <a:prstGeom prst="trapezoid">
              <a:avLst>
                <a:gd name="adj" fmla="val 101311"/>
              </a:avLst>
            </a:prstGeom>
            <a:gradFill>
              <a:gsLst>
                <a:gs pos="0">
                  <a:schemeClr val="tx2">
                    <a:lumMod val="31000"/>
                    <a:lumOff val="69000"/>
                  </a:schemeClr>
                </a:gs>
                <a:gs pos="100000">
                  <a:schemeClr val="tx2">
                    <a:alpha val="0"/>
                    <a:lumMod val="19000"/>
                    <a:lumOff val="81000"/>
                  </a:schemeClr>
                </a:gs>
              </a:gsLst>
              <a:lin ang="5400000" scaled="1"/>
            </a:gradFill>
            <a:ln w="19050">
              <a:noFill/>
              <a:rou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13" name="îṧļiḑé"/>
            <p:cNvSpPr/>
            <p:nvPr/>
          </p:nvSpPr>
          <p:spPr bwMode="auto">
            <a:xfrm>
              <a:off x="2403721" y="2388786"/>
              <a:ext cx="903494" cy="3082466"/>
            </a:xfrm>
            <a:custGeom>
              <a:avLst/>
              <a:gdLst>
                <a:gd name="T0" fmla="*/ 1764 w 4053"/>
                <a:gd name="T1" fmla="*/ 0 h 16197"/>
                <a:gd name="T2" fmla="*/ 2323 w 4053"/>
                <a:gd name="T3" fmla="*/ 0 h 16197"/>
                <a:gd name="T4" fmla="*/ 2323 w 4053"/>
                <a:gd name="T5" fmla="*/ 892 h 16197"/>
                <a:gd name="T6" fmla="*/ 1764 w 4053"/>
                <a:gd name="T7" fmla="*/ 892 h 16197"/>
                <a:gd name="T8" fmla="*/ 1764 w 4053"/>
                <a:gd name="T9" fmla="*/ 0 h 16197"/>
                <a:gd name="T10" fmla="*/ 1831 w 4053"/>
                <a:gd name="T11" fmla="*/ 11317 h 16197"/>
                <a:gd name="T12" fmla="*/ 2256 w 4053"/>
                <a:gd name="T13" fmla="*/ 11317 h 16197"/>
                <a:gd name="T14" fmla="*/ 2256 w 4053"/>
                <a:gd name="T15" fmla="*/ 13709 h 16197"/>
                <a:gd name="T16" fmla="*/ 4053 w 4053"/>
                <a:gd name="T17" fmla="*/ 15988 h 16197"/>
                <a:gd name="T18" fmla="*/ 3787 w 4053"/>
                <a:gd name="T19" fmla="*/ 16197 h 16197"/>
                <a:gd name="T20" fmla="*/ 2256 w 4053"/>
                <a:gd name="T21" fmla="*/ 14256 h 16197"/>
                <a:gd name="T22" fmla="*/ 2256 w 4053"/>
                <a:gd name="T23" fmla="*/ 16151 h 16197"/>
                <a:gd name="T24" fmla="*/ 1831 w 4053"/>
                <a:gd name="T25" fmla="*/ 16151 h 16197"/>
                <a:gd name="T26" fmla="*/ 1831 w 4053"/>
                <a:gd name="T27" fmla="*/ 14215 h 16197"/>
                <a:gd name="T28" fmla="*/ 266 w 4053"/>
                <a:gd name="T29" fmla="*/ 16197 h 16197"/>
                <a:gd name="T30" fmla="*/ 0 w 4053"/>
                <a:gd name="T31" fmla="*/ 15988 h 16197"/>
                <a:gd name="T32" fmla="*/ 1831 w 4053"/>
                <a:gd name="T33" fmla="*/ 13668 h 16197"/>
                <a:gd name="T34" fmla="*/ 1831 w 4053"/>
                <a:gd name="T35" fmla="*/ 11317 h 16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53" h="16197">
                  <a:moveTo>
                    <a:pt x="1764" y="0"/>
                  </a:moveTo>
                  <a:lnTo>
                    <a:pt x="2323" y="0"/>
                  </a:lnTo>
                  <a:lnTo>
                    <a:pt x="2323" y="892"/>
                  </a:lnTo>
                  <a:lnTo>
                    <a:pt x="1764" y="892"/>
                  </a:lnTo>
                  <a:lnTo>
                    <a:pt x="1764" y="0"/>
                  </a:lnTo>
                  <a:close/>
                  <a:moveTo>
                    <a:pt x="1831" y="11317"/>
                  </a:moveTo>
                  <a:lnTo>
                    <a:pt x="2256" y="11317"/>
                  </a:lnTo>
                  <a:lnTo>
                    <a:pt x="2256" y="13709"/>
                  </a:lnTo>
                  <a:lnTo>
                    <a:pt x="4053" y="15988"/>
                  </a:lnTo>
                  <a:lnTo>
                    <a:pt x="3787" y="16197"/>
                  </a:lnTo>
                  <a:lnTo>
                    <a:pt x="2256" y="14256"/>
                  </a:lnTo>
                  <a:lnTo>
                    <a:pt x="2256" y="16151"/>
                  </a:lnTo>
                  <a:lnTo>
                    <a:pt x="1831" y="16151"/>
                  </a:lnTo>
                  <a:lnTo>
                    <a:pt x="1831" y="14215"/>
                  </a:lnTo>
                  <a:lnTo>
                    <a:pt x="266" y="16197"/>
                  </a:lnTo>
                  <a:lnTo>
                    <a:pt x="0" y="15988"/>
                  </a:lnTo>
                  <a:lnTo>
                    <a:pt x="1831" y="13668"/>
                  </a:lnTo>
                  <a:lnTo>
                    <a:pt x="1831" y="1131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14" name="ïS1iďê"/>
            <p:cNvSpPr/>
            <p:nvPr/>
          </p:nvSpPr>
          <p:spPr bwMode="auto">
            <a:xfrm>
              <a:off x="1166159" y="2475721"/>
              <a:ext cx="3378619" cy="2325660"/>
            </a:xfrm>
            <a:custGeom>
              <a:avLst/>
              <a:gdLst>
                <a:gd name="T0" fmla="*/ 233 w 15146"/>
                <a:gd name="T1" fmla="*/ 466 h 10425"/>
                <a:gd name="T2" fmla="*/ 186 w 15146"/>
                <a:gd name="T3" fmla="*/ 460 h 10425"/>
                <a:gd name="T4" fmla="*/ 142 w 15146"/>
                <a:gd name="T5" fmla="*/ 447 h 10425"/>
                <a:gd name="T6" fmla="*/ 68 w 15146"/>
                <a:gd name="T7" fmla="*/ 397 h 10425"/>
                <a:gd name="T8" fmla="*/ 19 w 15146"/>
                <a:gd name="T9" fmla="*/ 323 h 10425"/>
                <a:gd name="T10" fmla="*/ 5 w 15146"/>
                <a:gd name="T11" fmla="*/ 279 h 10425"/>
                <a:gd name="T12" fmla="*/ 0 w 15146"/>
                <a:gd name="T13" fmla="*/ 233 h 10425"/>
                <a:gd name="T14" fmla="*/ 3 w 15146"/>
                <a:gd name="T15" fmla="*/ 197 h 10425"/>
                <a:gd name="T16" fmla="*/ 15 w 15146"/>
                <a:gd name="T17" fmla="*/ 154 h 10425"/>
                <a:gd name="T18" fmla="*/ 54 w 15146"/>
                <a:gd name="T19" fmla="*/ 85 h 10425"/>
                <a:gd name="T20" fmla="*/ 123 w 15146"/>
                <a:gd name="T21" fmla="*/ 28 h 10425"/>
                <a:gd name="T22" fmla="*/ 175 w 15146"/>
                <a:gd name="T23" fmla="*/ 8 h 10425"/>
                <a:gd name="T24" fmla="*/ 221 w 15146"/>
                <a:gd name="T25" fmla="*/ 1 h 10425"/>
                <a:gd name="T26" fmla="*/ 14938 w 15146"/>
                <a:gd name="T27" fmla="*/ 2 h 10425"/>
                <a:gd name="T28" fmla="*/ 14983 w 15146"/>
                <a:gd name="T29" fmla="*/ 11 h 10425"/>
                <a:gd name="T30" fmla="*/ 15044 w 15146"/>
                <a:gd name="T31" fmla="*/ 40 h 10425"/>
                <a:gd name="T32" fmla="*/ 15106 w 15146"/>
                <a:gd name="T33" fmla="*/ 104 h 10425"/>
                <a:gd name="T34" fmla="*/ 15135 w 15146"/>
                <a:gd name="T35" fmla="*/ 164 h 10425"/>
                <a:gd name="T36" fmla="*/ 15145 w 15146"/>
                <a:gd name="T37" fmla="*/ 209 h 10425"/>
                <a:gd name="T38" fmla="*/ 15146 w 15146"/>
                <a:gd name="T39" fmla="*/ 245 h 10425"/>
                <a:gd name="T40" fmla="*/ 15138 w 15146"/>
                <a:gd name="T41" fmla="*/ 291 h 10425"/>
                <a:gd name="T42" fmla="*/ 15118 w 15146"/>
                <a:gd name="T43" fmla="*/ 343 h 10425"/>
                <a:gd name="T44" fmla="*/ 15061 w 15146"/>
                <a:gd name="T45" fmla="*/ 412 h 10425"/>
                <a:gd name="T46" fmla="*/ 14993 w 15146"/>
                <a:gd name="T47" fmla="*/ 451 h 10425"/>
                <a:gd name="T48" fmla="*/ 14949 w 15146"/>
                <a:gd name="T49" fmla="*/ 462 h 10425"/>
                <a:gd name="T50" fmla="*/ 14729 w 15146"/>
                <a:gd name="T51" fmla="*/ 466 h 10425"/>
                <a:gd name="T52" fmla="*/ 14938 w 15146"/>
                <a:gd name="T53" fmla="*/ 9960 h 10425"/>
                <a:gd name="T54" fmla="*/ 14983 w 15146"/>
                <a:gd name="T55" fmla="*/ 9970 h 10425"/>
                <a:gd name="T56" fmla="*/ 15044 w 15146"/>
                <a:gd name="T57" fmla="*/ 9999 h 10425"/>
                <a:gd name="T58" fmla="*/ 15106 w 15146"/>
                <a:gd name="T59" fmla="*/ 10062 h 10425"/>
                <a:gd name="T60" fmla="*/ 15135 w 15146"/>
                <a:gd name="T61" fmla="*/ 10123 h 10425"/>
                <a:gd name="T62" fmla="*/ 15145 w 15146"/>
                <a:gd name="T63" fmla="*/ 10168 h 10425"/>
                <a:gd name="T64" fmla="*/ 15146 w 15146"/>
                <a:gd name="T65" fmla="*/ 10203 h 10425"/>
                <a:gd name="T66" fmla="*/ 15138 w 15146"/>
                <a:gd name="T67" fmla="*/ 10249 h 10425"/>
                <a:gd name="T68" fmla="*/ 15118 w 15146"/>
                <a:gd name="T69" fmla="*/ 10303 h 10425"/>
                <a:gd name="T70" fmla="*/ 15061 w 15146"/>
                <a:gd name="T71" fmla="*/ 10371 h 10425"/>
                <a:gd name="T72" fmla="*/ 14993 w 15146"/>
                <a:gd name="T73" fmla="*/ 10410 h 10425"/>
                <a:gd name="T74" fmla="*/ 14949 w 15146"/>
                <a:gd name="T75" fmla="*/ 10421 h 10425"/>
                <a:gd name="T76" fmla="*/ 233 w 15146"/>
                <a:gd name="T77" fmla="*/ 10425 h 10425"/>
                <a:gd name="T78" fmla="*/ 186 w 15146"/>
                <a:gd name="T79" fmla="*/ 10419 h 10425"/>
                <a:gd name="T80" fmla="*/ 142 w 15146"/>
                <a:gd name="T81" fmla="*/ 10406 h 10425"/>
                <a:gd name="T82" fmla="*/ 68 w 15146"/>
                <a:gd name="T83" fmla="*/ 10356 h 10425"/>
                <a:gd name="T84" fmla="*/ 19 w 15146"/>
                <a:gd name="T85" fmla="*/ 10282 h 10425"/>
                <a:gd name="T86" fmla="*/ 5 w 15146"/>
                <a:gd name="T87" fmla="*/ 10238 h 10425"/>
                <a:gd name="T88" fmla="*/ 0 w 15146"/>
                <a:gd name="T89" fmla="*/ 10191 h 10425"/>
                <a:gd name="T90" fmla="*/ 3 w 15146"/>
                <a:gd name="T91" fmla="*/ 10156 h 10425"/>
                <a:gd name="T92" fmla="*/ 15 w 15146"/>
                <a:gd name="T93" fmla="*/ 10112 h 10425"/>
                <a:gd name="T94" fmla="*/ 54 w 15146"/>
                <a:gd name="T95" fmla="*/ 10044 h 10425"/>
                <a:gd name="T96" fmla="*/ 123 w 15146"/>
                <a:gd name="T97" fmla="*/ 9987 h 10425"/>
                <a:gd name="T98" fmla="*/ 175 w 15146"/>
                <a:gd name="T99" fmla="*/ 9967 h 10425"/>
                <a:gd name="T100" fmla="*/ 221 w 15146"/>
                <a:gd name="T101" fmla="*/ 9959 h 10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146" h="10425">
                  <a:moveTo>
                    <a:pt x="233" y="9959"/>
                  </a:moveTo>
                  <a:lnTo>
                    <a:pt x="418" y="9959"/>
                  </a:lnTo>
                  <a:lnTo>
                    <a:pt x="418" y="466"/>
                  </a:lnTo>
                  <a:lnTo>
                    <a:pt x="233" y="466"/>
                  </a:lnTo>
                  <a:lnTo>
                    <a:pt x="221" y="466"/>
                  </a:lnTo>
                  <a:lnTo>
                    <a:pt x="209" y="465"/>
                  </a:lnTo>
                  <a:lnTo>
                    <a:pt x="198" y="462"/>
                  </a:lnTo>
                  <a:lnTo>
                    <a:pt x="186" y="460"/>
                  </a:lnTo>
                  <a:lnTo>
                    <a:pt x="175" y="458"/>
                  </a:lnTo>
                  <a:lnTo>
                    <a:pt x="164" y="455"/>
                  </a:lnTo>
                  <a:lnTo>
                    <a:pt x="153" y="451"/>
                  </a:lnTo>
                  <a:lnTo>
                    <a:pt x="142" y="447"/>
                  </a:lnTo>
                  <a:lnTo>
                    <a:pt x="123" y="437"/>
                  </a:lnTo>
                  <a:lnTo>
                    <a:pt x="103" y="425"/>
                  </a:lnTo>
                  <a:lnTo>
                    <a:pt x="85" y="412"/>
                  </a:lnTo>
                  <a:lnTo>
                    <a:pt x="68" y="397"/>
                  </a:lnTo>
                  <a:lnTo>
                    <a:pt x="54" y="381"/>
                  </a:lnTo>
                  <a:lnTo>
                    <a:pt x="40" y="363"/>
                  </a:lnTo>
                  <a:lnTo>
                    <a:pt x="29" y="343"/>
                  </a:lnTo>
                  <a:lnTo>
                    <a:pt x="19" y="323"/>
                  </a:lnTo>
                  <a:lnTo>
                    <a:pt x="15" y="313"/>
                  </a:lnTo>
                  <a:lnTo>
                    <a:pt x="10" y="302"/>
                  </a:lnTo>
                  <a:lnTo>
                    <a:pt x="8" y="291"/>
                  </a:lnTo>
                  <a:lnTo>
                    <a:pt x="5" y="279"/>
                  </a:lnTo>
                  <a:lnTo>
                    <a:pt x="3" y="268"/>
                  </a:lnTo>
                  <a:lnTo>
                    <a:pt x="2" y="256"/>
                  </a:lnTo>
                  <a:lnTo>
                    <a:pt x="0" y="245"/>
                  </a:lnTo>
                  <a:lnTo>
                    <a:pt x="0" y="233"/>
                  </a:lnTo>
                  <a:lnTo>
                    <a:pt x="0" y="233"/>
                  </a:lnTo>
                  <a:lnTo>
                    <a:pt x="0" y="221"/>
                  </a:lnTo>
                  <a:lnTo>
                    <a:pt x="2" y="209"/>
                  </a:lnTo>
                  <a:lnTo>
                    <a:pt x="3" y="197"/>
                  </a:lnTo>
                  <a:lnTo>
                    <a:pt x="5" y="186"/>
                  </a:lnTo>
                  <a:lnTo>
                    <a:pt x="8" y="174"/>
                  </a:lnTo>
                  <a:lnTo>
                    <a:pt x="10" y="164"/>
                  </a:lnTo>
                  <a:lnTo>
                    <a:pt x="15" y="154"/>
                  </a:lnTo>
                  <a:lnTo>
                    <a:pt x="19" y="143"/>
                  </a:lnTo>
                  <a:lnTo>
                    <a:pt x="29" y="122"/>
                  </a:lnTo>
                  <a:lnTo>
                    <a:pt x="40" y="104"/>
                  </a:lnTo>
                  <a:lnTo>
                    <a:pt x="54" y="85"/>
                  </a:lnTo>
                  <a:lnTo>
                    <a:pt x="68" y="69"/>
                  </a:lnTo>
                  <a:lnTo>
                    <a:pt x="85" y="53"/>
                  </a:lnTo>
                  <a:lnTo>
                    <a:pt x="103" y="40"/>
                  </a:lnTo>
                  <a:lnTo>
                    <a:pt x="123" y="28"/>
                  </a:lnTo>
                  <a:lnTo>
                    <a:pt x="142" y="19"/>
                  </a:lnTo>
                  <a:lnTo>
                    <a:pt x="153" y="14"/>
                  </a:lnTo>
                  <a:lnTo>
                    <a:pt x="164" y="11"/>
                  </a:lnTo>
                  <a:lnTo>
                    <a:pt x="175" y="8"/>
                  </a:lnTo>
                  <a:lnTo>
                    <a:pt x="186" y="5"/>
                  </a:lnTo>
                  <a:lnTo>
                    <a:pt x="198" y="3"/>
                  </a:lnTo>
                  <a:lnTo>
                    <a:pt x="209" y="2"/>
                  </a:lnTo>
                  <a:lnTo>
                    <a:pt x="221" y="1"/>
                  </a:lnTo>
                  <a:lnTo>
                    <a:pt x="233" y="0"/>
                  </a:lnTo>
                  <a:lnTo>
                    <a:pt x="14914" y="0"/>
                  </a:lnTo>
                  <a:lnTo>
                    <a:pt x="14926" y="1"/>
                  </a:lnTo>
                  <a:lnTo>
                    <a:pt x="14938" y="2"/>
                  </a:lnTo>
                  <a:lnTo>
                    <a:pt x="14949" y="3"/>
                  </a:lnTo>
                  <a:lnTo>
                    <a:pt x="14961" y="5"/>
                  </a:lnTo>
                  <a:lnTo>
                    <a:pt x="14972" y="8"/>
                  </a:lnTo>
                  <a:lnTo>
                    <a:pt x="14983" y="11"/>
                  </a:lnTo>
                  <a:lnTo>
                    <a:pt x="14993" y="14"/>
                  </a:lnTo>
                  <a:lnTo>
                    <a:pt x="15004" y="19"/>
                  </a:lnTo>
                  <a:lnTo>
                    <a:pt x="15024" y="28"/>
                  </a:lnTo>
                  <a:lnTo>
                    <a:pt x="15044" y="40"/>
                  </a:lnTo>
                  <a:lnTo>
                    <a:pt x="15061" y="53"/>
                  </a:lnTo>
                  <a:lnTo>
                    <a:pt x="15077" y="69"/>
                  </a:lnTo>
                  <a:lnTo>
                    <a:pt x="15093" y="85"/>
                  </a:lnTo>
                  <a:lnTo>
                    <a:pt x="15106" y="104"/>
                  </a:lnTo>
                  <a:lnTo>
                    <a:pt x="15118" y="122"/>
                  </a:lnTo>
                  <a:lnTo>
                    <a:pt x="15127" y="143"/>
                  </a:lnTo>
                  <a:lnTo>
                    <a:pt x="15132" y="154"/>
                  </a:lnTo>
                  <a:lnTo>
                    <a:pt x="15135" y="164"/>
                  </a:lnTo>
                  <a:lnTo>
                    <a:pt x="15138" y="174"/>
                  </a:lnTo>
                  <a:lnTo>
                    <a:pt x="15142" y="186"/>
                  </a:lnTo>
                  <a:lnTo>
                    <a:pt x="15144" y="197"/>
                  </a:lnTo>
                  <a:lnTo>
                    <a:pt x="15145" y="209"/>
                  </a:lnTo>
                  <a:lnTo>
                    <a:pt x="15146" y="221"/>
                  </a:lnTo>
                  <a:lnTo>
                    <a:pt x="15146" y="233"/>
                  </a:lnTo>
                  <a:lnTo>
                    <a:pt x="15146" y="233"/>
                  </a:lnTo>
                  <a:lnTo>
                    <a:pt x="15146" y="245"/>
                  </a:lnTo>
                  <a:lnTo>
                    <a:pt x="15145" y="256"/>
                  </a:lnTo>
                  <a:lnTo>
                    <a:pt x="15144" y="268"/>
                  </a:lnTo>
                  <a:lnTo>
                    <a:pt x="15142" y="279"/>
                  </a:lnTo>
                  <a:lnTo>
                    <a:pt x="15138" y="291"/>
                  </a:lnTo>
                  <a:lnTo>
                    <a:pt x="15135" y="302"/>
                  </a:lnTo>
                  <a:lnTo>
                    <a:pt x="15132" y="313"/>
                  </a:lnTo>
                  <a:lnTo>
                    <a:pt x="15127" y="323"/>
                  </a:lnTo>
                  <a:lnTo>
                    <a:pt x="15118" y="343"/>
                  </a:lnTo>
                  <a:lnTo>
                    <a:pt x="15106" y="363"/>
                  </a:lnTo>
                  <a:lnTo>
                    <a:pt x="15093" y="381"/>
                  </a:lnTo>
                  <a:lnTo>
                    <a:pt x="15077" y="397"/>
                  </a:lnTo>
                  <a:lnTo>
                    <a:pt x="15061" y="412"/>
                  </a:lnTo>
                  <a:lnTo>
                    <a:pt x="15044" y="425"/>
                  </a:lnTo>
                  <a:lnTo>
                    <a:pt x="15024" y="437"/>
                  </a:lnTo>
                  <a:lnTo>
                    <a:pt x="15004" y="447"/>
                  </a:lnTo>
                  <a:lnTo>
                    <a:pt x="14993" y="451"/>
                  </a:lnTo>
                  <a:lnTo>
                    <a:pt x="14983" y="455"/>
                  </a:lnTo>
                  <a:lnTo>
                    <a:pt x="14972" y="458"/>
                  </a:lnTo>
                  <a:lnTo>
                    <a:pt x="14961" y="460"/>
                  </a:lnTo>
                  <a:lnTo>
                    <a:pt x="14949" y="462"/>
                  </a:lnTo>
                  <a:lnTo>
                    <a:pt x="14938" y="465"/>
                  </a:lnTo>
                  <a:lnTo>
                    <a:pt x="14926" y="466"/>
                  </a:lnTo>
                  <a:lnTo>
                    <a:pt x="14914" y="466"/>
                  </a:lnTo>
                  <a:lnTo>
                    <a:pt x="14729" y="466"/>
                  </a:lnTo>
                  <a:lnTo>
                    <a:pt x="14729" y="9959"/>
                  </a:lnTo>
                  <a:lnTo>
                    <a:pt x="14914" y="9959"/>
                  </a:lnTo>
                  <a:lnTo>
                    <a:pt x="14926" y="9959"/>
                  </a:lnTo>
                  <a:lnTo>
                    <a:pt x="14938" y="9960"/>
                  </a:lnTo>
                  <a:lnTo>
                    <a:pt x="14949" y="9962"/>
                  </a:lnTo>
                  <a:lnTo>
                    <a:pt x="14961" y="9964"/>
                  </a:lnTo>
                  <a:lnTo>
                    <a:pt x="14972" y="9967"/>
                  </a:lnTo>
                  <a:lnTo>
                    <a:pt x="14983" y="9970"/>
                  </a:lnTo>
                  <a:lnTo>
                    <a:pt x="14993" y="9973"/>
                  </a:lnTo>
                  <a:lnTo>
                    <a:pt x="15004" y="9978"/>
                  </a:lnTo>
                  <a:lnTo>
                    <a:pt x="15024" y="9987"/>
                  </a:lnTo>
                  <a:lnTo>
                    <a:pt x="15044" y="9999"/>
                  </a:lnTo>
                  <a:lnTo>
                    <a:pt x="15061" y="10012"/>
                  </a:lnTo>
                  <a:lnTo>
                    <a:pt x="15077" y="10028"/>
                  </a:lnTo>
                  <a:lnTo>
                    <a:pt x="15093" y="10044"/>
                  </a:lnTo>
                  <a:lnTo>
                    <a:pt x="15106" y="10062"/>
                  </a:lnTo>
                  <a:lnTo>
                    <a:pt x="15118" y="10081"/>
                  </a:lnTo>
                  <a:lnTo>
                    <a:pt x="15127" y="10102"/>
                  </a:lnTo>
                  <a:lnTo>
                    <a:pt x="15132" y="10112"/>
                  </a:lnTo>
                  <a:lnTo>
                    <a:pt x="15135" y="10123"/>
                  </a:lnTo>
                  <a:lnTo>
                    <a:pt x="15138" y="10133"/>
                  </a:lnTo>
                  <a:lnTo>
                    <a:pt x="15142" y="10145"/>
                  </a:lnTo>
                  <a:lnTo>
                    <a:pt x="15144" y="10156"/>
                  </a:lnTo>
                  <a:lnTo>
                    <a:pt x="15145" y="10168"/>
                  </a:lnTo>
                  <a:lnTo>
                    <a:pt x="15146" y="10179"/>
                  </a:lnTo>
                  <a:lnTo>
                    <a:pt x="15146" y="10191"/>
                  </a:lnTo>
                  <a:lnTo>
                    <a:pt x="15146" y="10191"/>
                  </a:lnTo>
                  <a:lnTo>
                    <a:pt x="15146" y="10203"/>
                  </a:lnTo>
                  <a:lnTo>
                    <a:pt x="15145" y="10215"/>
                  </a:lnTo>
                  <a:lnTo>
                    <a:pt x="15144" y="10227"/>
                  </a:lnTo>
                  <a:lnTo>
                    <a:pt x="15142" y="10238"/>
                  </a:lnTo>
                  <a:lnTo>
                    <a:pt x="15138" y="10249"/>
                  </a:lnTo>
                  <a:lnTo>
                    <a:pt x="15135" y="10261"/>
                  </a:lnTo>
                  <a:lnTo>
                    <a:pt x="15132" y="10271"/>
                  </a:lnTo>
                  <a:lnTo>
                    <a:pt x="15127" y="10282"/>
                  </a:lnTo>
                  <a:lnTo>
                    <a:pt x="15118" y="10303"/>
                  </a:lnTo>
                  <a:lnTo>
                    <a:pt x="15106" y="10321"/>
                  </a:lnTo>
                  <a:lnTo>
                    <a:pt x="15093" y="10340"/>
                  </a:lnTo>
                  <a:lnTo>
                    <a:pt x="15077" y="10356"/>
                  </a:lnTo>
                  <a:lnTo>
                    <a:pt x="15061" y="10371"/>
                  </a:lnTo>
                  <a:lnTo>
                    <a:pt x="15044" y="10384"/>
                  </a:lnTo>
                  <a:lnTo>
                    <a:pt x="15024" y="10396"/>
                  </a:lnTo>
                  <a:lnTo>
                    <a:pt x="15004" y="10406"/>
                  </a:lnTo>
                  <a:lnTo>
                    <a:pt x="14993" y="10410"/>
                  </a:lnTo>
                  <a:lnTo>
                    <a:pt x="14983" y="10414"/>
                  </a:lnTo>
                  <a:lnTo>
                    <a:pt x="14972" y="10417"/>
                  </a:lnTo>
                  <a:lnTo>
                    <a:pt x="14961" y="10419"/>
                  </a:lnTo>
                  <a:lnTo>
                    <a:pt x="14949" y="10421"/>
                  </a:lnTo>
                  <a:lnTo>
                    <a:pt x="14938" y="10422"/>
                  </a:lnTo>
                  <a:lnTo>
                    <a:pt x="14926" y="10424"/>
                  </a:lnTo>
                  <a:lnTo>
                    <a:pt x="14914" y="10425"/>
                  </a:lnTo>
                  <a:lnTo>
                    <a:pt x="233" y="10425"/>
                  </a:lnTo>
                  <a:lnTo>
                    <a:pt x="221" y="10424"/>
                  </a:lnTo>
                  <a:lnTo>
                    <a:pt x="209" y="10422"/>
                  </a:lnTo>
                  <a:lnTo>
                    <a:pt x="198" y="10421"/>
                  </a:lnTo>
                  <a:lnTo>
                    <a:pt x="186" y="10419"/>
                  </a:lnTo>
                  <a:lnTo>
                    <a:pt x="175" y="10417"/>
                  </a:lnTo>
                  <a:lnTo>
                    <a:pt x="164" y="10414"/>
                  </a:lnTo>
                  <a:lnTo>
                    <a:pt x="153" y="10410"/>
                  </a:lnTo>
                  <a:lnTo>
                    <a:pt x="142" y="10406"/>
                  </a:lnTo>
                  <a:lnTo>
                    <a:pt x="123" y="10396"/>
                  </a:lnTo>
                  <a:lnTo>
                    <a:pt x="103" y="10384"/>
                  </a:lnTo>
                  <a:lnTo>
                    <a:pt x="85" y="10371"/>
                  </a:lnTo>
                  <a:lnTo>
                    <a:pt x="68" y="10356"/>
                  </a:lnTo>
                  <a:lnTo>
                    <a:pt x="54" y="10340"/>
                  </a:lnTo>
                  <a:lnTo>
                    <a:pt x="40" y="10321"/>
                  </a:lnTo>
                  <a:lnTo>
                    <a:pt x="29" y="10303"/>
                  </a:lnTo>
                  <a:lnTo>
                    <a:pt x="19" y="10282"/>
                  </a:lnTo>
                  <a:lnTo>
                    <a:pt x="15" y="10271"/>
                  </a:lnTo>
                  <a:lnTo>
                    <a:pt x="10" y="10261"/>
                  </a:lnTo>
                  <a:lnTo>
                    <a:pt x="8" y="10249"/>
                  </a:lnTo>
                  <a:lnTo>
                    <a:pt x="5" y="10238"/>
                  </a:lnTo>
                  <a:lnTo>
                    <a:pt x="3" y="10227"/>
                  </a:lnTo>
                  <a:lnTo>
                    <a:pt x="2" y="10215"/>
                  </a:lnTo>
                  <a:lnTo>
                    <a:pt x="0" y="10203"/>
                  </a:lnTo>
                  <a:lnTo>
                    <a:pt x="0" y="10191"/>
                  </a:lnTo>
                  <a:lnTo>
                    <a:pt x="0" y="10191"/>
                  </a:lnTo>
                  <a:lnTo>
                    <a:pt x="0" y="10179"/>
                  </a:lnTo>
                  <a:lnTo>
                    <a:pt x="2" y="10168"/>
                  </a:lnTo>
                  <a:lnTo>
                    <a:pt x="3" y="10156"/>
                  </a:lnTo>
                  <a:lnTo>
                    <a:pt x="5" y="10145"/>
                  </a:lnTo>
                  <a:lnTo>
                    <a:pt x="8" y="10133"/>
                  </a:lnTo>
                  <a:lnTo>
                    <a:pt x="10" y="10123"/>
                  </a:lnTo>
                  <a:lnTo>
                    <a:pt x="15" y="10112"/>
                  </a:lnTo>
                  <a:lnTo>
                    <a:pt x="19" y="10102"/>
                  </a:lnTo>
                  <a:lnTo>
                    <a:pt x="29" y="10081"/>
                  </a:lnTo>
                  <a:lnTo>
                    <a:pt x="40" y="10062"/>
                  </a:lnTo>
                  <a:lnTo>
                    <a:pt x="54" y="10044"/>
                  </a:lnTo>
                  <a:lnTo>
                    <a:pt x="68" y="10028"/>
                  </a:lnTo>
                  <a:lnTo>
                    <a:pt x="85" y="10012"/>
                  </a:lnTo>
                  <a:lnTo>
                    <a:pt x="103" y="9999"/>
                  </a:lnTo>
                  <a:lnTo>
                    <a:pt x="123" y="9987"/>
                  </a:lnTo>
                  <a:lnTo>
                    <a:pt x="142" y="9978"/>
                  </a:lnTo>
                  <a:lnTo>
                    <a:pt x="153" y="9973"/>
                  </a:lnTo>
                  <a:lnTo>
                    <a:pt x="164" y="9970"/>
                  </a:lnTo>
                  <a:lnTo>
                    <a:pt x="175" y="9967"/>
                  </a:lnTo>
                  <a:lnTo>
                    <a:pt x="186" y="9964"/>
                  </a:lnTo>
                  <a:lnTo>
                    <a:pt x="198" y="9962"/>
                  </a:lnTo>
                  <a:lnTo>
                    <a:pt x="209" y="9960"/>
                  </a:lnTo>
                  <a:lnTo>
                    <a:pt x="221" y="9959"/>
                  </a:lnTo>
                  <a:lnTo>
                    <a:pt x="233" y="995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15" name="íṡľiḓè"/>
            <p:cNvSpPr/>
            <p:nvPr/>
          </p:nvSpPr>
          <p:spPr bwMode="auto">
            <a:xfrm>
              <a:off x="1294432" y="2580570"/>
              <a:ext cx="3122072" cy="211596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16" name="í$ḷîḋè"/>
            <p:cNvSpPr txBox="1"/>
            <p:nvPr/>
          </p:nvSpPr>
          <p:spPr>
            <a:xfrm>
              <a:off x="1650794" y="3339929"/>
              <a:ext cx="2409349" cy="597244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</a:rPr>
                <a:t>CONTENTS</a:t>
              </a:r>
              <a:endParaRPr lang="en-US" altLang="zh-CN" sz="2400" b="1" dirty="0">
                <a:solidFill>
                  <a:schemeClr val="accent1"/>
                </a:solidFill>
              </a:endParaRPr>
            </a:p>
          </p:txBody>
        </p:sp>
        <p:grpSp>
          <p:nvGrpSpPr>
            <p:cNvPr id="17" name="íṡliḍê"/>
            <p:cNvGrpSpPr/>
            <p:nvPr/>
          </p:nvGrpSpPr>
          <p:grpSpPr>
            <a:xfrm>
              <a:off x="5952003" y="2082231"/>
              <a:ext cx="4491880" cy="552392"/>
              <a:chOff x="5763744" y="1497321"/>
              <a:chExt cx="4491880" cy="552392"/>
            </a:xfrm>
          </p:grpSpPr>
          <p:sp>
            <p:nvSpPr>
              <p:cNvPr id="36" name="ïsľiďé"/>
              <p:cNvSpPr/>
              <p:nvPr/>
            </p:nvSpPr>
            <p:spPr bwMode="auto">
              <a:xfrm>
                <a:off x="5763744" y="1566371"/>
                <a:ext cx="4491880" cy="414293"/>
              </a:xfrm>
              <a:prstGeom prst="roundRect">
                <a:avLst>
                  <a:gd name="adj" fmla="val 9770"/>
                </a:avLst>
              </a:prstGeom>
              <a:noFill/>
              <a:ln w="3175">
                <a:solidFill>
                  <a:schemeClr val="bg1">
                    <a:lumMod val="75000"/>
                  </a:schemeClr>
                </a:solidFill>
                <a:round/>
              </a:ln>
            </p:spPr>
            <p:txBody>
              <a:bodyPr rot="0" spcFirstLastPara="0" vert="horz" wrap="square" lIns="91440" tIns="45720" rIns="91440" bIns="45720" anchor="ctr" anchorCtr="0" forceAA="0" compatLnSpc="1">
                <a:normAutofit/>
              </a:bodyPr>
              <a:lstStyle/>
              <a:p>
                <a:pPr algn="ctr"/>
                <a:r>
                  <a:rPr lang="zh-CN" altLang="en-US" sz="1600" b="1" dirty="0"/>
                  <a:t>市场痛点</a:t>
                </a:r>
                <a:endParaRPr lang="en-US" altLang="zh-CN" sz="1600" b="1" dirty="0"/>
              </a:p>
            </p:txBody>
          </p:sp>
          <p:grpSp>
            <p:nvGrpSpPr>
              <p:cNvPr id="37" name="i$ḷidè"/>
              <p:cNvGrpSpPr/>
              <p:nvPr/>
            </p:nvGrpSpPr>
            <p:grpSpPr>
              <a:xfrm>
                <a:off x="5957082" y="1497321"/>
                <a:ext cx="773346" cy="552392"/>
                <a:chOff x="6512894" y="1739368"/>
                <a:chExt cx="773346" cy="552392"/>
              </a:xfrm>
            </p:grpSpPr>
            <p:sp>
              <p:nvSpPr>
                <p:cNvPr id="38" name="îṩḷiḓê"/>
                <p:cNvSpPr/>
                <p:nvPr/>
              </p:nvSpPr>
              <p:spPr bwMode="auto">
                <a:xfrm flipV="1">
                  <a:off x="6512894" y="2222711"/>
                  <a:ext cx="773346" cy="69049"/>
                </a:xfrm>
                <a:prstGeom prst="trapezoid">
                  <a:avLst>
                    <a:gd name="adj" fmla="val 154634"/>
                  </a:avLst>
                </a:prstGeom>
                <a:solidFill>
                  <a:schemeClr val="accent1">
                    <a:lumMod val="75000"/>
                  </a:schemeClr>
                </a:solidFill>
                <a:ln w="19050">
                  <a:noFill/>
                  <a:round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</a:p>
              </p:txBody>
            </p:sp>
            <p:sp>
              <p:nvSpPr>
                <p:cNvPr id="39" name="îṡḷïḍê"/>
                <p:cNvSpPr/>
                <p:nvPr/>
              </p:nvSpPr>
              <p:spPr bwMode="auto">
                <a:xfrm>
                  <a:off x="6512894" y="1739368"/>
                  <a:ext cx="773346" cy="69049"/>
                </a:xfrm>
                <a:prstGeom prst="trapezoid">
                  <a:avLst>
                    <a:gd name="adj" fmla="val 154634"/>
                  </a:avLst>
                </a:prstGeom>
                <a:solidFill>
                  <a:schemeClr val="accent1">
                    <a:lumMod val="75000"/>
                  </a:schemeClr>
                </a:solidFill>
                <a:ln w="19050">
                  <a:noFill/>
                  <a:round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</a:p>
              </p:txBody>
            </p:sp>
            <p:sp>
              <p:nvSpPr>
                <p:cNvPr id="40" name="ísḷíďe"/>
                <p:cNvSpPr/>
                <p:nvPr/>
              </p:nvSpPr>
              <p:spPr bwMode="auto">
                <a:xfrm>
                  <a:off x="6623372" y="1739368"/>
                  <a:ext cx="552390" cy="552392"/>
                </a:xfrm>
                <a:prstGeom prst="rect">
                  <a:avLst/>
                </a:prstGeom>
                <a:solidFill>
                  <a:schemeClr val="accent1"/>
                </a:solidFill>
                <a:ln w="19050">
                  <a:noFill/>
                  <a:round/>
                </a:ln>
              </p:spPr>
              <p:txBody>
                <a:bodyPr rot="0" spcFirstLastPara="0" vert="horz" wrap="square" lIns="91440" tIns="45720" rIns="91440" bIns="45720" anchor="ctr" anchorCtr="1" forceAA="0" compatLnSpc="1">
                  <a:normAutofit/>
                </a:bodyPr>
                <a:lstStyle/>
                <a:p>
                  <a:pPr algn="ctr"/>
                  <a:r>
                    <a:rPr lang="en-US" altLang="zh-CN" sz="1600" b="1" dirty="0">
                      <a:solidFill>
                        <a:schemeClr val="bg1"/>
                      </a:solidFill>
                    </a:rPr>
                    <a:t>01</a:t>
                  </a:r>
                  <a:endParaRPr lang="en-US" altLang="zh-CN" sz="16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18" name="íṡlïďè"/>
            <p:cNvGrpSpPr/>
            <p:nvPr/>
          </p:nvGrpSpPr>
          <p:grpSpPr>
            <a:xfrm>
              <a:off x="5952003" y="2935646"/>
              <a:ext cx="4491880" cy="552392"/>
              <a:chOff x="5763744" y="1497321"/>
              <a:chExt cx="4491880" cy="552392"/>
            </a:xfrm>
          </p:grpSpPr>
          <p:sp>
            <p:nvSpPr>
              <p:cNvPr id="31" name="îṡḷïḋê"/>
              <p:cNvSpPr/>
              <p:nvPr/>
            </p:nvSpPr>
            <p:spPr bwMode="auto">
              <a:xfrm>
                <a:off x="5763744" y="1566371"/>
                <a:ext cx="4491880" cy="414293"/>
              </a:xfrm>
              <a:prstGeom prst="roundRect">
                <a:avLst>
                  <a:gd name="adj" fmla="val 9770"/>
                </a:avLst>
              </a:prstGeom>
              <a:noFill/>
              <a:ln w="3175">
                <a:solidFill>
                  <a:schemeClr val="bg1">
                    <a:lumMod val="75000"/>
                  </a:schemeClr>
                </a:solidFill>
                <a:round/>
              </a:ln>
            </p:spPr>
            <p:txBody>
              <a:bodyPr rot="0" spcFirstLastPara="0" vert="horz" wrap="square" lIns="91440" tIns="45720" rIns="91440" bIns="45720" anchor="ctr" anchorCtr="0" forceAA="0" compatLnSpc="1">
                <a:normAutofit/>
              </a:bodyPr>
              <a:lstStyle/>
              <a:p>
                <a:pPr algn="ctr"/>
                <a:r>
                  <a:rPr lang="zh-CN" altLang="en-US" sz="1600" b="1" dirty="0"/>
                  <a:t>产品形态</a:t>
                </a:r>
                <a:endParaRPr lang="zh-CN" altLang="en-US" sz="1600" b="1" dirty="0"/>
              </a:p>
            </p:txBody>
          </p:sp>
          <p:grpSp>
            <p:nvGrpSpPr>
              <p:cNvPr id="32" name="îṡľíḑe"/>
              <p:cNvGrpSpPr/>
              <p:nvPr/>
            </p:nvGrpSpPr>
            <p:grpSpPr>
              <a:xfrm>
                <a:off x="5957082" y="1497321"/>
                <a:ext cx="773346" cy="552392"/>
                <a:chOff x="6512894" y="1739368"/>
                <a:chExt cx="773346" cy="552392"/>
              </a:xfrm>
            </p:grpSpPr>
            <p:sp>
              <p:nvSpPr>
                <p:cNvPr id="33" name="ïSľiḋè"/>
                <p:cNvSpPr/>
                <p:nvPr/>
              </p:nvSpPr>
              <p:spPr bwMode="auto">
                <a:xfrm flipV="1">
                  <a:off x="6512894" y="2222711"/>
                  <a:ext cx="773346" cy="69049"/>
                </a:xfrm>
                <a:prstGeom prst="trapezoid">
                  <a:avLst>
                    <a:gd name="adj" fmla="val 154634"/>
                  </a:avLst>
                </a:prstGeom>
                <a:solidFill>
                  <a:schemeClr val="accent1">
                    <a:lumMod val="75000"/>
                  </a:schemeClr>
                </a:solidFill>
                <a:ln w="19050">
                  <a:noFill/>
                  <a:round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</a:p>
              </p:txBody>
            </p:sp>
            <p:sp>
              <p:nvSpPr>
                <p:cNvPr id="34" name="iṣlíḋè"/>
                <p:cNvSpPr/>
                <p:nvPr/>
              </p:nvSpPr>
              <p:spPr bwMode="auto">
                <a:xfrm>
                  <a:off x="6512894" y="1739368"/>
                  <a:ext cx="773346" cy="69049"/>
                </a:xfrm>
                <a:prstGeom prst="trapezoid">
                  <a:avLst>
                    <a:gd name="adj" fmla="val 154634"/>
                  </a:avLst>
                </a:prstGeom>
                <a:solidFill>
                  <a:schemeClr val="accent1">
                    <a:lumMod val="75000"/>
                  </a:schemeClr>
                </a:solidFill>
                <a:ln w="19050">
                  <a:noFill/>
                  <a:round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</a:p>
              </p:txBody>
            </p:sp>
            <p:sp>
              <p:nvSpPr>
                <p:cNvPr id="35" name="iṡḷîḑè"/>
                <p:cNvSpPr/>
                <p:nvPr/>
              </p:nvSpPr>
              <p:spPr bwMode="auto">
                <a:xfrm>
                  <a:off x="6623372" y="1739368"/>
                  <a:ext cx="552390" cy="552392"/>
                </a:xfrm>
                <a:prstGeom prst="rect">
                  <a:avLst/>
                </a:prstGeom>
                <a:solidFill>
                  <a:schemeClr val="accent1"/>
                </a:solidFill>
                <a:ln w="19050">
                  <a:noFill/>
                  <a:round/>
                </a:ln>
              </p:spPr>
              <p:txBody>
                <a:bodyPr rot="0" spcFirstLastPara="0" vert="horz" wrap="square" lIns="91440" tIns="45720" rIns="91440" bIns="45720" anchor="ctr" anchorCtr="1" forceAA="0" compatLnSpc="1">
                  <a:normAutofit/>
                </a:bodyPr>
                <a:lstStyle/>
                <a:p>
                  <a:pPr algn="ctr"/>
                  <a:r>
                    <a:rPr lang="en-US" altLang="zh-CN" sz="1600" b="1" dirty="0">
                      <a:solidFill>
                        <a:schemeClr val="bg1"/>
                      </a:solidFill>
                    </a:rPr>
                    <a:t>02</a:t>
                  </a:r>
                  <a:endParaRPr lang="en-US" altLang="zh-CN" sz="16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19" name="ïşlîḋe"/>
            <p:cNvGrpSpPr/>
            <p:nvPr/>
          </p:nvGrpSpPr>
          <p:grpSpPr>
            <a:xfrm>
              <a:off x="5952003" y="3789062"/>
              <a:ext cx="4491880" cy="552392"/>
              <a:chOff x="5763744" y="1497321"/>
              <a:chExt cx="4491880" cy="552392"/>
            </a:xfrm>
          </p:grpSpPr>
          <p:sp>
            <p:nvSpPr>
              <p:cNvPr id="26" name="îṥḻïḋe"/>
              <p:cNvSpPr/>
              <p:nvPr/>
            </p:nvSpPr>
            <p:spPr bwMode="auto">
              <a:xfrm>
                <a:off x="5763744" y="1566371"/>
                <a:ext cx="4491880" cy="414293"/>
              </a:xfrm>
              <a:prstGeom prst="roundRect">
                <a:avLst>
                  <a:gd name="adj" fmla="val 9770"/>
                </a:avLst>
              </a:prstGeom>
              <a:noFill/>
              <a:ln w="3175">
                <a:solidFill>
                  <a:schemeClr val="bg1">
                    <a:lumMod val="75000"/>
                  </a:schemeClr>
                </a:solidFill>
                <a:round/>
              </a:ln>
            </p:spPr>
            <p:txBody>
              <a:bodyPr rot="0" spcFirstLastPara="0" vert="horz" wrap="square" lIns="91440" tIns="45720" rIns="91440" bIns="45720" anchor="ctr" anchorCtr="0" forceAA="0" compatLnSpc="1">
                <a:normAutofit/>
              </a:bodyPr>
              <a:lstStyle/>
              <a:p>
                <a:pPr algn="ctr"/>
                <a:r>
                  <a:rPr lang="zh-CN" altLang="en-US" sz="1600" b="1" dirty="0"/>
                  <a:t>产品方案</a:t>
                </a:r>
                <a:endParaRPr lang="en-US" altLang="zh-CN" sz="1600" b="1" dirty="0"/>
              </a:p>
            </p:txBody>
          </p:sp>
          <p:grpSp>
            <p:nvGrpSpPr>
              <p:cNvPr id="27" name="îSlídê"/>
              <p:cNvGrpSpPr/>
              <p:nvPr/>
            </p:nvGrpSpPr>
            <p:grpSpPr>
              <a:xfrm>
                <a:off x="5957082" y="1497321"/>
                <a:ext cx="773346" cy="552392"/>
                <a:chOff x="6512894" y="1739368"/>
                <a:chExt cx="773346" cy="552392"/>
              </a:xfrm>
            </p:grpSpPr>
            <p:sp>
              <p:nvSpPr>
                <p:cNvPr id="28" name="îṥlíḍé"/>
                <p:cNvSpPr/>
                <p:nvPr/>
              </p:nvSpPr>
              <p:spPr bwMode="auto">
                <a:xfrm flipV="1">
                  <a:off x="6512894" y="2222711"/>
                  <a:ext cx="773346" cy="69049"/>
                </a:xfrm>
                <a:prstGeom prst="trapezoid">
                  <a:avLst>
                    <a:gd name="adj" fmla="val 154634"/>
                  </a:avLst>
                </a:prstGeom>
                <a:solidFill>
                  <a:schemeClr val="accent1">
                    <a:lumMod val="75000"/>
                  </a:schemeClr>
                </a:solidFill>
                <a:ln w="19050">
                  <a:noFill/>
                  <a:round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</a:p>
              </p:txBody>
            </p:sp>
            <p:sp>
              <p:nvSpPr>
                <p:cNvPr id="29" name="ïṧlîdé"/>
                <p:cNvSpPr/>
                <p:nvPr/>
              </p:nvSpPr>
              <p:spPr bwMode="auto">
                <a:xfrm>
                  <a:off x="6512894" y="1739368"/>
                  <a:ext cx="773346" cy="69049"/>
                </a:xfrm>
                <a:prstGeom prst="trapezoid">
                  <a:avLst>
                    <a:gd name="adj" fmla="val 154634"/>
                  </a:avLst>
                </a:prstGeom>
                <a:solidFill>
                  <a:schemeClr val="accent1">
                    <a:lumMod val="75000"/>
                  </a:schemeClr>
                </a:solidFill>
                <a:ln w="19050">
                  <a:noFill/>
                  <a:round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</a:p>
              </p:txBody>
            </p:sp>
            <p:sp>
              <p:nvSpPr>
                <p:cNvPr id="30" name="íṥlíḓé"/>
                <p:cNvSpPr/>
                <p:nvPr/>
              </p:nvSpPr>
              <p:spPr bwMode="auto">
                <a:xfrm>
                  <a:off x="6623372" y="1739368"/>
                  <a:ext cx="552390" cy="552392"/>
                </a:xfrm>
                <a:prstGeom prst="rect">
                  <a:avLst/>
                </a:prstGeom>
                <a:solidFill>
                  <a:schemeClr val="accent1"/>
                </a:solidFill>
                <a:ln w="19050">
                  <a:noFill/>
                  <a:round/>
                </a:ln>
              </p:spPr>
              <p:txBody>
                <a:bodyPr rot="0" spcFirstLastPara="0" vert="horz" wrap="square" lIns="91440" tIns="45720" rIns="91440" bIns="45720" anchor="ctr" anchorCtr="1" forceAA="0" compatLnSpc="1">
                  <a:normAutofit/>
                </a:bodyPr>
                <a:lstStyle/>
                <a:p>
                  <a:pPr algn="ctr"/>
                  <a:r>
                    <a:rPr lang="en-US" altLang="zh-CN" sz="1600" b="1" dirty="0">
                      <a:solidFill>
                        <a:schemeClr val="bg1"/>
                      </a:solidFill>
                    </a:rPr>
                    <a:t>03</a:t>
                  </a:r>
                  <a:endParaRPr lang="en-US" altLang="zh-CN" sz="16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20" name="iṩļïḍe"/>
            <p:cNvGrpSpPr/>
            <p:nvPr/>
          </p:nvGrpSpPr>
          <p:grpSpPr>
            <a:xfrm>
              <a:off x="5952003" y="4642477"/>
              <a:ext cx="4491880" cy="552392"/>
              <a:chOff x="5763744" y="1497321"/>
              <a:chExt cx="4491880" cy="552392"/>
            </a:xfrm>
          </p:grpSpPr>
          <p:sp>
            <p:nvSpPr>
              <p:cNvPr id="21" name="îšḻíḋè"/>
              <p:cNvSpPr/>
              <p:nvPr/>
            </p:nvSpPr>
            <p:spPr bwMode="auto">
              <a:xfrm>
                <a:off x="5763744" y="1566371"/>
                <a:ext cx="4491880" cy="414293"/>
              </a:xfrm>
              <a:prstGeom prst="roundRect">
                <a:avLst>
                  <a:gd name="adj" fmla="val 9770"/>
                </a:avLst>
              </a:prstGeom>
              <a:noFill/>
              <a:ln w="3175">
                <a:solidFill>
                  <a:schemeClr val="bg1">
                    <a:lumMod val="75000"/>
                  </a:schemeClr>
                </a:solidFill>
                <a:round/>
              </a:ln>
            </p:spPr>
            <p:txBody>
              <a:bodyPr rot="0" spcFirstLastPara="0" vert="horz" wrap="square" lIns="91440" tIns="45720" rIns="91440" bIns="45720" anchor="ctr" anchorCtr="0" forceAA="0" compatLnSpc="1">
                <a:normAutofit/>
              </a:bodyPr>
              <a:lstStyle/>
              <a:p>
                <a:pPr algn="ctr"/>
                <a:r>
                  <a:rPr lang="zh-CN" altLang="en-US" sz="1600" b="1" dirty="0"/>
                  <a:t>商业计划</a:t>
                </a:r>
                <a:endParaRPr lang="en-US" altLang="zh-CN" sz="1600" b="1" dirty="0"/>
              </a:p>
            </p:txBody>
          </p:sp>
          <p:grpSp>
            <p:nvGrpSpPr>
              <p:cNvPr id="22" name="işḻíďê"/>
              <p:cNvGrpSpPr/>
              <p:nvPr/>
            </p:nvGrpSpPr>
            <p:grpSpPr>
              <a:xfrm>
                <a:off x="5957082" y="1497321"/>
                <a:ext cx="773346" cy="552392"/>
                <a:chOff x="6512894" y="1739368"/>
                <a:chExt cx="773346" cy="552392"/>
              </a:xfrm>
            </p:grpSpPr>
            <p:sp>
              <p:nvSpPr>
                <p:cNvPr id="23" name="íşḷíḍê"/>
                <p:cNvSpPr/>
                <p:nvPr/>
              </p:nvSpPr>
              <p:spPr bwMode="auto">
                <a:xfrm flipV="1">
                  <a:off x="6512894" y="2222711"/>
                  <a:ext cx="773346" cy="69049"/>
                </a:xfrm>
                <a:prstGeom prst="trapezoid">
                  <a:avLst>
                    <a:gd name="adj" fmla="val 154634"/>
                  </a:avLst>
                </a:prstGeom>
                <a:solidFill>
                  <a:schemeClr val="accent1">
                    <a:lumMod val="75000"/>
                  </a:schemeClr>
                </a:solidFill>
                <a:ln w="19050">
                  <a:noFill/>
                  <a:round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</a:p>
              </p:txBody>
            </p:sp>
            <p:sp>
              <p:nvSpPr>
                <p:cNvPr id="24" name="isḷíḍé"/>
                <p:cNvSpPr/>
                <p:nvPr/>
              </p:nvSpPr>
              <p:spPr bwMode="auto">
                <a:xfrm>
                  <a:off x="6512894" y="1739368"/>
                  <a:ext cx="773346" cy="69049"/>
                </a:xfrm>
                <a:prstGeom prst="trapezoid">
                  <a:avLst>
                    <a:gd name="adj" fmla="val 154634"/>
                  </a:avLst>
                </a:prstGeom>
                <a:solidFill>
                  <a:schemeClr val="accent1">
                    <a:lumMod val="75000"/>
                  </a:schemeClr>
                </a:solidFill>
                <a:ln w="19050">
                  <a:noFill/>
                  <a:round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</a:p>
              </p:txBody>
            </p:sp>
            <p:sp>
              <p:nvSpPr>
                <p:cNvPr id="25" name="iŝ1îḑè"/>
                <p:cNvSpPr/>
                <p:nvPr/>
              </p:nvSpPr>
              <p:spPr bwMode="auto">
                <a:xfrm>
                  <a:off x="6623372" y="1739368"/>
                  <a:ext cx="552390" cy="552392"/>
                </a:xfrm>
                <a:prstGeom prst="rect">
                  <a:avLst/>
                </a:prstGeom>
                <a:solidFill>
                  <a:schemeClr val="accent1"/>
                </a:solidFill>
                <a:ln w="19050">
                  <a:noFill/>
                  <a:round/>
                </a:ln>
              </p:spPr>
              <p:txBody>
                <a:bodyPr rot="0" spcFirstLastPara="0" vert="horz" wrap="square" lIns="91440" tIns="45720" rIns="91440" bIns="45720" anchor="ctr" anchorCtr="1" forceAA="0" compatLnSpc="1">
                  <a:normAutofit/>
                </a:bodyPr>
                <a:lstStyle/>
                <a:p>
                  <a:pPr algn="ctr"/>
                  <a:r>
                    <a:rPr lang="en-US" altLang="zh-CN" sz="1600" b="1" dirty="0">
                      <a:solidFill>
                        <a:schemeClr val="bg1"/>
                      </a:solidFill>
                    </a:rPr>
                    <a:t>04</a:t>
                  </a:r>
                  <a:endParaRPr lang="en-US" altLang="zh-CN" sz="16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íṧlíďe"/>
          <p:cNvSpPr/>
          <p:nvPr/>
        </p:nvSpPr>
        <p:spPr>
          <a:xfrm>
            <a:off x="7168387" y="2246875"/>
            <a:ext cx="659026" cy="659026"/>
          </a:xfrm>
          <a:prstGeom prst="ellipse">
            <a:avLst/>
          </a:prstGeom>
          <a:solidFill>
            <a:srgbClr val="444294"/>
          </a:solidFill>
          <a:ln w="19050">
            <a:solidFill>
              <a:schemeClr val="bg1">
                <a:lumMod val="95000"/>
              </a:schemeClr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3765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8509" y="3"/>
            <a:ext cx="10850563" cy="1028699"/>
          </a:xfrm>
        </p:spPr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商业规模</a:t>
            </a:r>
            <a:endParaRPr lang="zh-CN" altLang="en-US" dirty="0"/>
          </a:p>
        </p:txBody>
      </p:sp>
      <p:grpSp>
        <p:nvGrpSpPr>
          <p:cNvPr id="26" name="25840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11684" y="594252"/>
            <a:ext cx="11518900" cy="5552548"/>
            <a:chOff x="673100" y="594252"/>
            <a:chExt cx="11518900" cy="5552548"/>
          </a:xfrm>
        </p:grpSpPr>
        <p:sp>
          <p:nvSpPr>
            <p:cNvPr id="27" name="íṥḻiḍé"/>
            <p:cNvSpPr/>
            <p:nvPr/>
          </p:nvSpPr>
          <p:spPr bwMode="auto">
            <a:xfrm>
              <a:off x="6732192" y="594252"/>
              <a:ext cx="5459808" cy="5552548"/>
            </a:xfrm>
            <a:custGeom>
              <a:avLst/>
              <a:gdLst>
                <a:gd name="T0" fmla="*/ 1908 w 1908"/>
                <a:gd name="T1" fmla="*/ 1909 h 1909"/>
                <a:gd name="T2" fmla="*/ 0 w 1908"/>
                <a:gd name="T3" fmla="*/ 1909 h 1909"/>
                <a:gd name="T4" fmla="*/ 1908 w 1908"/>
                <a:gd name="T5" fmla="*/ 0 h 1909"/>
                <a:gd name="T6" fmla="*/ 1908 w 1908"/>
                <a:gd name="T7" fmla="*/ 1909 h 19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08" h="1909">
                  <a:moveTo>
                    <a:pt x="1908" y="1909"/>
                  </a:moveTo>
                  <a:lnTo>
                    <a:pt x="0" y="1909"/>
                  </a:lnTo>
                  <a:lnTo>
                    <a:pt x="1908" y="0"/>
                  </a:lnTo>
                  <a:lnTo>
                    <a:pt x="1908" y="1909"/>
                  </a:lnTo>
                  <a:close/>
                </a:path>
              </a:pathLst>
            </a:custGeom>
            <a:blipFill>
              <a:blip r:embed="rId1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2">
                        <a14:imgEffect>
                          <a14:colorTemperature colorTemp="4700"/>
                        </a14:imgEffect>
                      </a14:imgLayer>
                    </a14:imgProps>
                  </a:ext>
                </a:extLst>
              </a:blip>
              <a:stretch>
                <a:fillRect l="-26365" r="-26243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</a:p>
          </p:txBody>
        </p:sp>
        <p:grpSp>
          <p:nvGrpSpPr>
            <p:cNvPr id="28" name="îşḷíḋe"/>
            <p:cNvGrpSpPr/>
            <p:nvPr/>
          </p:nvGrpSpPr>
          <p:grpSpPr>
            <a:xfrm>
              <a:off x="673100" y="2207221"/>
              <a:ext cx="2663663" cy="3065859"/>
              <a:chOff x="673100" y="2207221"/>
              <a:chExt cx="2663663" cy="3065859"/>
            </a:xfrm>
          </p:grpSpPr>
          <p:grpSp>
            <p:nvGrpSpPr>
              <p:cNvPr id="37" name="ïśļíḑè"/>
              <p:cNvGrpSpPr/>
              <p:nvPr/>
            </p:nvGrpSpPr>
            <p:grpSpPr>
              <a:xfrm>
                <a:off x="673100" y="2976407"/>
                <a:ext cx="2663663" cy="2296673"/>
                <a:chOff x="673100" y="2976407"/>
                <a:chExt cx="2663663" cy="2296673"/>
              </a:xfrm>
            </p:grpSpPr>
            <p:sp>
              <p:nvSpPr>
                <p:cNvPr id="41" name="í$ḻíďè"/>
                <p:cNvSpPr txBox="1"/>
                <p:nvPr/>
              </p:nvSpPr>
              <p:spPr>
                <a:xfrm>
                  <a:off x="673100" y="2976407"/>
                  <a:ext cx="2663663" cy="649897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altLang="zh-CN" sz="2400" b="1" i="1" dirty="0"/>
                    <a:t>10W</a:t>
                  </a:r>
                  <a:r>
                    <a:rPr lang="zh-CN" altLang="en-US" sz="2400" b="1" i="1" dirty="0"/>
                    <a:t>用户</a:t>
                  </a:r>
                  <a:endParaRPr lang="id-ID" sz="2400" b="1" i="1" dirty="0"/>
                </a:p>
              </p:txBody>
            </p:sp>
            <p:sp>
              <p:nvSpPr>
                <p:cNvPr id="42" name="îŝ1ïḍé"/>
                <p:cNvSpPr/>
                <p:nvPr/>
              </p:nvSpPr>
              <p:spPr bwMode="auto">
                <a:xfrm>
                  <a:off x="673100" y="3626305"/>
                  <a:ext cx="2663663" cy="16467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zh-CN" altLang="en-US" sz="1600" dirty="0"/>
                    <a:t>互联网行业</a:t>
                  </a:r>
                  <a:endParaRPr lang="en-US" altLang="zh-CN" sz="1600" dirty="0"/>
                </a:p>
                <a:p>
                  <a:pPr algn="ctr"/>
                  <a:r>
                    <a:rPr lang="en-US" altLang="zh-CN" sz="1600" dirty="0"/>
                    <a:t>1000</a:t>
                  </a:r>
                  <a:r>
                    <a:rPr lang="zh-CN" altLang="en-US" sz="1600" dirty="0"/>
                    <a:t>名导师</a:t>
                  </a:r>
                  <a:endParaRPr lang="en-US" altLang="zh-CN" sz="1600" dirty="0"/>
                </a:p>
              </p:txBody>
            </p:sp>
          </p:grpSp>
          <p:sp>
            <p:nvSpPr>
              <p:cNvPr id="39" name="iṣ1ïḍe"/>
              <p:cNvSpPr/>
              <p:nvPr/>
            </p:nvSpPr>
            <p:spPr>
              <a:xfrm>
                <a:off x="1675418" y="2207221"/>
                <a:ext cx="659026" cy="659026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>
                    <a:lumMod val="95000"/>
                  </a:schemeClr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765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9" name="ïṥļíḍê"/>
            <p:cNvGrpSpPr/>
            <p:nvPr/>
          </p:nvGrpSpPr>
          <p:grpSpPr>
            <a:xfrm>
              <a:off x="3364298" y="2207221"/>
              <a:ext cx="2711431" cy="3065859"/>
              <a:chOff x="3364298" y="2207221"/>
              <a:chExt cx="2711431" cy="3065859"/>
            </a:xfrm>
          </p:grpSpPr>
          <p:grpSp>
            <p:nvGrpSpPr>
              <p:cNvPr id="31" name="íšļîďè"/>
              <p:cNvGrpSpPr/>
              <p:nvPr/>
            </p:nvGrpSpPr>
            <p:grpSpPr>
              <a:xfrm>
                <a:off x="3364298" y="2976407"/>
                <a:ext cx="2711431" cy="2296673"/>
                <a:chOff x="3364298" y="2976407"/>
                <a:chExt cx="2711431" cy="2296673"/>
              </a:xfrm>
            </p:grpSpPr>
            <p:sp>
              <p:nvSpPr>
                <p:cNvPr id="35" name="iṧľídé"/>
                <p:cNvSpPr txBox="1"/>
                <p:nvPr/>
              </p:nvSpPr>
              <p:spPr>
                <a:xfrm>
                  <a:off x="3412066" y="2976407"/>
                  <a:ext cx="2663663" cy="649897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altLang="zh-CN" sz="2400" b="1" i="1" dirty="0">
                      <a:solidFill>
                        <a:srgbClr val="FFC000"/>
                      </a:solidFill>
                    </a:rPr>
                    <a:t>100W</a:t>
                  </a:r>
                  <a:r>
                    <a:rPr lang="zh-CN" altLang="en-US" sz="2400" b="1" i="1" dirty="0">
                      <a:solidFill>
                        <a:srgbClr val="FFC000"/>
                      </a:solidFill>
                    </a:rPr>
                    <a:t>用户</a:t>
                  </a:r>
                  <a:endParaRPr lang="id-ID" sz="2400" b="1" i="1" dirty="0">
                    <a:solidFill>
                      <a:srgbClr val="FFC000"/>
                    </a:solidFill>
                  </a:endParaRPr>
                </a:p>
              </p:txBody>
            </p:sp>
            <p:sp>
              <p:nvSpPr>
                <p:cNvPr id="36" name="ísliḑê"/>
                <p:cNvSpPr/>
                <p:nvPr/>
              </p:nvSpPr>
              <p:spPr bwMode="auto">
                <a:xfrm>
                  <a:off x="3364298" y="3626305"/>
                  <a:ext cx="2663663" cy="16467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zh-CN" altLang="en-US" sz="1600" dirty="0"/>
                    <a:t>难以标准化的行业</a:t>
                  </a:r>
                  <a:endParaRPr lang="en-US" altLang="zh-CN" sz="1600" dirty="0"/>
                </a:p>
                <a:p>
                  <a:pPr algn="ctr"/>
                  <a:r>
                    <a:rPr lang="en-US" altLang="zh-CN" sz="1600" dirty="0"/>
                    <a:t>10000</a:t>
                  </a:r>
                  <a:r>
                    <a:rPr lang="zh-CN" altLang="en-US" sz="1600" dirty="0"/>
                    <a:t>名导师</a:t>
                  </a:r>
                  <a:endParaRPr lang="en-US" altLang="zh-CN" sz="1600" dirty="0"/>
                </a:p>
              </p:txBody>
            </p:sp>
          </p:grpSp>
          <p:grpSp>
            <p:nvGrpSpPr>
              <p:cNvPr id="32" name="îṩ1îḍé"/>
              <p:cNvGrpSpPr/>
              <p:nvPr/>
            </p:nvGrpSpPr>
            <p:grpSpPr>
              <a:xfrm>
                <a:off x="4414384" y="2207221"/>
                <a:ext cx="659026" cy="659026"/>
                <a:chOff x="3195643" y="2154986"/>
                <a:chExt cx="659026" cy="659026"/>
              </a:xfrm>
            </p:grpSpPr>
            <p:sp>
              <p:nvSpPr>
                <p:cNvPr id="33" name="íṧlíďe"/>
                <p:cNvSpPr/>
                <p:nvPr/>
              </p:nvSpPr>
              <p:spPr>
                <a:xfrm>
                  <a:off x="3195643" y="2154986"/>
                  <a:ext cx="659026" cy="659026"/>
                </a:xfrm>
                <a:prstGeom prst="ellipse">
                  <a:avLst/>
                </a:prstGeom>
                <a:solidFill>
                  <a:srgbClr val="FFC000"/>
                </a:solidFill>
                <a:ln w="19050">
                  <a:solidFill>
                    <a:schemeClr val="bg1">
                      <a:lumMod val="95000"/>
                    </a:schemeClr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13765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4" name="ïṥlídé"/>
                <p:cNvSpPr/>
                <p:nvPr/>
              </p:nvSpPr>
              <p:spPr>
                <a:xfrm>
                  <a:off x="3364078" y="2341407"/>
                  <a:ext cx="322156" cy="272535"/>
                </a:xfrm>
                <a:custGeom>
                  <a:avLst/>
                  <a:gdLst>
                    <a:gd name="connsiteX0" fmla="*/ 248836 w 605747"/>
                    <a:gd name="connsiteY0" fmla="*/ 407710 h 512446"/>
                    <a:gd name="connsiteX1" fmla="*/ 243880 w 605747"/>
                    <a:gd name="connsiteY1" fmla="*/ 411730 h 512446"/>
                    <a:gd name="connsiteX2" fmla="*/ 233866 w 605747"/>
                    <a:gd name="connsiteY2" fmla="*/ 467088 h 512446"/>
                    <a:gd name="connsiteX3" fmla="*/ 235002 w 605747"/>
                    <a:gd name="connsiteY3" fmla="*/ 471211 h 512446"/>
                    <a:gd name="connsiteX4" fmla="*/ 238822 w 605747"/>
                    <a:gd name="connsiteY4" fmla="*/ 472964 h 512446"/>
                    <a:gd name="connsiteX5" fmla="*/ 366946 w 605747"/>
                    <a:gd name="connsiteY5" fmla="*/ 472964 h 512446"/>
                    <a:gd name="connsiteX6" fmla="*/ 371902 w 605747"/>
                    <a:gd name="connsiteY6" fmla="*/ 468015 h 512446"/>
                    <a:gd name="connsiteX7" fmla="*/ 371695 w 605747"/>
                    <a:gd name="connsiteY7" fmla="*/ 466675 h 512446"/>
                    <a:gd name="connsiteX8" fmla="*/ 361887 w 605747"/>
                    <a:gd name="connsiteY8" fmla="*/ 411730 h 512446"/>
                    <a:gd name="connsiteX9" fmla="*/ 356932 w 605747"/>
                    <a:gd name="connsiteY9" fmla="*/ 407710 h 512446"/>
                    <a:gd name="connsiteX10" fmla="*/ 206831 w 605747"/>
                    <a:gd name="connsiteY10" fmla="*/ 178107 h 512446"/>
                    <a:gd name="connsiteX11" fmla="*/ 206831 w 605747"/>
                    <a:gd name="connsiteY11" fmla="*/ 181097 h 512446"/>
                    <a:gd name="connsiteX12" fmla="*/ 211372 w 605747"/>
                    <a:gd name="connsiteY12" fmla="*/ 212962 h 512446"/>
                    <a:gd name="connsiteX13" fmla="*/ 209824 w 605747"/>
                    <a:gd name="connsiteY13" fmla="*/ 217499 h 512446"/>
                    <a:gd name="connsiteX14" fmla="*/ 213952 w 605747"/>
                    <a:gd name="connsiteY14" fmla="*/ 270090 h 512446"/>
                    <a:gd name="connsiteX15" fmla="*/ 239547 w 605747"/>
                    <a:gd name="connsiteY15" fmla="*/ 279062 h 512446"/>
                    <a:gd name="connsiteX16" fmla="*/ 266587 w 605747"/>
                    <a:gd name="connsiteY16" fmla="*/ 274215 h 512446"/>
                    <a:gd name="connsiteX17" fmla="*/ 298787 w 605747"/>
                    <a:gd name="connsiteY17" fmla="*/ 281227 h 512446"/>
                    <a:gd name="connsiteX18" fmla="*/ 239547 w 605747"/>
                    <a:gd name="connsiteY18" fmla="*/ 298139 h 512446"/>
                    <a:gd name="connsiteX19" fmla="*/ 200432 w 605747"/>
                    <a:gd name="connsiteY19" fmla="*/ 283599 h 512446"/>
                    <a:gd name="connsiteX20" fmla="*/ 191660 w 605747"/>
                    <a:gd name="connsiteY20" fmla="*/ 211518 h 512446"/>
                    <a:gd name="connsiteX21" fmla="*/ 206831 w 605747"/>
                    <a:gd name="connsiteY21" fmla="*/ 178107 h 512446"/>
                    <a:gd name="connsiteX22" fmla="*/ 304170 w 605747"/>
                    <a:gd name="connsiteY22" fmla="*/ 123656 h 512446"/>
                    <a:gd name="connsiteX23" fmla="*/ 266386 w 605747"/>
                    <a:gd name="connsiteY23" fmla="*/ 137985 h 512446"/>
                    <a:gd name="connsiteX24" fmla="*/ 251829 w 605747"/>
                    <a:gd name="connsiteY24" fmla="*/ 162727 h 512446"/>
                    <a:gd name="connsiteX25" fmla="*/ 354344 w 605747"/>
                    <a:gd name="connsiteY25" fmla="*/ 162727 h 512446"/>
                    <a:gd name="connsiteX26" fmla="*/ 304170 w 605747"/>
                    <a:gd name="connsiteY26" fmla="*/ 123656 h 512446"/>
                    <a:gd name="connsiteX27" fmla="*/ 304170 w 605747"/>
                    <a:gd name="connsiteY27" fmla="*/ 92935 h 512446"/>
                    <a:gd name="connsiteX28" fmla="*/ 363635 w 605747"/>
                    <a:gd name="connsiteY28" fmla="*/ 117573 h 512446"/>
                    <a:gd name="connsiteX29" fmla="*/ 387173 w 605747"/>
                    <a:gd name="connsiteY29" fmla="*/ 179324 h 512446"/>
                    <a:gd name="connsiteX30" fmla="*/ 383147 w 605747"/>
                    <a:gd name="connsiteY30" fmla="*/ 189427 h 512446"/>
                    <a:gd name="connsiteX31" fmla="*/ 373133 w 605747"/>
                    <a:gd name="connsiteY31" fmla="*/ 193551 h 512446"/>
                    <a:gd name="connsiteX32" fmla="*/ 250384 w 605747"/>
                    <a:gd name="connsiteY32" fmla="*/ 193551 h 512446"/>
                    <a:gd name="connsiteX33" fmla="*/ 264837 w 605747"/>
                    <a:gd name="connsiteY33" fmla="*/ 223034 h 512446"/>
                    <a:gd name="connsiteX34" fmla="*/ 304170 w 605747"/>
                    <a:gd name="connsiteY34" fmla="*/ 238807 h 512446"/>
                    <a:gd name="connsiteX35" fmla="*/ 347840 w 605747"/>
                    <a:gd name="connsiteY35" fmla="*/ 221900 h 512446"/>
                    <a:gd name="connsiteX36" fmla="*/ 357854 w 605747"/>
                    <a:gd name="connsiteY36" fmla="*/ 217468 h 512446"/>
                    <a:gd name="connsiteX37" fmla="*/ 367971 w 605747"/>
                    <a:gd name="connsiteY37" fmla="*/ 221591 h 512446"/>
                    <a:gd name="connsiteX38" fmla="*/ 369829 w 605747"/>
                    <a:gd name="connsiteY38" fmla="*/ 223447 h 512446"/>
                    <a:gd name="connsiteX39" fmla="*/ 370035 w 605747"/>
                    <a:gd name="connsiteY39" fmla="*/ 243137 h 512446"/>
                    <a:gd name="connsiteX40" fmla="*/ 304170 w 605747"/>
                    <a:gd name="connsiteY40" fmla="*/ 269631 h 512446"/>
                    <a:gd name="connsiteX41" fmla="*/ 242641 w 605747"/>
                    <a:gd name="connsiteY41" fmla="*/ 244271 h 512446"/>
                    <a:gd name="connsiteX42" fmla="*/ 218484 w 605747"/>
                    <a:gd name="connsiteY42" fmla="*/ 181077 h 512446"/>
                    <a:gd name="connsiteX43" fmla="*/ 242745 w 605747"/>
                    <a:gd name="connsiteY43" fmla="*/ 118192 h 512446"/>
                    <a:gd name="connsiteX44" fmla="*/ 304170 w 605747"/>
                    <a:gd name="connsiteY44" fmla="*/ 92935 h 512446"/>
                    <a:gd name="connsiteX45" fmla="*/ 366216 w 605747"/>
                    <a:gd name="connsiteY45" fmla="*/ 64497 h 512446"/>
                    <a:gd name="connsiteX46" fmla="*/ 405329 w 605747"/>
                    <a:gd name="connsiteY46" fmla="*/ 78929 h 512446"/>
                    <a:gd name="connsiteX47" fmla="*/ 413998 w 605747"/>
                    <a:gd name="connsiteY47" fmla="*/ 150987 h 512446"/>
                    <a:gd name="connsiteX48" fmla="*/ 398105 w 605747"/>
                    <a:gd name="connsiteY48" fmla="*/ 185728 h 512446"/>
                    <a:gd name="connsiteX49" fmla="*/ 398931 w 605747"/>
                    <a:gd name="connsiteY49" fmla="*/ 179130 h 512446"/>
                    <a:gd name="connsiteX50" fmla="*/ 394493 w 605747"/>
                    <a:gd name="connsiteY50" fmla="*/ 149132 h 512446"/>
                    <a:gd name="connsiteX51" fmla="*/ 395835 w 605747"/>
                    <a:gd name="connsiteY51" fmla="*/ 145111 h 512446"/>
                    <a:gd name="connsiteX52" fmla="*/ 391810 w 605747"/>
                    <a:gd name="connsiteY52" fmla="*/ 92434 h 512446"/>
                    <a:gd name="connsiteX53" fmla="*/ 366216 w 605747"/>
                    <a:gd name="connsiteY53" fmla="*/ 83568 h 512446"/>
                    <a:gd name="connsiteX54" fmla="*/ 340313 w 605747"/>
                    <a:gd name="connsiteY54" fmla="*/ 88001 h 512446"/>
                    <a:gd name="connsiteX55" fmla="*/ 307185 w 605747"/>
                    <a:gd name="connsiteY55" fmla="*/ 81300 h 512446"/>
                    <a:gd name="connsiteX56" fmla="*/ 366216 w 605747"/>
                    <a:gd name="connsiteY56" fmla="*/ 64497 h 512446"/>
                    <a:gd name="connsiteX57" fmla="*/ 94488 w 605747"/>
                    <a:gd name="connsiteY57" fmla="*/ 49173 h 512446"/>
                    <a:gd name="connsiteX58" fmla="*/ 87261 w 605747"/>
                    <a:gd name="connsiteY58" fmla="*/ 56286 h 512446"/>
                    <a:gd name="connsiteX59" fmla="*/ 87261 w 605747"/>
                    <a:gd name="connsiteY59" fmla="*/ 304004 h 512446"/>
                    <a:gd name="connsiteX60" fmla="*/ 91494 w 605747"/>
                    <a:gd name="connsiteY60" fmla="*/ 310498 h 512446"/>
                    <a:gd name="connsiteX61" fmla="*/ 514170 w 605747"/>
                    <a:gd name="connsiteY61" fmla="*/ 310498 h 512446"/>
                    <a:gd name="connsiteX62" fmla="*/ 518403 w 605747"/>
                    <a:gd name="connsiteY62" fmla="*/ 304004 h 512446"/>
                    <a:gd name="connsiteX63" fmla="*/ 518403 w 605747"/>
                    <a:gd name="connsiteY63" fmla="*/ 56286 h 512446"/>
                    <a:gd name="connsiteX64" fmla="*/ 511280 w 605747"/>
                    <a:gd name="connsiteY64" fmla="*/ 49173 h 512446"/>
                    <a:gd name="connsiteX65" fmla="*/ 94488 w 605747"/>
                    <a:gd name="connsiteY65" fmla="*/ 0 h 512446"/>
                    <a:gd name="connsiteX66" fmla="*/ 511280 w 605747"/>
                    <a:gd name="connsiteY66" fmla="*/ 0 h 512446"/>
                    <a:gd name="connsiteX67" fmla="*/ 567650 w 605747"/>
                    <a:gd name="connsiteY67" fmla="*/ 56286 h 512446"/>
                    <a:gd name="connsiteX68" fmla="*/ 567650 w 605747"/>
                    <a:gd name="connsiteY68" fmla="*/ 304004 h 512446"/>
                    <a:gd name="connsiteX69" fmla="*/ 564347 w 605747"/>
                    <a:gd name="connsiteY69" fmla="*/ 323075 h 512446"/>
                    <a:gd name="connsiteX70" fmla="*/ 567031 w 605747"/>
                    <a:gd name="connsiteY70" fmla="*/ 329569 h 512446"/>
                    <a:gd name="connsiteX71" fmla="*/ 604611 w 605747"/>
                    <a:gd name="connsiteY71" fmla="*/ 479870 h 512446"/>
                    <a:gd name="connsiteX72" fmla="*/ 605747 w 605747"/>
                    <a:gd name="connsiteY72" fmla="*/ 487190 h 512446"/>
                    <a:gd name="connsiteX73" fmla="*/ 580452 w 605747"/>
                    <a:gd name="connsiteY73" fmla="*/ 512446 h 512446"/>
                    <a:gd name="connsiteX74" fmla="*/ 25315 w 605747"/>
                    <a:gd name="connsiteY74" fmla="*/ 512446 h 512446"/>
                    <a:gd name="connsiteX75" fmla="*/ 5389 w 605747"/>
                    <a:gd name="connsiteY75" fmla="*/ 502756 h 512446"/>
                    <a:gd name="connsiteX76" fmla="*/ 743 w 605747"/>
                    <a:gd name="connsiteY76" fmla="*/ 481108 h 512446"/>
                    <a:gd name="connsiteX77" fmla="*/ 38737 w 605747"/>
                    <a:gd name="connsiteY77" fmla="*/ 329569 h 512446"/>
                    <a:gd name="connsiteX78" fmla="*/ 41421 w 605747"/>
                    <a:gd name="connsiteY78" fmla="*/ 323075 h 512446"/>
                    <a:gd name="connsiteX79" fmla="*/ 38014 w 605747"/>
                    <a:gd name="connsiteY79" fmla="*/ 304004 h 512446"/>
                    <a:gd name="connsiteX80" fmla="*/ 38014 w 605747"/>
                    <a:gd name="connsiteY80" fmla="*/ 56286 h 512446"/>
                    <a:gd name="connsiteX81" fmla="*/ 94488 w 605747"/>
                    <a:gd name="connsiteY81" fmla="*/ 0 h 5124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</a:cxnLst>
                  <a:rect l="l" t="t" r="r" b="b"/>
                  <a:pathLst>
                    <a:path w="605747" h="512446">
                      <a:moveTo>
                        <a:pt x="248836" y="407710"/>
                      </a:moveTo>
                      <a:cubicBezTo>
                        <a:pt x="246358" y="407710"/>
                        <a:pt x="244293" y="409359"/>
                        <a:pt x="243880" y="411730"/>
                      </a:cubicBezTo>
                      <a:lnTo>
                        <a:pt x="233866" y="467088"/>
                      </a:lnTo>
                      <a:cubicBezTo>
                        <a:pt x="233659" y="468531"/>
                        <a:pt x="234072" y="470077"/>
                        <a:pt x="235002" y="471211"/>
                      </a:cubicBezTo>
                      <a:cubicBezTo>
                        <a:pt x="235931" y="472345"/>
                        <a:pt x="237273" y="472964"/>
                        <a:pt x="238822" y="472964"/>
                      </a:cubicBezTo>
                      <a:lnTo>
                        <a:pt x="366946" y="472964"/>
                      </a:lnTo>
                      <a:cubicBezTo>
                        <a:pt x="369734" y="472964"/>
                        <a:pt x="371902" y="470696"/>
                        <a:pt x="371902" y="468015"/>
                      </a:cubicBezTo>
                      <a:cubicBezTo>
                        <a:pt x="371902" y="467500"/>
                        <a:pt x="371902" y="467088"/>
                        <a:pt x="371695" y="466675"/>
                      </a:cubicBezTo>
                      <a:lnTo>
                        <a:pt x="361887" y="411730"/>
                      </a:lnTo>
                      <a:cubicBezTo>
                        <a:pt x="361371" y="409359"/>
                        <a:pt x="359306" y="407710"/>
                        <a:pt x="356932" y="407710"/>
                      </a:cubicBezTo>
                      <a:close/>
                      <a:moveTo>
                        <a:pt x="206831" y="178107"/>
                      </a:moveTo>
                      <a:cubicBezTo>
                        <a:pt x="206831" y="179035"/>
                        <a:pt x="206831" y="180066"/>
                        <a:pt x="206831" y="181097"/>
                      </a:cubicBezTo>
                      <a:cubicBezTo>
                        <a:pt x="206831" y="192234"/>
                        <a:pt x="208379" y="202856"/>
                        <a:pt x="211372" y="212962"/>
                      </a:cubicBezTo>
                      <a:cubicBezTo>
                        <a:pt x="210856" y="214405"/>
                        <a:pt x="210340" y="215952"/>
                        <a:pt x="209824" y="217499"/>
                      </a:cubicBezTo>
                      <a:cubicBezTo>
                        <a:pt x="202290" y="240804"/>
                        <a:pt x="203735" y="259984"/>
                        <a:pt x="213952" y="270090"/>
                      </a:cubicBezTo>
                      <a:cubicBezTo>
                        <a:pt x="219835" y="276071"/>
                        <a:pt x="228401" y="279062"/>
                        <a:pt x="239547" y="279062"/>
                      </a:cubicBezTo>
                      <a:cubicBezTo>
                        <a:pt x="247700" y="279062"/>
                        <a:pt x="256886" y="277309"/>
                        <a:pt x="266587" y="274215"/>
                      </a:cubicBezTo>
                      <a:cubicBezTo>
                        <a:pt x="276598" y="278237"/>
                        <a:pt x="287434" y="280609"/>
                        <a:pt x="298787" y="281227"/>
                      </a:cubicBezTo>
                      <a:cubicBezTo>
                        <a:pt x="277733" y="292261"/>
                        <a:pt x="257298" y="298139"/>
                        <a:pt x="239547" y="298139"/>
                      </a:cubicBezTo>
                      <a:cubicBezTo>
                        <a:pt x="223447" y="298139"/>
                        <a:pt x="209927" y="293086"/>
                        <a:pt x="200432" y="283599"/>
                      </a:cubicBezTo>
                      <a:cubicBezTo>
                        <a:pt x="184745" y="268028"/>
                        <a:pt x="181649" y="242351"/>
                        <a:pt x="191660" y="211518"/>
                      </a:cubicBezTo>
                      <a:cubicBezTo>
                        <a:pt x="195272" y="200484"/>
                        <a:pt x="200432" y="189244"/>
                        <a:pt x="206831" y="178107"/>
                      </a:cubicBezTo>
                      <a:close/>
                      <a:moveTo>
                        <a:pt x="304170" y="123656"/>
                      </a:moveTo>
                      <a:cubicBezTo>
                        <a:pt x="289304" y="123656"/>
                        <a:pt x="276193" y="128604"/>
                        <a:pt x="266386" y="137985"/>
                      </a:cubicBezTo>
                      <a:cubicBezTo>
                        <a:pt x="259469" y="144686"/>
                        <a:pt x="254514" y="153036"/>
                        <a:pt x="251829" y="162727"/>
                      </a:cubicBezTo>
                      <a:lnTo>
                        <a:pt x="354344" y="162727"/>
                      </a:lnTo>
                      <a:cubicBezTo>
                        <a:pt x="348149" y="138295"/>
                        <a:pt x="329773" y="123656"/>
                        <a:pt x="304170" y="123656"/>
                      </a:cubicBezTo>
                      <a:close/>
                      <a:moveTo>
                        <a:pt x="304170" y="92935"/>
                      </a:moveTo>
                      <a:cubicBezTo>
                        <a:pt x="327502" y="92935"/>
                        <a:pt x="348665" y="101595"/>
                        <a:pt x="363635" y="117573"/>
                      </a:cubicBezTo>
                      <a:cubicBezTo>
                        <a:pt x="378501" y="133140"/>
                        <a:pt x="386863" y="155098"/>
                        <a:pt x="387173" y="179324"/>
                      </a:cubicBezTo>
                      <a:cubicBezTo>
                        <a:pt x="387276" y="183139"/>
                        <a:pt x="385831" y="186747"/>
                        <a:pt x="383147" y="189427"/>
                      </a:cubicBezTo>
                      <a:cubicBezTo>
                        <a:pt x="380566" y="192107"/>
                        <a:pt x="376952" y="193551"/>
                        <a:pt x="373133" y="193551"/>
                      </a:cubicBezTo>
                      <a:lnTo>
                        <a:pt x="250384" y="193551"/>
                      </a:lnTo>
                      <a:cubicBezTo>
                        <a:pt x="252449" y="205200"/>
                        <a:pt x="257404" y="215406"/>
                        <a:pt x="264837" y="223034"/>
                      </a:cubicBezTo>
                      <a:cubicBezTo>
                        <a:pt x="274645" y="233240"/>
                        <a:pt x="288582" y="238807"/>
                        <a:pt x="304170" y="238807"/>
                      </a:cubicBezTo>
                      <a:cubicBezTo>
                        <a:pt x="322030" y="238807"/>
                        <a:pt x="337516" y="232828"/>
                        <a:pt x="347840" y="221900"/>
                      </a:cubicBezTo>
                      <a:cubicBezTo>
                        <a:pt x="350420" y="219117"/>
                        <a:pt x="354034" y="217571"/>
                        <a:pt x="357854" y="217468"/>
                      </a:cubicBezTo>
                      <a:cubicBezTo>
                        <a:pt x="361673" y="217468"/>
                        <a:pt x="365287" y="218911"/>
                        <a:pt x="367971" y="221591"/>
                      </a:cubicBezTo>
                      <a:lnTo>
                        <a:pt x="369829" y="223447"/>
                      </a:lnTo>
                      <a:cubicBezTo>
                        <a:pt x="375301" y="228911"/>
                        <a:pt x="375404" y="237570"/>
                        <a:pt x="370035" y="243137"/>
                      </a:cubicBezTo>
                      <a:cubicBezTo>
                        <a:pt x="353621" y="260250"/>
                        <a:pt x="330186" y="269631"/>
                        <a:pt x="304170" y="269631"/>
                      </a:cubicBezTo>
                      <a:cubicBezTo>
                        <a:pt x="280220" y="269631"/>
                        <a:pt x="258437" y="260559"/>
                        <a:pt x="242641" y="244271"/>
                      </a:cubicBezTo>
                      <a:cubicBezTo>
                        <a:pt x="227053" y="228086"/>
                        <a:pt x="218484" y="205612"/>
                        <a:pt x="218484" y="181077"/>
                      </a:cubicBezTo>
                      <a:cubicBezTo>
                        <a:pt x="218484" y="156645"/>
                        <a:pt x="227053" y="134274"/>
                        <a:pt x="242745" y="118192"/>
                      </a:cubicBezTo>
                      <a:cubicBezTo>
                        <a:pt x="258437" y="101904"/>
                        <a:pt x="280220" y="92935"/>
                        <a:pt x="304170" y="92935"/>
                      </a:cubicBezTo>
                      <a:close/>
                      <a:moveTo>
                        <a:pt x="366216" y="64497"/>
                      </a:moveTo>
                      <a:cubicBezTo>
                        <a:pt x="382316" y="64497"/>
                        <a:pt x="395835" y="69445"/>
                        <a:pt x="405329" y="78929"/>
                      </a:cubicBezTo>
                      <a:cubicBezTo>
                        <a:pt x="421016" y="94599"/>
                        <a:pt x="424112" y="120164"/>
                        <a:pt x="413998" y="150987"/>
                      </a:cubicBezTo>
                      <a:cubicBezTo>
                        <a:pt x="410283" y="162430"/>
                        <a:pt x="404917" y="174079"/>
                        <a:pt x="398105" y="185728"/>
                      </a:cubicBezTo>
                      <a:cubicBezTo>
                        <a:pt x="398724" y="183563"/>
                        <a:pt x="398931" y="181398"/>
                        <a:pt x="398931" y="179130"/>
                      </a:cubicBezTo>
                      <a:cubicBezTo>
                        <a:pt x="398724" y="168719"/>
                        <a:pt x="397280" y="158616"/>
                        <a:pt x="394493" y="149132"/>
                      </a:cubicBezTo>
                      <a:cubicBezTo>
                        <a:pt x="395009" y="147792"/>
                        <a:pt x="395422" y="146452"/>
                        <a:pt x="395835" y="145111"/>
                      </a:cubicBezTo>
                      <a:cubicBezTo>
                        <a:pt x="403472" y="121814"/>
                        <a:pt x="402027" y="102639"/>
                        <a:pt x="391810" y="92434"/>
                      </a:cubicBezTo>
                      <a:cubicBezTo>
                        <a:pt x="385928" y="86558"/>
                        <a:pt x="377259" y="83568"/>
                        <a:pt x="366216" y="83568"/>
                      </a:cubicBezTo>
                      <a:cubicBezTo>
                        <a:pt x="358270" y="83568"/>
                        <a:pt x="349498" y="85115"/>
                        <a:pt x="340313" y="88001"/>
                      </a:cubicBezTo>
                      <a:cubicBezTo>
                        <a:pt x="330096" y="83877"/>
                        <a:pt x="318847" y="81610"/>
                        <a:pt x="307185" y="81300"/>
                      </a:cubicBezTo>
                      <a:cubicBezTo>
                        <a:pt x="327928" y="70476"/>
                        <a:pt x="348362" y="64497"/>
                        <a:pt x="366216" y="64497"/>
                      </a:cubicBezTo>
                      <a:close/>
                      <a:moveTo>
                        <a:pt x="94488" y="49173"/>
                      </a:moveTo>
                      <a:cubicBezTo>
                        <a:pt x="90565" y="49173"/>
                        <a:pt x="87261" y="52368"/>
                        <a:pt x="87261" y="56286"/>
                      </a:cubicBezTo>
                      <a:lnTo>
                        <a:pt x="87261" y="304004"/>
                      </a:lnTo>
                      <a:cubicBezTo>
                        <a:pt x="87261" y="306890"/>
                        <a:pt x="89016" y="309364"/>
                        <a:pt x="91494" y="310498"/>
                      </a:cubicBezTo>
                      <a:lnTo>
                        <a:pt x="514170" y="310498"/>
                      </a:lnTo>
                      <a:cubicBezTo>
                        <a:pt x="516648" y="309364"/>
                        <a:pt x="518403" y="306890"/>
                        <a:pt x="518403" y="304004"/>
                      </a:cubicBezTo>
                      <a:lnTo>
                        <a:pt x="518403" y="56286"/>
                      </a:lnTo>
                      <a:cubicBezTo>
                        <a:pt x="518403" y="52368"/>
                        <a:pt x="515203" y="49173"/>
                        <a:pt x="511280" y="49173"/>
                      </a:cubicBezTo>
                      <a:close/>
                      <a:moveTo>
                        <a:pt x="94488" y="0"/>
                      </a:moveTo>
                      <a:lnTo>
                        <a:pt x="511280" y="0"/>
                      </a:lnTo>
                      <a:cubicBezTo>
                        <a:pt x="542356" y="0"/>
                        <a:pt x="567650" y="25256"/>
                        <a:pt x="567650" y="56286"/>
                      </a:cubicBezTo>
                      <a:lnTo>
                        <a:pt x="567650" y="304004"/>
                      </a:lnTo>
                      <a:cubicBezTo>
                        <a:pt x="567650" y="310705"/>
                        <a:pt x="566515" y="317096"/>
                        <a:pt x="564347" y="323075"/>
                      </a:cubicBezTo>
                      <a:cubicBezTo>
                        <a:pt x="565482" y="325034"/>
                        <a:pt x="566411" y="327302"/>
                        <a:pt x="567031" y="329569"/>
                      </a:cubicBezTo>
                      <a:lnTo>
                        <a:pt x="604611" y="479870"/>
                      </a:lnTo>
                      <a:cubicBezTo>
                        <a:pt x="605334" y="482138"/>
                        <a:pt x="605747" y="484612"/>
                        <a:pt x="605747" y="487190"/>
                      </a:cubicBezTo>
                      <a:cubicBezTo>
                        <a:pt x="605747" y="501106"/>
                        <a:pt x="594390" y="512446"/>
                        <a:pt x="580452" y="512446"/>
                      </a:cubicBezTo>
                      <a:lnTo>
                        <a:pt x="25315" y="512446"/>
                      </a:lnTo>
                      <a:cubicBezTo>
                        <a:pt x="17469" y="512446"/>
                        <a:pt x="10138" y="508838"/>
                        <a:pt x="5389" y="502756"/>
                      </a:cubicBezTo>
                      <a:cubicBezTo>
                        <a:pt x="537" y="496571"/>
                        <a:pt x="-1115" y="488633"/>
                        <a:pt x="743" y="481108"/>
                      </a:cubicBezTo>
                      <a:lnTo>
                        <a:pt x="38737" y="329569"/>
                      </a:lnTo>
                      <a:cubicBezTo>
                        <a:pt x="39253" y="327302"/>
                        <a:pt x="40182" y="325034"/>
                        <a:pt x="41421" y="323075"/>
                      </a:cubicBezTo>
                      <a:cubicBezTo>
                        <a:pt x="39253" y="317096"/>
                        <a:pt x="38014" y="310705"/>
                        <a:pt x="38014" y="304004"/>
                      </a:cubicBezTo>
                      <a:lnTo>
                        <a:pt x="38014" y="56286"/>
                      </a:lnTo>
                      <a:cubicBezTo>
                        <a:pt x="38014" y="25256"/>
                        <a:pt x="63309" y="0"/>
                        <a:pt x="94488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70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13765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</p:grpSp>
        </p:grpSp>
        <p:cxnSp>
          <p:nvCxnSpPr>
            <p:cNvPr id="30" name="直接连接符 29"/>
            <p:cNvCxnSpPr/>
            <p:nvPr/>
          </p:nvCxnSpPr>
          <p:spPr>
            <a:xfrm>
              <a:off x="3391474" y="2866246"/>
              <a:ext cx="0" cy="2203633"/>
            </a:xfrm>
            <a:prstGeom prst="line">
              <a:avLst/>
            </a:prstGeom>
            <a:ln w="22225"/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22" name="iṧľídé"/>
          <p:cNvSpPr txBox="1"/>
          <p:nvPr/>
        </p:nvSpPr>
        <p:spPr>
          <a:xfrm>
            <a:off x="6177878" y="2954905"/>
            <a:ext cx="2663663" cy="649897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400" b="1" i="1" dirty="0">
                <a:solidFill>
                  <a:schemeClr val="accent5">
                    <a:lumMod val="75000"/>
                  </a:schemeClr>
                </a:solidFill>
              </a:rPr>
              <a:t>1000W</a:t>
            </a:r>
            <a:r>
              <a:rPr lang="zh-CN" altLang="en-US" sz="2400" b="1" i="1" dirty="0">
                <a:solidFill>
                  <a:schemeClr val="accent5">
                    <a:lumMod val="75000"/>
                  </a:schemeClr>
                </a:solidFill>
              </a:rPr>
              <a:t>用户</a:t>
            </a:r>
            <a:endParaRPr lang="id-ID" sz="2400" b="1" i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ísliḑê"/>
          <p:cNvSpPr/>
          <p:nvPr/>
        </p:nvSpPr>
        <p:spPr bwMode="auto">
          <a:xfrm>
            <a:off x="6082342" y="3604803"/>
            <a:ext cx="2663663" cy="164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600" dirty="0"/>
              <a:t>全行业</a:t>
            </a:r>
            <a:endParaRPr lang="en-US" altLang="zh-CN" sz="1600" dirty="0"/>
          </a:p>
          <a:p>
            <a:pPr algn="ctr"/>
            <a:r>
              <a:rPr lang="en-US" altLang="zh-CN" sz="1600" dirty="0"/>
              <a:t>10</a:t>
            </a:r>
            <a:r>
              <a:rPr lang="zh-CN" altLang="en-US" sz="1600" dirty="0"/>
              <a:t>万名导师</a:t>
            </a:r>
            <a:endParaRPr lang="en-US" altLang="zh-CN" sz="1600" dirty="0"/>
          </a:p>
        </p:txBody>
      </p:sp>
      <p:sp>
        <p:nvSpPr>
          <p:cNvPr id="44" name="íṧlíďe"/>
          <p:cNvSpPr/>
          <p:nvPr/>
        </p:nvSpPr>
        <p:spPr>
          <a:xfrm>
            <a:off x="7282390" y="2345874"/>
            <a:ext cx="440823" cy="429135"/>
          </a:xfrm>
          <a:custGeom>
            <a:avLst/>
            <a:gdLst>
              <a:gd name="T0" fmla="*/ 3535 w 12901"/>
              <a:gd name="T1" fmla="*/ 11192 h 11200"/>
              <a:gd name="T2" fmla="*/ 2962 w 12901"/>
              <a:gd name="T3" fmla="*/ 10392 h 11200"/>
              <a:gd name="T4" fmla="*/ 1566 w 12901"/>
              <a:gd name="T5" fmla="*/ 8401 h 11200"/>
              <a:gd name="T6" fmla="*/ 766 w 12901"/>
              <a:gd name="T7" fmla="*/ 7262 h 11200"/>
              <a:gd name="T8" fmla="*/ 175 w 12901"/>
              <a:gd name="T9" fmla="*/ 4473 h 11200"/>
              <a:gd name="T10" fmla="*/ 1954 w 12901"/>
              <a:gd name="T11" fmla="*/ 2699 h 11200"/>
              <a:gd name="T12" fmla="*/ 3362 w 12901"/>
              <a:gd name="T13" fmla="*/ 3195 h 11200"/>
              <a:gd name="T14" fmla="*/ 1756 w 12901"/>
              <a:gd name="T15" fmla="*/ 3601 h 11200"/>
              <a:gd name="T16" fmla="*/ 840 w 12901"/>
              <a:gd name="T17" fmla="*/ 5766 h 11200"/>
              <a:gd name="T18" fmla="*/ 1907 w 12901"/>
              <a:gd name="T19" fmla="*/ 6948 h 11200"/>
              <a:gd name="T20" fmla="*/ 4421 w 12901"/>
              <a:gd name="T21" fmla="*/ 6507 h 11200"/>
              <a:gd name="T22" fmla="*/ 5309 w 12901"/>
              <a:gd name="T23" fmla="*/ 5878 h 11200"/>
              <a:gd name="T24" fmla="*/ 5246 w 12901"/>
              <a:gd name="T25" fmla="*/ 6529 h 11200"/>
              <a:gd name="T26" fmla="*/ 6986 w 12901"/>
              <a:gd name="T27" fmla="*/ 6785 h 11200"/>
              <a:gd name="T28" fmla="*/ 8839 w 12901"/>
              <a:gd name="T29" fmla="*/ 6550 h 11200"/>
              <a:gd name="T30" fmla="*/ 9320 w 12901"/>
              <a:gd name="T31" fmla="*/ 6629 h 11200"/>
              <a:gd name="T32" fmla="*/ 8787 w 12901"/>
              <a:gd name="T33" fmla="*/ 6232 h 11200"/>
              <a:gd name="T34" fmla="*/ 7960 w 12901"/>
              <a:gd name="T35" fmla="*/ 3996 h 11200"/>
              <a:gd name="T36" fmla="*/ 9104 w 12901"/>
              <a:gd name="T37" fmla="*/ 2351 h 11200"/>
              <a:gd name="T38" fmla="*/ 11466 w 12901"/>
              <a:gd name="T39" fmla="*/ 2313 h 11200"/>
              <a:gd name="T40" fmla="*/ 12623 w 12901"/>
              <a:gd name="T41" fmla="*/ 3780 h 11200"/>
              <a:gd name="T42" fmla="*/ 12408 w 12901"/>
              <a:gd name="T43" fmla="*/ 5548 h 11200"/>
              <a:gd name="T44" fmla="*/ 11449 w 12901"/>
              <a:gd name="T45" fmla="*/ 6560 h 11200"/>
              <a:gd name="T46" fmla="*/ 12839 w 12901"/>
              <a:gd name="T47" fmla="*/ 6661 h 11200"/>
              <a:gd name="T48" fmla="*/ 12042 w 12901"/>
              <a:gd name="T49" fmla="*/ 7774 h 11200"/>
              <a:gd name="T50" fmla="*/ 10468 w 12901"/>
              <a:gd name="T51" fmla="*/ 9980 h 11200"/>
              <a:gd name="T52" fmla="*/ 9453 w 12901"/>
              <a:gd name="T53" fmla="*/ 11197 h 11200"/>
              <a:gd name="T54" fmla="*/ 8827 w 12901"/>
              <a:gd name="T55" fmla="*/ 10461 h 11200"/>
              <a:gd name="T56" fmla="*/ 10206 w 12901"/>
              <a:gd name="T57" fmla="*/ 8923 h 11200"/>
              <a:gd name="T58" fmla="*/ 11312 w 12901"/>
              <a:gd name="T59" fmla="*/ 7502 h 11200"/>
              <a:gd name="T60" fmla="*/ 9534 w 12901"/>
              <a:gd name="T61" fmla="*/ 7365 h 11200"/>
              <a:gd name="T62" fmla="*/ 8899 w 12901"/>
              <a:gd name="T63" fmla="*/ 7679 h 11200"/>
              <a:gd name="T64" fmla="*/ 6730 w 12901"/>
              <a:gd name="T65" fmla="*/ 9745 h 11200"/>
              <a:gd name="T66" fmla="*/ 5133 w 12901"/>
              <a:gd name="T67" fmla="*/ 8761 h 11200"/>
              <a:gd name="T68" fmla="*/ 5458 w 12901"/>
              <a:gd name="T69" fmla="*/ 8145 h 11200"/>
              <a:gd name="T70" fmla="*/ 6665 w 12901"/>
              <a:gd name="T71" fmla="*/ 8928 h 11200"/>
              <a:gd name="T72" fmla="*/ 7673 w 12901"/>
              <a:gd name="T73" fmla="*/ 7631 h 11200"/>
              <a:gd name="T74" fmla="*/ 7499 w 12901"/>
              <a:gd name="T75" fmla="*/ 7402 h 11200"/>
              <a:gd name="T76" fmla="*/ 4362 w 12901"/>
              <a:gd name="T77" fmla="*/ 7577 h 11200"/>
              <a:gd name="T78" fmla="*/ 2611 w 12901"/>
              <a:gd name="T79" fmla="*/ 8071 h 11200"/>
              <a:gd name="T80" fmla="*/ 2752 w 12901"/>
              <a:gd name="T81" fmla="*/ 8643 h 11200"/>
              <a:gd name="T82" fmla="*/ 4128 w 12901"/>
              <a:gd name="T83" fmla="*/ 10463 h 11200"/>
              <a:gd name="T84" fmla="*/ 6464 w 12901"/>
              <a:gd name="T85" fmla="*/ 0 h 11200"/>
              <a:gd name="T86" fmla="*/ 8457 w 12901"/>
              <a:gd name="T87" fmla="*/ 858 h 11200"/>
              <a:gd name="T88" fmla="*/ 7753 w 12901"/>
              <a:gd name="T89" fmla="*/ 1981 h 11200"/>
              <a:gd name="T90" fmla="*/ 7068 w 12901"/>
              <a:gd name="T91" fmla="*/ 5162 h 11200"/>
              <a:gd name="T92" fmla="*/ 6747 w 12901"/>
              <a:gd name="T93" fmla="*/ 5492 h 11200"/>
              <a:gd name="T94" fmla="*/ 4270 w 12901"/>
              <a:gd name="T95" fmla="*/ 4415 h 11200"/>
              <a:gd name="T96" fmla="*/ 3737 w 12901"/>
              <a:gd name="T97" fmla="*/ 2314 h 11200"/>
              <a:gd name="T98" fmla="*/ 4809 w 12901"/>
              <a:gd name="T99" fmla="*/ 550 h 11200"/>
              <a:gd name="T100" fmla="*/ 6464 w 12901"/>
              <a:gd name="T101" fmla="*/ 0 h 1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2901" h="11200">
                <a:moveTo>
                  <a:pt x="6550" y="11197"/>
                </a:moveTo>
                <a:cubicBezTo>
                  <a:pt x="5598" y="11197"/>
                  <a:pt x="4646" y="11197"/>
                  <a:pt x="3693" y="11197"/>
                </a:cubicBezTo>
                <a:cubicBezTo>
                  <a:pt x="3641" y="11197"/>
                  <a:pt x="3587" y="11199"/>
                  <a:pt x="3535" y="11192"/>
                </a:cubicBezTo>
                <a:cubicBezTo>
                  <a:pt x="3513" y="11189"/>
                  <a:pt x="3486" y="11172"/>
                  <a:pt x="3473" y="11152"/>
                </a:cubicBezTo>
                <a:cubicBezTo>
                  <a:pt x="3406" y="11053"/>
                  <a:pt x="3347" y="10948"/>
                  <a:pt x="3280" y="10849"/>
                </a:cubicBezTo>
                <a:cubicBezTo>
                  <a:pt x="3176" y="10695"/>
                  <a:pt x="3068" y="10544"/>
                  <a:pt x="2962" y="10392"/>
                </a:cubicBezTo>
                <a:cubicBezTo>
                  <a:pt x="2801" y="10165"/>
                  <a:pt x="2639" y="9938"/>
                  <a:pt x="2480" y="9710"/>
                </a:cubicBezTo>
                <a:cubicBezTo>
                  <a:pt x="2341" y="9513"/>
                  <a:pt x="2205" y="9313"/>
                  <a:pt x="2067" y="9115"/>
                </a:cubicBezTo>
                <a:cubicBezTo>
                  <a:pt x="1901" y="8877"/>
                  <a:pt x="1733" y="8639"/>
                  <a:pt x="1566" y="8401"/>
                </a:cubicBezTo>
                <a:cubicBezTo>
                  <a:pt x="1500" y="8307"/>
                  <a:pt x="1436" y="8213"/>
                  <a:pt x="1371" y="8118"/>
                </a:cubicBezTo>
                <a:cubicBezTo>
                  <a:pt x="1220" y="7896"/>
                  <a:pt x="1070" y="7672"/>
                  <a:pt x="917" y="7451"/>
                </a:cubicBezTo>
                <a:cubicBezTo>
                  <a:pt x="871" y="7385"/>
                  <a:pt x="820" y="7323"/>
                  <a:pt x="766" y="7262"/>
                </a:cubicBezTo>
                <a:cubicBezTo>
                  <a:pt x="552" y="7021"/>
                  <a:pt x="432" y="6723"/>
                  <a:pt x="269" y="6451"/>
                </a:cubicBezTo>
                <a:cubicBezTo>
                  <a:pt x="213" y="6358"/>
                  <a:pt x="193" y="6242"/>
                  <a:pt x="162" y="6136"/>
                </a:cubicBezTo>
                <a:cubicBezTo>
                  <a:pt x="82" y="5864"/>
                  <a:pt x="0" y="4944"/>
                  <a:pt x="175" y="4473"/>
                </a:cubicBezTo>
                <a:cubicBezTo>
                  <a:pt x="272" y="4098"/>
                  <a:pt x="484" y="3789"/>
                  <a:pt x="725" y="3495"/>
                </a:cubicBezTo>
                <a:cubicBezTo>
                  <a:pt x="897" y="3285"/>
                  <a:pt x="1107" y="3120"/>
                  <a:pt x="1332" y="2981"/>
                </a:cubicBezTo>
                <a:cubicBezTo>
                  <a:pt x="1524" y="2862"/>
                  <a:pt x="1737" y="2776"/>
                  <a:pt x="1954" y="2699"/>
                </a:cubicBezTo>
                <a:cubicBezTo>
                  <a:pt x="2385" y="2545"/>
                  <a:pt x="2818" y="2549"/>
                  <a:pt x="3258" y="2599"/>
                </a:cubicBezTo>
                <a:cubicBezTo>
                  <a:pt x="3419" y="2617"/>
                  <a:pt x="3475" y="2691"/>
                  <a:pt x="3448" y="2853"/>
                </a:cubicBezTo>
                <a:cubicBezTo>
                  <a:pt x="3428" y="2968"/>
                  <a:pt x="3396" y="3082"/>
                  <a:pt x="3362" y="3195"/>
                </a:cubicBezTo>
                <a:cubicBezTo>
                  <a:pt x="3334" y="3286"/>
                  <a:pt x="3259" y="3308"/>
                  <a:pt x="3170" y="3309"/>
                </a:cubicBezTo>
                <a:cubicBezTo>
                  <a:pt x="2957" y="3311"/>
                  <a:pt x="2738" y="3292"/>
                  <a:pt x="2530" y="3329"/>
                </a:cubicBezTo>
                <a:cubicBezTo>
                  <a:pt x="2261" y="3377"/>
                  <a:pt x="2001" y="3465"/>
                  <a:pt x="1756" y="3601"/>
                </a:cubicBezTo>
                <a:cubicBezTo>
                  <a:pt x="1594" y="3691"/>
                  <a:pt x="1446" y="3795"/>
                  <a:pt x="1313" y="3919"/>
                </a:cubicBezTo>
                <a:cubicBezTo>
                  <a:pt x="1128" y="4090"/>
                  <a:pt x="992" y="4294"/>
                  <a:pt x="887" y="4530"/>
                </a:cubicBezTo>
                <a:cubicBezTo>
                  <a:pt x="702" y="4942"/>
                  <a:pt x="742" y="5351"/>
                  <a:pt x="840" y="5766"/>
                </a:cubicBezTo>
                <a:cubicBezTo>
                  <a:pt x="870" y="5892"/>
                  <a:pt x="911" y="6018"/>
                  <a:pt x="964" y="6136"/>
                </a:cubicBezTo>
                <a:cubicBezTo>
                  <a:pt x="1104" y="6440"/>
                  <a:pt x="1273" y="6729"/>
                  <a:pt x="1573" y="6898"/>
                </a:cubicBezTo>
                <a:cubicBezTo>
                  <a:pt x="1665" y="6950"/>
                  <a:pt x="1795" y="6950"/>
                  <a:pt x="1907" y="6948"/>
                </a:cubicBezTo>
                <a:cubicBezTo>
                  <a:pt x="2371" y="6937"/>
                  <a:pt x="2836" y="6915"/>
                  <a:pt x="3301" y="6898"/>
                </a:cubicBezTo>
                <a:cubicBezTo>
                  <a:pt x="3496" y="6891"/>
                  <a:pt x="3691" y="6886"/>
                  <a:pt x="3886" y="6878"/>
                </a:cubicBezTo>
                <a:cubicBezTo>
                  <a:pt x="4142" y="6868"/>
                  <a:pt x="4317" y="6732"/>
                  <a:pt x="4421" y="6507"/>
                </a:cubicBezTo>
                <a:cubicBezTo>
                  <a:pt x="4500" y="6337"/>
                  <a:pt x="4566" y="6160"/>
                  <a:pt x="4634" y="5985"/>
                </a:cubicBezTo>
                <a:cubicBezTo>
                  <a:pt x="4666" y="5902"/>
                  <a:pt x="4719" y="5854"/>
                  <a:pt x="4807" y="5856"/>
                </a:cubicBezTo>
                <a:cubicBezTo>
                  <a:pt x="4975" y="5860"/>
                  <a:pt x="5142" y="5863"/>
                  <a:pt x="5309" y="5878"/>
                </a:cubicBezTo>
                <a:cubicBezTo>
                  <a:pt x="5453" y="5891"/>
                  <a:pt x="5490" y="5975"/>
                  <a:pt x="5430" y="6107"/>
                </a:cubicBezTo>
                <a:cubicBezTo>
                  <a:pt x="5399" y="6174"/>
                  <a:pt x="5382" y="6248"/>
                  <a:pt x="5352" y="6316"/>
                </a:cubicBezTo>
                <a:cubicBezTo>
                  <a:pt x="5320" y="6388"/>
                  <a:pt x="5283" y="6459"/>
                  <a:pt x="5246" y="6529"/>
                </a:cubicBezTo>
                <a:cubicBezTo>
                  <a:pt x="5236" y="6548"/>
                  <a:pt x="5220" y="6564"/>
                  <a:pt x="5210" y="6583"/>
                </a:cubicBezTo>
                <a:cubicBezTo>
                  <a:pt x="5133" y="6728"/>
                  <a:pt x="5195" y="6828"/>
                  <a:pt x="5358" y="6824"/>
                </a:cubicBezTo>
                <a:cubicBezTo>
                  <a:pt x="5901" y="6811"/>
                  <a:pt x="6443" y="6798"/>
                  <a:pt x="6986" y="6785"/>
                </a:cubicBezTo>
                <a:cubicBezTo>
                  <a:pt x="7426" y="6775"/>
                  <a:pt x="7866" y="6768"/>
                  <a:pt x="8306" y="6750"/>
                </a:cubicBezTo>
                <a:cubicBezTo>
                  <a:pt x="8394" y="6746"/>
                  <a:pt x="8483" y="6704"/>
                  <a:pt x="8568" y="6672"/>
                </a:cubicBezTo>
                <a:cubicBezTo>
                  <a:pt x="8660" y="6636"/>
                  <a:pt x="8748" y="6589"/>
                  <a:pt x="8839" y="6550"/>
                </a:cubicBezTo>
                <a:cubicBezTo>
                  <a:pt x="8895" y="6525"/>
                  <a:pt x="8940" y="6537"/>
                  <a:pt x="8970" y="6596"/>
                </a:cubicBezTo>
                <a:cubicBezTo>
                  <a:pt x="9035" y="6719"/>
                  <a:pt x="9146" y="6743"/>
                  <a:pt x="9271" y="6731"/>
                </a:cubicBezTo>
                <a:cubicBezTo>
                  <a:pt x="9351" y="6723"/>
                  <a:pt x="9365" y="6691"/>
                  <a:pt x="9320" y="6629"/>
                </a:cubicBezTo>
                <a:cubicBezTo>
                  <a:pt x="9248" y="6531"/>
                  <a:pt x="9168" y="6452"/>
                  <a:pt x="9032" y="6450"/>
                </a:cubicBezTo>
                <a:cubicBezTo>
                  <a:pt x="8996" y="6449"/>
                  <a:pt x="8957" y="6407"/>
                  <a:pt x="8926" y="6378"/>
                </a:cubicBezTo>
                <a:cubicBezTo>
                  <a:pt x="8877" y="6332"/>
                  <a:pt x="8835" y="6279"/>
                  <a:pt x="8787" y="6232"/>
                </a:cubicBezTo>
                <a:cubicBezTo>
                  <a:pt x="8695" y="6141"/>
                  <a:pt x="8590" y="6060"/>
                  <a:pt x="8508" y="5961"/>
                </a:cubicBezTo>
                <a:cubicBezTo>
                  <a:pt x="8315" y="5726"/>
                  <a:pt x="8172" y="5465"/>
                  <a:pt x="8061" y="5176"/>
                </a:cubicBezTo>
                <a:cubicBezTo>
                  <a:pt x="7911" y="4786"/>
                  <a:pt x="7904" y="4393"/>
                  <a:pt x="7960" y="3996"/>
                </a:cubicBezTo>
                <a:cubicBezTo>
                  <a:pt x="7997" y="3734"/>
                  <a:pt x="8100" y="3487"/>
                  <a:pt x="8230" y="3250"/>
                </a:cubicBezTo>
                <a:cubicBezTo>
                  <a:pt x="8352" y="3030"/>
                  <a:pt x="8497" y="2832"/>
                  <a:pt x="8683" y="2666"/>
                </a:cubicBezTo>
                <a:cubicBezTo>
                  <a:pt x="8813" y="2550"/>
                  <a:pt x="8968" y="2461"/>
                  <a:pt x="9104" y="2351"/>
                </a:cubicBezTo>
                <a:cubicBezTo>
                  <a:pt x="9303" y="2191"/>
                  <a:pt x="9918" y="2030"/>
                  <a:pt x="9987" y="2030"/>
                </a:cubicBezTo>
                <a:cubicBezTo>
                  <a:pt x="10235" y="2028"/>
                  <a:pt x="10487" y="2011"/>
                  <a:pt x="10729" y="2047"/>
                </a:cubicBezTo>
                <a:cubicBezTo>
                  <a:pt x="10987" y="2086"/>
                  <a:pt x="11233" y="2182"/>
                  <a:pt x="11466" y="2313"/>
                </a:cubicBezTo>
                <a:cubicBezTo>
                  <a:pt x="11688" y="2436"/>
                  <a:pt x="11891" y="2581"/>
                  <a:pt x="12058" y="2770"/>
                </a:cubicBezTo>
                <a:cubicBezTo>
                  <a:pt x="12170" y="2897"/>
                  <a:pt x="12256" y="3045"/>
                  <a:pt x="12361" y="3179"/>
                </a:cubicBezTo>
                <a:cubicBezTo>
                  <a:pt x="12502" y="3357"/>
                  <a:pt x="12547" y="3576"/>
                  <a:pt x="12623" y="3780"/>
                </a:cubicBezTo>
                <a:cubicBezTo>
                  <a:pt x="12666" y="3897"/>
                  <a:pt x="12691" y="4027"/>
                  <a:pt x="12695" y="4152"/>
                </a:cubicBezTo>
                <a:cubicBezTo>
                  <a:pt x="12702" y="4372"/>
                  <a:pt x="12711" y="4596"/>
                  <a:pt x="12675" y="4811"/>
                </a:cubicBezTo>
                <a:cubicBezTo>
                  <a:pt x="12631" y="5068"/>
                  <a:pt x="12539" y="5316"/>
                  <a:pt x="12408" y="5548"/>
                </a:cubicBezTo>
                <a:cubicBezTo>
                  <a:pt x="12290" y="5759"/>
                  <a:pt x="12157" y="5956"/>
                  <a:pt x="11978" y="6115"/>
                </a:cubicBezTo>
                <a:cubicBezTo>
                  <a:pt x="11855" y="6226"/>
                  <a:pt x="11712" y="6315"/>
                  <a:pt x="11576" y="6411"/>
                </a:cubicBezTo>
                <a:cubicBezTo>
                  <a:pt x="11519" y="6451"/>
                  <a:pt x="11427" y="6471"/>
                  <a:pt x="11449" y="6560"/>
                </a:cubicBezTo>
                <a:cubicBezTo>
                  <a:pt x="11469" y="6646"/>
                  <a:pt x="11560" y="6639"/>
                  <a:pt x="11629" y="6638"/>
                </a:cubicBezTo>
                <a:cubicBezTo>
                  <a:pt x="11914" y="6631"/>
                  <a:pt x="12199" y="6614"/>
                  <a:pt x="12484" y="6613"/>
                </a:cubicBezTo>
                <a:cubicBezTo>
                  <a:pt x="12603" y="6613"/>
                  <a:pt x="12722" y="6641"/>
                  <a:pt x="12839" y="6661"/>
                </a:cubicBezTo>
                <a:cubicBezTo>
                  <a:pt x="12891" y="6670"/>
                  <a:pt x="12901" y="6719"/>
                  <a:pt x="12860" y="6739"/>
                </a:cubicBezTo>
                <a:cubicBezTo>
                  <a:pt x="12703" y="6818"/>
                  <a:pt x="12633" y="6972"/>
                  <a:pt x="12535" y="7099"/>
                </a:cubicBezTo>
                <a:cubicBezTo>
                  <a:pt x="12364" y="7318"/>
                  <a:pt x="12206" y="7548"/>
                  <a:pt x="12042" y="7774"/>
                </a:cubicBezTo>
                <a:cubicBezTo>
                  <a:pt x="11972" y="7872"/>
                  <a:pt x="11902" y="7970"/>
                  <a:pt x="11832" y="8068"/>
                </a:cubicBezTo>
                <a:cubicBezTo>
                  <a:pt x="11591" y="8401"/>
                  <a:pt x="11347" y="8733"/>
                  <a:pt x="11108" y="9068"/>
                </a:cubicBezTo>
                <a:cubicBezTo>
                  <a:pt x="10893" y="9371"/>
                  <a:pt x="10682" y="9677"/>
                  <a:pt x="10468" y="9980"/>
                </a:cubicBezTo>
                <a:cubicBezTo>
                  <a:pt x="10335" y="10166"/>
                  <a:pt x="10198" y="10350"/>
                  <a:pt x="10063" y="10535"/>
                </a:cubicBezTo>
                <a:cubicBezTo>
                  <a:pt x="9928" y="10719"/>
                  <a:pt x="9774" y="10894"/>
                  <a:pt x="9665" y="11093"/>
                </a:cubicBezTo>
                <a:cubicBezTo>
                  <a:pt x="9605" y="11200"/>
                  <a:pt x="9539" y="11197"/>
                  <a:pt x="9453" y="11197"/>
                </a:cubicBezTo>
                <a:cubicBezTo>
                  <a:pt x="8486" y="11197"/>
                  <a:pt x="7518" y="11197"/>
                  <a:pt x="6550" y="11197"/>
                </a:cubicBezTo>
                <a:close/>
                <a:moveTo>
                  <a:pt x="6454" y="10459"/>
                </a:moveTo>
                <a:cubicBezTo>
                  <a:pt x="7245" y="10459"/>
                  <a:pt x="8036" y="10457"/>
                  <a:pt x="8827" y="10461"/>
                </a:cubicBezTo>
                <a:cubicBezTo>
                  <a:pt x="8960" y="10462"/>
                  <a:pt x="9062" y="10422"/>
                  <a:pt x="9142" y="10318"/>
                </a:cubicBezTo>
                <a:cubicBezTo>
                  <a:pt x="9345" y="10053"/>
                  <a:pt x="9548" y="9788"/>
                  <a:pt x="9751" y="9522"/>
                </a:cubicBezTo>
                <a:cubicBezTo>
                  <a:pt x="9903" y="9323"/>
                  <a:pt x="10054" y="9122"/>
                  <a:pt x="10206" y="8923"/>
                </a:cubicBezTo>
                <a:cubicBezTo>
                  <a:pt x="10363" y="8720"/>
                  <a:pt x="10521" y="8518"/>
                  <a:pt x="10679" y="8315"/>
                </a:cubicBezTo>
                <a:cubicBezTo>
                  <a:pt x="10871" y="8068"/>
                  <a:pt x="11063" y="7822"/>
                  <a:pt x="11256" y="7576"/>
                </a:cubicBezTo>
                <a:cubicBezTo>
                  <a:pt x="11275" y="7551"/>
                  <a:pt x="11296" y="7528"/>
                  <a:pt x="11312" y="7502"/>
                </a:cubicBezTo>
                <a:cubicBezTo>
                  <a:pt x="11357" y="7427"/>
                  <a:pt x="11339" y="7374"/>
                  <a:pt x="11253" y="7357"/>
                </a:cubicBezTo>
                <a:cubicBezTo>
                  <a:pt x="11178" y="7343"/>
                  <a:pt x="11099" y="7344"/>
                  <a:pt x="11022" y="7345"/>
                </a:cubicBezTo>
                <a:cubicBezTo>
                  <a:pt x="10526" y="7350"/>
                  <a:pt x="10030" y="7358"/>
                  <a:pt x="9534" y="7365"/>
                </a:cubicBezTo>
                <a:cubicBezTo>
                  <a:pt x="9431" y="7366"/>
                  <a:pt x="9329" y="7363"/>
                  <a:pt x="9227" y="7367"/>
                </a:cubicBezTo>
                <a:cubicBezTo>
                  <a:pt x="9087" y="7372"/>
                  <a:pt x="9045" y="7412"/>
                  <a:pt x="8998" y="7541"/>
                </a:cubicBezTo>
                <a:cubicBezTo>
                  <a:pt x="8979" y="7593"/>
                  <a:pt x="8942" y="7646"/>
                  <a:pt x="8899" y="7679"/>
                </a:cubicBezTo>
                <a:cubicBezTo>
                  <a:pt x="8741" y="7798"/>
                  <a:pt x="8573" y="7903"/>
                  <a:pt x="8417" y="8024"/>
                </a:cubicBezTo>
                <a:cubicBezTo>
                  <a:pt x="7870" y="8447"/>
                  <a:pt x="7398" y="8947"/>
                  <a:pt x="6948" y="9468"/>
                </a:cubicBezTo>
                <a:cubicBezTo>
                  <a:pt x="6871" y="9557"/>
                  <a:pt x="6810" y="9660"/>
                  <a:pt x="6730" y="9745"/>
                </a:cubicBezTo>
                <a:cubicBezTo>
                  <a:pt x="6633" y="9850"/>
                  <a:pt x="6541" y="9837"/>
                  <a:pt x="6447" y="9730"/>
                </a:cubicBezTo>
                <a:cubicBezTo>
                  <a:pt x="6376" y="9649"/>
                  <a:pt x="6301" y="9569"/>
                  <a:pt x="6219" y="9499"/>
                </a:cubicBezTo>
                <a:cubicBezTo>
                  <a:pt x="5886" y="9211"/>
                  <a:pt x="5527" y="8959"/>
                  <a:pt x="5133" y="8761"/>
                </a:cubicBezTo>
                <a:cubicBezTo>
                  <a:pt x="5086" y="8737"/>
                  <a:pt x="5043" y="8705"/>
                  <a:pt x="5002" y="8672"/>
                </a:cubicBezTo>
                <a:cubicBezTo>
                  <a:pt x="4886" y="8579"/>
                  <a:pt x="4898" y="8506"/>
                  <a:pt x="5025" y="8430"/>
                </a:cubicBezTo>
                <a:cubicBezTo>
                  <a:pt x="5173" y="8341"/>
                  <a:pt x="5317" y="8245"/>
                  <a:pt x="5458" y="8145"/>
                </a:cubicBezTo>
                <a:cubicBezTo>
                  <a:pt x="5568" y="8068"/>
                  <a:pt x="5662" y="8074"/>
                  <a:pt x="5753" y="8174"/>
                </a:cubicBezTo>
                <a:cubicBezTo>
                  <a:pt x="5981" y="8427"/>
                  <a:pt x="6211" y="8679"/>
                  <a:pt x="6442" y="8930"/>
                </a:cubicBezTo>
                <a:cubicBezTo>
                  <a:pt x="6515" y="9009"/>
                  <a:pt x="6592" y="9011"/>
                  <a:pt x="6665" y="8928"/>
                </a:cubicBezTo>
                <a:cubicBezTo>
                  <a:pt x="6724" y="8861"/>
                  <a:pt x="6773" y="8785"/>
                  <a:pt x="6827" y="8714"/>
                </a:cubicBezTo>
                <a:cubicBezTo>
                  <a:pt x="6985" y="8503"/>
                  <a:pt x="7140" y="8291"/>
                  <a:pt x="7302" y="8084"/>
                </a:cubicBezTo>
                <a:cubicBezTo>
                  <a:pt x="7422" y="7930"/>
                  <a:pt x="7556" y="7787"/>
                  <a:pt x="7673" y="7631"/>
                </a:cubicBezTo>
                <a:cubicBezTo>
                  <a:pt x="7708" y="7585"/>
                  <a:pt x="7728" y="7508"/>
                  <a:pt x="7715" y="7455"/>
                </a:cubicBezTo>
                <a:cubicBezTo>
                  <a:pt x="7708" y="7426"/>
                  <a:pt x="7618" y="7416"/>
                  <a:pt x="7564" y="7401"/>
                </a:cubicBezTo>
                <a:cubicBezTo>
                  <a:pt x="7544" y="7396"/>
                  <a:pt x="7520" y="7401"/>
                  <a:pt x="7499" y="7402"/>
                </a:cubicBezTo>
                <a:cubicBezTo>
                  <a:pt x="6963" y="7421"/>
                  <a:pt x="6427" y="7441"/>
                  <a:pt x="5892" y="7457"/>
                </a:cubicBezTo>
                <a:cubicBezTo>
                  <a:pt x="5544" y="7467"/>
                  <a:pt x="5197" y="7463"/>
                  <a:pt x="4850" y="7482"/>
                </a:cubicBezTo>
                <a:cubicBezTo>
                  <a:pt x="4686" y="7491"/>
                  <a:pt x="4519" y="7526"/>
                  <a:pt x="4362" y="7577"/>
                </a:cubicBezTo>
                <a:cubicBezTo>
                  <a:pt x="4251" y="7613"/>
                  <a:pt x="4154" y="7694"/>
                  <a:pt x="4050" y="7755"/>
                </a:cubicBezTo>
                <a:cubicBezTo>
                  <a:pt x="3760" y="7924"/>
                  <a:pt x="3443" y="8017"/>
                  <a:pt x="3112" y="8058"/>
                </a:cubicBezTo>
                <a:cubicBezTo>
                  <a:pt x="2947" y="8079"/>
                  <a:pt x="2778" y="8062"/>
                  <a:pt x="2611" y="8071"/>
                </a:cubicBezTo>
                <a:cubicBezTo>
                  <a:pt x="2562" y="8074"/>
                  <a:pt x="2490" y="8098"/>
                  <a:pt x="2473" y="8134"/>
                </a:cubicBezTo>
                <a:cubicBezTo>
                  <a:pt x="2456" y="8170"/>
                  <a:pt x="2483" y="8239"/>
                  <a:pt x="2510" y="8282"/>
                </a:cubicBezTo>
                <a:cubicBezTo>
                  <a:pt x="2586" y="8405"/>
                  <a:pt x="2676" y="8520"/>
                  <a:pt x="2752" y="8643"/>
                </a:cubicBezTo>
                <a:cubicBezTo>
                  <a:pt x="2905" y="8887"/>
                  <a:pt x="3051" y="9134"/>
                  <a:pt x="3202" y="9379"/>
                </a:cubicBezTo>
                <a:cubicBezTo>
                  <a:pt x="3378" y="9663"/>
                  <a:pt x="3557" y="9944"/>
                  <a:pt x="3733" y="10228"/>
                </a:cubicBezTo>
                <a:cubicBezTo>
                  <a:pt x="3824" y="10376"/>
                  <a:pt x="3932" y="10466"/>
                  <a:pt x="4128" y="10463"/>
                </a:cubicBezTo>
                <a:cubicBezTo>
                  <a:pt x="4903" y="10452"/>
                  <a:pt x="5679" y="10459"/>
                  <a:pt x="6454" y="10459"/>
                </a:cubicBezTo>
                <a:close/>
                <a:moveTo>
                  <a:pt x="6454" y="10459"/>
                </a:moveTo>
                <a:close/>
                <a:moveTo>
                  <a:pt x="6464" y="0"/>
                </a:moveTo>
                <a:cubicBezTo>
                  <a:pt x="6666" y="0"/>
                  <a:pt x="7214" y="112"/>
                  <a:pt x="7245" y="118"/>
                </a:cubicBezTo>
                <a:cubicBezTo>
                  <a:pt x="7472" y="161"/>
                  <a:pt x="7677" y="263"/>
                  <a:pt x="7864" y="384"/>
                </a:cubicBezTo>
                <a:cubicBezTo>
                  <a:pt x="8076" y="521"/>
                  <a:pt x="8271" y="687"/>
                  <a:pt x="8457" y="858"/>
                </a:cubicBezTo>
                <a:cubicBezTo>
                  <a:pt x="8567" y="959"/>
                  <a:pt x="8649" y="1092"/>
                  <a:pt x="8737" y="1216"/>
                </a:cubicBezTo>
                <a:cubicBezTo>
                  <a:pt x="8816" y="1327"/>
                  <a:pt x="8785" y="1413"/>
                  <a:pt x="8658" y="1450"/>
                </a:cubicBezTo>
                <a:cubicBezTo>
                  <a:pt x="8311" y="1551"/>
                  <a:pt x="8020" y="1747"/>
                  <a:pt x="7753" y="1981"/>
                </a:cubicBezTo>
                <a:cubicBezTo>
                  <a:pt x="7502" y="2201"/>
                  <a:pt x="7307" y="2465"/>
                  <a:pt x="7148" y="2761"/>
                </a:cubicBezTo>
                <a:cubicBezTo>
                  <a:pt x="6850" y="3315"/>
                  <a:pt x="6762" y="3902"/>
                  <a:pt x="6866" y="4515"/>
                </a:cubicBezTo>
                <a:cubicBezTo>
                  <a:pt x="6904" y="4736"/>
                  <a:pt x="6999" y="4947"/>
                  <a:pt x="7068" y="5162"/>
                </a:cubicBezTo>
                <a:cubicBezTo>
                  <a:pt x="7079" y="5194"/>
                  <a:pt x="7098" y="5223"/>
                  <a:pt x="7108" y="5256"/>
                </a:cubicBezTo>
                <a:cubicBezTo>
                  <a:pt x="7140" y="5364"/>
                  <a:pt x="7105" y="5433"/>
                  <a:pt x="6995" y="5458"/>
                </a:cubicBezTo>
                <a:cubicBezTo>
                  <a:pt x="6914" y="5477"/>
                  <a:pt x="6830" y="5488"/>
                  <a:pt x="6747" y="5492"/>
                </a:cubicBezTo>
                <a:cubicBezTo>
                  <a:pt x="6374" y="5510"/>
                  <a:pt x="6008" y="5506"/>
                  <a:pt x="5646" y="5376"/>
                </a:cubicBezTo>
                <a:cubicBezTo>
                  <a:pt x="5434" y="5301"/>
                  <a:pt x="5226" y="5222"/>
                  <a:pt x="5038" y="5108"/>
                </a:cubicBezTo>
                <a:cubicBezTo>
                  <a:pt x="4740" y="4927"/>
                  <a:pt x="4470" y="4707"/>
                  <a:pt x="4270" y="4415"/>
                </a:cubicBezTo>
                <a:cubicBezTo>
                  <a:pt x="4150" y="4240"/>
                  <a:pt x="4018" y="4064"/>
                  <a:pt x="3940" y="3869"/>
                </a:cubicBezTo>
                <a:cubicBezTo>
                  <a:pt x="3834" y="3601"/>
                  <a:pt x="3722" y="3326"/>
                  <a:pt x="3719" y="3028"/>
                </a:cubicBezTo>
                <a:cubicBezTo>
                  <a:pt x="3716" y="2790"/>
                  <a:pt x="3701" y="2547"/>
                  <a:pt x="3737" y="2314"/>
                </a:cubicBezTo>
                <a:cubicBezTo>
                  <a:pt x="3781" y="2031"/>
                  <a:pt x="3872" y="1758"/>
                  <a:pt x="4009" y="1500"/>
                </a:cubicBezTo>
                <a:cubicBezTo>
                  <a:pt x="4131" y="1270"/>
                  <a:pt x="4274" y="1059"/>
                  <a:pt x="4449" y="870"/>
                </a:cubicBezTo>
                <a:cubicBezTo>
                  <a:pt x="4558" y="753"/>
                  <a:pt x="4679" y="643"/>
                  <a:pt x="4809" y="550"/>
                </a:cubicBezTo>
                <a:cubicBezTo>
                  <a:pt x="4969" y="435"/>
                  <a:pt x="5140" y="332"/>
                  <a:pt x="5314" y="241"/>
                </a:cubicBezTo>
                <a:cubicBezTo>
                  <a:pt x="5420" y="186"/>
                  <a:pt x="5544" y="167"/>
                  <a:pt x="5656" y="124"/>
                </a:cubicBezTo>
                <a:cubicBezTo>
                  <a:pt x="5697" y="108"/>
                  <a:pt x="6260" y="0"/>
                  <a:pt x="6464" y="0"/>
                </a:cubicBezTo>
                <a:close/>
                <a:moveTo>
                  <a:pt x="6464" y="0"/>
                </a:moveTo>
                <a:close/>
              </a:path>
            </a:pathLst>
          </a:custGeom>
          <a:solidFill>
            <a:schemeClr val="accent2"/>
          </a:solidFill>
          <a:ln w="19050">
            <a:solidFill>
              <a:schemeClr val="bg1">
                <a:lumMod val="95000"/>
              </a:schemeClr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3765"/>
            <a:endParaRPr lang="zh-CN" altLang="en-US" sz="2000" b="1" i="1">
              <a:solidFill>
                <a:schemeClr val="tx1"/>
              </a:solidFill>
            </a:endParaRPr>
          </a:p>
        </p:txBody>
      </p:sp>
      <p:cxnSp>
        <p:nvCxnSpPr>
          <p:cNvPr id="25" name="直接连接符 24"/>
          <p:cNvCxnSpPr/>
          <p:nvPr/>
        </p:nvCxnSpPr>
        <p:spPr>
          <a:xfrm>
            <a:off x="6157428" y="2825301"/>
            <a:ext cx="0" cy="2203633"/>
          </a:xfrm>
          <a:prstGeom prst="line">
            <a:avLst/>
          </a:prstGeom>
          <a:ln w="22225"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43" name="smartphone-with-internet-connection_15860"/>
          <p:cNvSpPr>
            <a:spLocks noChangeAspect="1"/>
          </p:cNvSpPr>
          <p:nvPr/>
        </p:nvSpPr>
        <p:spPr bwMode="auto">
          <a:xfrm>
            <a:off x="1830048" y="2284458"/>
            <a:ext cx="383008" cy="527685"/>
          </a:xfrm>
          <a:custGeom>
            <a:avLst/>
            <a:gdLst>
              <a:gd name="T0" fmla="*/ 330 w 366"/>
              <a:gd name="T1" fmla="*/ 168 h 505"/>
              <a:gd name="T2" fmla="*/ 332 w 366"/>
              <a:gd name="T3" fmla="*/ 164 h 505"/>
              <a:gd name="T4" fmla="*/ 125 w 366"/>
              <a:gd name="T5" fmla="*/ 215 h 505"/>
              <a:gd name="T6" fmla="*/ 166 w 366"/>
              <a:gd name="T7" fmla="*/ 140 h 505"/>
              <a:gd name="T8" fmla="*/ 166 w 366"/>
              <a:gd name="T9" fmla="*/ 140 h 505"/>
              <a:gd name="T10" fmla="*/ 163 w 366"/>
              <a:gd name="T11" fmla="*/ 218 h 505"/>
              <a:gd name="T12" fmla="*/ 143 w 366"/>
              <a:gd name="T13" fmla="*/ 197 h 505"/>
              <a:gd name="T14" fmla="*/ 136 w 366"/>
              <a:gd name="T15" fmla="*/ 214 h 505"/>
              <a:gd name="T16" fmla="*/ 170 w 366"/>
              <a:gd name="T17" fmla="*/ 282 h 505"/>
              <a:gd name="T18" fmla="*/ 182 w 366"/>
              <a:gd name="T19" fmla="*/ 247 h 505"/>
              <a:gd name="T20" fmla="*/ 189 w 366"/>
              <a:gd name="T21" fmla="*/ 122 h 505"/>
              <a:gd name="T22" fmla="*/ 189 w 366"/>
              <a:gd name="T23" fmla="*/ 122 h 505"/>
              <a:gd name="T24" fmla="*/ 255 w 366"/>
              <a:gd name="T25" fmla="*/ 107 h 505"/>
              <a:gd name="T26" fmla="*/ 259 w 366"/>
              <a:gd name="T27" fmla="*/ 125 h 505"/>
              <a:gd name="T28" fmla="*/ 244 w 366"/>
              <a:gd name="T29" fmla="*/ 133 h 505"/>
              <a:gd name="T30" fmla="*/ 236 w 366"/>
              <a:gd name="T31" fmla="*/ 148 h 505"/>
              <a:gd name="T32" fmla="*/ 255 w 366"/>
              <a:gd name="T33" fmla="*/ 138 h 505"/>
              <a:gd name="T34" fmla="*/ 274 w 366"/>
              <a:gd name="T35" fmla="*/ 146 h 505"/>
              <a:gd name="T36" fmla="*/ 268 w 366"/>
              <a:gd name="T37" fmla="*/ 135 h 505"/>
              <a:gd name="T38" fmla="*/ 288 w 366"/>
              <a:gd name="T39" fmla="*/ 147 h 505"/>
              <a:gd name="T40" fmla="*/ 301 w 366"/>
              <a:gd name="T41" fmla="*/ 147 h 505"/>
              <a:gd name="T42" fmla="*/ 283 w 366"/>
              <a:gd name="T43" fmla="*/ 158 h 505"/>
              <a:gd name="T44" fmla="*/ 258 w 366"/>
              <a:gd name="T45" fmla="*/ 149 h 505"/>
              <a:gd name="T46" fmla="*/ 222 w 366"/>
              <a:gd name="T47" fmla="*/ 176 h 505"/>
              <a:gd name="T48" fmla="*/ 243 w 366"/>
              <a:gd name="T49" fmla="*/ 207 h 505"/>
              <a:gd name="T50" fmla="*/ 274 w 366"/>
              <a:gd name="T51" fmla="*/ 214 h 505"/>
              <a:gd name="T52" fmla="*/ 278 w 366"/>
              <a:gd name="T53" fmla="*/ 256 h 505"/>
              <a:gd name="T54" fmla="*/ 314 w 366"/>
              <a:gd name="T55" fmla="*/ 261 h 505"/>
              <a:gd name="T56" fmla="*/ 327 w 366"/>
              <a:gd name="T57" fmla="*/ 221 h 505"/>
              <a:gd name="T58" fmla="*/ 308 w 366"/>
              <a:gd name="T59" fmla="*/ 163 h 505"/>
              <a:gd name="T60" fmla="*/ 335 w 366"/>
              <a:gd name="T61" fmla="*/ 166 h 505"/>
              <a:gd name="T62" fmla="*/ 253 w 366"/>
              <a:gd name="T63" fmla="*/ 380 h 505"/>
              <a:gd name="T64" fmla="*/ 253 w 366"/>
              <a:gd name="T65" fmla="*/ 413 h 505"/>
              <a:gd name="T66" fmla="*/ 250 w 366"/>
              <a:gd name="T67" fmla="*/ 420 h 505"/>
              <a:gd name="T68" fmla="*/ 245 w 366"/>
              <a:gd name="T69" fmla="*/ 427 h 505"/>
              <a:gd name="T70" fmla="*/ 240 w 366"/>
              <a:gd name="T71" fmla="*/ 432 h 505"/>
              <a:gd name="T72" fmla="*/ 231 w 366"/>
              <a:gd name="T73" fmla="*/ 436 h 505"/>
              <a:gd name="T74" fmla="*/ 45 w 366"/>
              <a:gd name="T75" fmla="*/ 505 h 505"/>
              <a:gd name="T76" fmla="*/ 0 w 366"/>
              <a:gd name="T77" fmla="*/ 407 h 505"/>
              <a:gd name="T78" fmla="*/ 224 w 366"/>
              <a:gd name="T79" fmla="*/ 0 h 505"/>
              <a:gd name="T80" fmla="*/ 230 w 366"/>
              <a:gd name="T81" fmla="*/ 1 h 505"/>
              <a:gd name="T82" fmla="*/ 236 w 366"/>
              <a:gd name="T83" fmla="*/ 3 h 505"/>
              <a:gd name="T84" fmla="*/ 244 w 366"/>
              <a:gd name="T85" fmla="*/ 8 h 505"/>
              <a:gd name="T86" fmla="*/ 249 w 366"/>
              <a:gd name="T87" fmla="*/ 14 h 505"/>
              <a:gd name="T88" fmla="*/ 252 w 366"/>
              <a:gd name="T89" fmla="*/ 22 h 505"/>
              <a:gd name="T90" fmla="*/ 253 w 366"/>
              <a:gd name="T91" fmla="*/ 48 h 505"/>
              <a:gd name="T92" fmla="*/ 233 w 366"/>
              <a:gd name="T93" fmla="*/ 76 h 505"/>
              <a:gd name="T94" fmla="*/ 20 w 366"/>
              <a:gd name="T95" fmla="*/ 47 h 505"/>
              <a:gd name="T96" fmla="*/ 65 w 366"/>
              <a:gd name="T97" fmla="*/ 457 h 505"/>
              <a:gd name="T98" fmla="*/ 230 w 366"/>
              <a:gd name="T99" fmla="*/ 382 h 505"/>
              <a:gd name="T100" fmla="*/ 233 w 366"/>
              <a:gd name="T101" fmla="*/ 354 h 505"/>
              <a:gd name="T102" fmla="*/ 95 w 366"/>
              <a:gd name="T103" fmla="*/ 28 h 505"/>
              <a:gd name="T104" fmla="*/ 158 w 366"/>
              <a:gd name="T105" fmla="*/ 21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66" h="505">
                <a:moveTo>
                  <a:pt x="332" y="164"/>
                </a:moveTo>
                <a:cubicBezTo>
                  <a:pt x="332" y="164"/>
                  <a:pt x="333" y="165"/>
                  <a:pt x="334" y="165"/>
                </a:cubicBezTo>
                <a:lnTo>
                  <a:pt x="330" y="168"/>
                </a:lnTo>
                <a:lnTo>
                  <a:pt x="323" y="159"/>
                </a:lnTo>
                <a:lnTo>
                  <a:pt x="324" y="157"/>
                </a:lnTo>
                <a:cubicBezTo>
                  <a:pt x="326" y="160"/>
                  <a:pt x="332" y="164"/>
                  <a:pt x="332" y="164"/>
                </a:cubicBezTo>
                <a:close/>
                <a:moveTo>
                  <a:pt x="366" y="215"/>
                </a:moveTo>
                <a:cubicBezTo>
                  <a:pt x="366" y="282"/>
                  <a:pt x="312" y="335"/>
                  <a:pt x="245" y="335"/>
                </a:cubicBezTo>
                <a:cubicBezTo>
                  <a:pt x="179" y="335"/>
                  <a:pt x="125" y="282"/>
                  <a:pt x="125" y="215"/>
                </a:cubicBezTo>
                <a:cubicBezTo>
                  <a:pt x="125" y="149"/>
                  <a:pt x="179" y="95"/>
                  <a:pt x="245" y="95"/>
                </a:cubicBezTo>
                <a:cubicBezTo>
                  <a:pt x="312" y="95"/>
                  <a:pt x="366" y="149"/>
                  <a:pt x="366" y="215"/>
                </a:cubicBezTo>
                <a:close/>
                <a:moveTo>
                  <a:pt x="166" y="140"/>
                </a:moveTo>
                <a:cubicBezTo>
                  <a:pt x="167" y="140"/>
                  <a:pt x="168" y="140"/>
                  <a:pt x="169" y="139"/>
                </a:cubicBezTo>
                <a:cubicBezTo>
                  <a:pt x="169" y="139"/>
                  <a:pt x="179" y="138"/>
                  <a:pt x="175" y="132"/>
                </a:cubicBezTo>
                <a:cubicBezTo>
                  <a:pt x="171" y="135"/>
                  <a:pt x="168" y="137"/>
                  <a:pt x="166" y="140"/>
                </a:cubicBezTo>
                <a:close/>
                <a:moveTo>
                  <a:pt x="182" y="228"/>
                </a:moveTo>
                <a:cubicBezTo>
                  <a:pt x="182" y="228"/>
                  <a:pt x="181" y="223"/>
                  <a:pt x="172" y="223"/>
                </a:cubicBezTo>
                <a:cubicBezTo>
                  <a:pt x="172" y="223"/>
                  <a:pt x="168" y="218"/>
                  <a:pt x="163" y="218"/>
                </a:cubicBezTo>
                <a:cubicBezTo>
                  <a:pt x="163" y="218"/>
                  <a:pt x="162" y="203"/>
                  <a:pt x="154" y="206"/>
                </a:cubicBezTo>
                <a:cubicBezTo>
                  <a:pt x="154" y="206"/>
                  <a:pt x="153" y="200"/>
                  <a:pt x="149" y="201"/>
                </a:cubicBezTo>
                <a:cubicBezTo>
                  <a:pt x="149" y="201"/>
                  <a:pt x="147" y="195"/>
                  <a:pt x="143" y="197"/>
                </a:cubicBezTo>
                <a:lnTo>
                  <a:pt x="139" y="194"/>
                </a:lnTo>
                <a:cubicBezTo>
                  <a:pt x="139" y="194"/>
                  <a:pt x="139" y="195"/>
                  <a:pt x="138" y="196"/>
                </a:cubicBezTo>
                <a:cubicBezTo>
                  <a:pt x="137" y="202"/>
                  <a:pt x="136" y="208"/>
                  <a:pt x="136" y="214"/>
                </a:cubicBezTo>
                <a:cubicBezTo>
                  <a:pt x="136" y="245"/>
                  <a:pt x="149" y="273"/>
                  <a:pt x="170" y="292"/>
                </a:cubicBezTo>
                <a:cubicBezTo>
                  <a:pt x="170" y="291"/>
                  <a:pt x="170" y="291"/>
                  <a:pt x="171" y="290"/>
                </a:cubicBezTo>
                <a:cubicBezTo>
                  <a:pt x="171" y="290"/>
                  <a:pt x="173" y="285"/>
                  <a:pt x="170" y="282"/>
                </a:cubicBezTo>
                <a:cubicBezTo>
                  <a:pt x="170" y="282"/>
                  <a:pt x="173" y="278"/>
                  <a:pt x="173" y="273"/>
                </a:cubicBezTo>
                <a:cubicBezTo>
                  <a:pt x="173" y="273"/>
                  <a:pt x="170" y="265"/>
                  <a:pt x="177" y="264"/>
                </a:cubicBezTo>
                <a:cubicBezTo>
                  <a:pt x="177" y="264"/>
                  <a:pt x="187" y="264"/>
                  <a:pt x="182" y="247"/>
                </a:cubicBezTo>
                <a:cubicBezTo>
                  <a:pt x="182" y="247"/>
                  <a:pt x="182" y="242"/>
                  <a:pt x="185" y="237"/>
                </a:cubicBezTo>
                <a:cubicBezTo>
                  <a:pt x="185" y="237"/>
                  <a:pt x="189" y="227"/>
                  <a:pt x="182" y="228"/>
                </a:cubicBezTo>
                <a:close/>
                <a:moveTo>
                  <a:pt x="189" y="122"/>
                </a:moveTo>
                <a:cubicBezTo>
                  <a:pt x="184" y="125"/>
                  <a:pt x="179" y="128"/>
                  <a:pt x="175" y="132"/>
                </a:cubicBezTo>
                <a:cubicBezTo>
                  <a:pt x="177" y="132"/>
                  <a:pt x="188" y="133"/>
                  <a:pt x="188" y="127"/>
                </a:cubicBezTo>
                <a:lnTo>
                  <a:pt x="189" y="122"/>
                </a:lnTo>
                <a:close/>
                <a:moveTo>
                  <a:pt x="335" y="166"/>
                </a:moveTo>
                <a:cubicBezTo>
                  <a:pt x="337" y="166"/>
                  <a:pt x="339" y="165"/>
                  <a:pt x="340" y="165"/>
                </a:cubicBezTo>
                <a:cubicBezTo>
                  <a:pt x="324" y="133"/>
                  <a:pt x="292" y="110"/>
                  <a:pt x="255" y="107"/>
                </a:cubicBezTo>
                <a:cubicBezTo>
                  <a:pt x="246" y="115"/>
                  <a:pt x="257" y="119"/>
                  <a:pt x="257" y="119"/>
                </a:cubicBezTo>
                <a:cubicBezTo>
                  <a:pt x="261" y="121"/>
                  <a:pt x="269" y="116"/>
                  <a:pt x="269" y="116"/>
                </a:cubicBezTo>
                <a:cubicBezTo>
                  <a:pt x="272" y="120"/>
                  <a:pt x="259" y="125"/>
                  <a:pt x="259" y="125"/>
                </a:cubicBezTo>
                <a:cubicBezTo>
                  <a:pt x="253" y="126"/>
                  <a:pt x="247" y="130"/>
                  <a:pt x="247" y="130"/>
                </a:cubicBezTo>
                <a:cubicBezTo>
                  <a:pt x="244" y="125"/>
                  <a:pt x="241" y="129"/>
                  <a:pt x="241" y="129"/>
                </a:cubicBezTo>
                <a:cubicBezTo>
                  <a:pt x="238" y="132"/>
                  <a:pt x="244" y="133"/>
                  <a:pt x="244" y="133"/>
                </a:cubicBezTo>
                <a:cubicBezTo>
                  <a:pt x="249" y="134"/>
                  <a:pt x="248" y="137"/>
                  <a:pt x="246" y="139"/>
                </a:cubicBezTo>
                <a:cubicBezTo>
                  <a:pt x="244" y="140"/>
                  <a:pt x="237" y="139"/>
                  <a:pt x="237" y="139"/>
                </a:cubicBezTo>
                <a:cubicBezTo>
                  <a:pt x="234" y="141"/>
                  <a:pt x="236" y="148"/>
                  <a:pt x="236" y="148"/>
                </a:cubicBezTo>
                <a:lnTo>
                  <a:pt x="240" y="148"/>
                </a:lnTo>
                <a:cubicBezTo>
                  <a:pt x="250" y="151"/>
                  <a:pt x="251" y="143"/>
                  <a:pt x="251" y="143"/>
                </a:cubicBezTo>
                <a:cubicBezTo>
                  <a:pt x="254" y="143"/>
                  <a:pt x="255" y="138"/>
                  <a:pt x="255" y="138"/>
                </a:cubicBezTo>
                <a:cubicBezTo>
                  <a:pt x="258" y="141"/>
                  <a:pt x="264" y="137"/>
                  <a:pt x="264" y="137"/>
                </a:cubicBezTo>
                <a:cubicBezTo>
                  <a:pt x="265" y="139"/>
                  <a:pt x="268" y="142"/>
                  <a:pt x="268" y="142"/>
                </a:cubicBezTo>
                <a:cubicBezTo>
                  <a:pt x="273" y="143"/>
                  <a:pt x="274" y="146"/>
                  <a:pt x="274" y="146"/>
                </a:cubicBezTo>
                <a:cubicBezTo>
                  <a:pt x="269" y="147"/>
                  <a:pt x="273" y="149"/>
                  <a:pt x="273" y="149"/>
                </a:cubicBezTo>
                <a:cubicBezTo>
                  <a:pt x="280" y="146"/>
                  <a:pt x="275" y="142"/>
                  <a:pt x="275" y="142"/>
                </a:cubicBezTo>
                <a:cubicBezTo>
                  <a:pt x="263" y="137"/>
                  <a:pt x="268" y="135"/>
                  <a:pt x="268" y="135"/>
                </a:cubicBezTo>
                <a:cubicBezTo>
                  <a:pt x="270" y="139"/>
                  <a:pt x="279" y="140"/>
                  <a:pt x="279" y="140"/>
                </a:cubicBezTo>
                <a:cubicBezTo>
                  <a:pt x="280" y="147"/>
                  <a:pt x="283" y="148"/>
                  <a:pt x="283" y="148"/>
                </a:cubicBezTo>
                <a:cubicBezTo>
                  <a:pt x="287" y="150"/>
                  <a:pt x="288" y="147"/>
                  <a:pt x="288" y="147"/>
                </a:cubicBezTo>
                <a:cubicBezTo>
                  <a:pt x="284" y="146"/>
                  <a:pt x="284" y="142"/>
                  <a:pt x="284" y="142"/>
                </a:cubicBezTo>
                <a:cubicBezTo>
                  <a:pt x="283" y="139"/>
                  <a:pt x="287" y="141"/>
                  <a:pt x="287" y="141"/>
                </a:cubicBezTo>
                <a:cubicBezTo>
                  <a:pt x="292" y="148"/>
                  <a:pt x="301" y="147"/>
                  <a:pt x="301" y="147"/>
                </a:cubicBezTo>
                <a:cubicBezTo>
                  <a:pt x="307" y="147"/>
                  <a:pt x="305" y="157"/>
                  <a:pt x="305" y="157"/>
                </a:cubicBezTo>
                <a:cubicBezTo>
                  <a:pt x="299" y="162"/>
                  <a:pt x="286" y="154"/>
                  <a:pt x="286" y="154"/>
                </a:cubicBezTo>
                <a:cubicBezTo>
                  <a:pt x="287" y="158"/>
                  <a:pt x="283" y="158"/>
                  <a:pt x="283" y="158"/>
                </a:cubicBezTo>
                <a:cubicBezTo>
                  <a:pt x="278" y="152"/>
                  <a:pt x="270" y="155"/>
                  <a:pt x="270" y="155"/>
                </a:cubicBezTo>
                <a:cubicBezTo>
                  <a:pt x="272" y="153"/>
                  <a:pt x="269" y="148"/>
                  <a:pt x="269" y="148"/>
                </a:cubicBezTo>
                <a:cubicBezTo>
                  <a:pt x="265" y="147"/>
                  <a:pt x="258" y="149"/>
                  <a:pt x="258" y="149"/>
                </a:cubicBezTo>
                <a:cubicBezTo>
                  <a:pt x="253" y="151"/>
                  <a:pt x="242" y="152"/>
                  <a:pt x="242" y="152"/>
                </a:cubicBezTo>
                <a:cubicBezTo>
                  <a:pt x="237" y="152"/>
                  <a:pt x="234" y="162"/>
                  <a:pt x="234" y="162"/>
                </a:cubicBezTo>
                <a:cubicBezTo>
                  <a:pt x="223" y="166"/>
                  <a:pt x="222" y="176"/>
                  <a:pt x="222" y="176"/>
                </a:cubicBezTo>
                <a:cubicBezTo>
                  <a:pt x="222" y="182"/>
                  <a:pt x="221" y="187"/>
                  <a:pt x="221" y="187"/>
                </a:cubicBezTo>
                <a:cubicBezTo>
                  <a:pt x="218" y="193"/>
                  <a:pt x="228" y="200"/>
                  <a:pt x="228" y="200"/>
                </a:cubicBezTo>
                <a:cubicBezTo>
                  <a:pt x="235" y="212"/>
                  <a:pt x="243" y="207"/>
                  <a:pt x="243" y="207"/>
                </a:cubicBezTo>
                <a:cubicBezTo>
                  <a:pt x="249" y="209"/>
                  <a:pt x="263" y="204"/>
                  <a:pt x="263" y="204"/>
                </a:cubicBezTo>
                <a:cubicBezTo>
                  <a:pt x="265" y="209"/>
                  <a:pt x="272" y="208"/>
                  <a:pt x="272" y="208"/>
                </a:cubicBezTo>
                <a:cubicBezTo>
                  <a:pt x="275" y="209"/>
                  <a:pt x="274" y="214"/>
                  <a:pt x="274" y="214"/>
                </a:cubicBezTo>
                <a:cubicBezTo>
                  <a:pt x="270" y="221"/>
                  <a:pt x="277" y="227"/>
                  <a:pt x="277" y="227"/>
                </a:cubicBezTo>
                <a:cubicBezTo>
                  <a:pt x="288" y="239"/>
                  <a:pt x="281" y="242"/>
                  <a:pt x="281" y="242"/>
                </a:cubicBezTo>
                <a:cubicBezTo>
                  <a:pt x="273" y="249"/>
                  <a:pt x="278" y="256"/>
                  <a:pt x="278" y="256"/>
                </a:cubicBezTo>
                <a:cubicBezTo>
                  <a:pt x="284" y="267"/>
                  <a:pt x="284" y="277"/>
                  <a:pt x="284" y="277"/>
                </a:cubicBezTo>
                <a:cubicBezTo>
                  <a:pt x="302" y="280"/>
                  <a:pt x="308" y="266"/>
                  <a:pt x="308" y="266"/>
                </a:cubicBezTo>
                <a:cubicBezTo>
                  <a:pt x="314" y="266"/>
                  <a:pt x="314" y="261"/>
                  <a:pt x="314" y="261"/>
                </a:cubicBezTo>
                <a:cubicBezTo>
                  <a:pt x="314" y="255"/>
                  <a:pt x="318" y="252"/>
                  <a:pt x="318" y="252"/>
                </a:cubicBezTo>
                <a:cubicBezTo>
                  <a:pt x="327" y="246"/>
                  <a:pt x="325" y="235"/>
                  <a:pt x="325" y="235"/>
                </a:cubicBezTo>
                <a:cubicBezTo>
                  <a:pt x="324" y="228"/>
                  <a:pt x="327" y="221"/>
                  <a:pt x="327" y="221"/>
                </a:cubicBezTo>
                <a:cubicBezTo>
                  <a:pt x="337" y="210"/>
                  <a:pt x="336" y="192"/>
                  <a:pt x="336" y="192"/>
                </a:cubicBezTo>
                <a:cubicBezTo>
                  <a:pt x="332" y="194"/>
                  <a:pt x="329" y="193"/>
                  <a:pt x="329" y="193"/>
                </a:cubicBezTo>
                <a:cubicBezTo>
                  <a:pt x="320" y="183"/>
                  <a:pt x="308" y="163"/>
                  <a:pt x="308" y="163"/>
                </a:cubicBezTo>
                <a:cubicBezTo>
                  <a:pt x="319" y="167"/>
                  <a:pt x="328" y="190"/>
                  <a:pt x="328" y="190"/>
                </a:cubicBezTo>
                <a:cubicBezTo>
                  <a:pt x="335" y="186"/>
                  <a:pt x="337" y="181"/>
                  <a:pt x="337" y="181"/>
                </a:cubicBezTo>
                <a:cubicBezTo>
                  <a:pt x="343" y="175"/>
                  <a:pt x="336" y="167"/>
                  <a:pt x="335" y="166"/>
                </a:cubicBezTo>
                <a:close/>
                <a:moveTo>
                  <a:pt x="245" y="355"/>
                </a:moveTo>
                <a:cubicBezTo>
                  <a:pt x="248" y="355"/>
                  <a:pt x="251" y="354"/>
                  <a:pt x="253" y="354"/>
                </a:cubicBezTo>
                <a:lnTo>
                  <a:pt x="253" y="380"/>
                </a:lnTo>
                <a:lnTo>
                  <a:pt x="253" y="407"/>
                </a:lnTo>
                <a:lnTo>
                  <a:pt x="253" y="407"/>
                </a:lnTo>
                <a:cubicBezTo>
                  <a:pt x="253" y="409"/>
                  <a:pt x="253" y="411"/>
                  <a:pt x="253" y="413"/>
                </a:cubicBezTo>
                <a:cubicBezTo>
                  <a:pt x="253" y="413"/>
                  <a:pt x="252" y="414"/>
                  <a:pt x="252" y="415"/>
                </a:cubicBezTo>
                <a:cubicBezTo>
                  <a:pt x="252" y="416"/>
                  <a:pt x="252" y="417"/>
                  <a:pt x="251" y="418"/>
                </a:cubicBezTo>
                <a:cubicBezTo>
                  <a:pt x="251" y="419"/>
                  <a:pt x="251" y="419"/>
                  <a:pt x="250" y="420"/>
                </a:cubicBezTo>
                <a:cubicBezTo>
                  <a:pt x="250" y="421"/>
                  <a:pt x="249" y="422"/>
                  <a:pt x="249" y="423"/>
                </a:cubicBezTo>
                <a:cubicBezTo>
                  <a:pt x="248" y="424"/>
                  <a:pt x="248" y="424"/>
                  <a:pt x="247" y="425"/>
                </a:cubicBezTo>
                <a:cubicBezTo>
                  <a:pt x="247" y="426"/>
                  <a:pt x="246" y="426"/>
                  <a:pt x="245" y="427"/>
                </a:cubicBezTo>
                <a:cubicBezTo>
                  <a:pt x="245" y="428"/>
                  <a:pt x="244" y="428"/>
                  <a:pt x="244" y="429"/>
                </a:cubicBezTo>
                <a:cubicBezTo>
                  <a:pt x="243" y="430"/>
                  <a:pt x="242" y="430"/>
                  <a:pt x="241" y="431"/>
                </a:cubicBezTo>
                <a:cubicBezTo>
                  <a:pt x="241" y="431"/>
                  <a:pt x="240" y="432"/>
                  <a:pt x="240" y="432"/>
                </a:cubicBezTo>
                <a:cubicBezTo>
                  <a:pt x="239" y="433"/>
                  <a:pt x="238" y="433"/>
                  <a:pt x="237" y="434"/>
                </a:cubicBezTo>
                <a:cubicBezTo>
                  <a:pt x="236" y="434"/>
                  <a:pt x="235" y="434"/>
                  <a:pt x="235" y="435"/>
                </a:cubicBezTo>
                <a:cubicBezTo>
                  <a:pt x="233" y="435"/>
                  <a:pt x="232" y="436"/>
                  <a:pt x="231" y="436"/>
                </a:cubicBezTo>
                <a:cubicBezTo>
                  <a:pt x="228" y="436"/>
                  <a:pt x="226" y="437"/>
                  <a:pt x="224" y="437"/>
                </a:cubicBezTo>
                <a:lnTo>
                  <a:pt x="113" y="437"/>
                </a:lnTo>
                <a:lnTo>
                  <a:pt x="45" y="505"/>
                </a:lnTo>
                <a:lnTo>
                  <a:pt x="45" y="437"/>
                </a:lnTo>
                <a:lnTo>
                  <a:pt x="29" y="437"/>
                </a:lnTo>
                <a:cubicBezTo>
                  <a:pt x="13" y="437"/>
                  <a:pt x="0" y="423"/>
                  <a:pt x="0" y="407"/>
                </a:cubicBezTo>
                <a:lnTo>
                  <a:pt x="0" y="29"/>
                </a:lnTo>
                <a:cubicBezTo>
                  <a:pt x="0" y="13"/>
                  <a:pt x="13" y="0"/>
                  <a:pt x="29" y="0"/>
                </a:cubicBezTo>
                <a:lnTo>
                  <a:pt x="224" y="0"/>
                </a:lnTo>
                <a:cubicBezTo>
                  <a:pt x="226" y="0"/>
                  <a:pt x="228" y="0"/>
                  <a:pt x="230" y="1"/>
                </a:cubicBezTo>
                <a:lnTo>
                  <a:pt x="230" y="1"/>
                </a:lnTo>
                <a:lnTo>
                  <a:pt x="230" y="1"/>
                </a:lnTo>
                <a:cubicBezTo>
                  <a:pt x="230" y="1"/>
                  <a:pt x="230" y="1"/>
                  <a:pt x="230" y="1"/>
                </a:cubicBezTo>
                <a:cubicBezTo>
                  <a:pt x="232" y="1"/>
                  <a:pt x="233" y="2"/>
                  <a:pt x="235" y="2"/>
                </a:cubicBezTo>
                <a:cubicBezTo>
                  <a:pt x="235" y="2"/>
                  <a:pt x="236" y="3"/>
                  <a:pt x="236" y="3"/>
                </a:cubicBezTo>
                <a:cubicBezTo>
                  <a:pt x="237" y="3"/>
                  <a:pt x="239" y="4"/>
                  <a:pt x="240" y="5"/>
                </a:cubicBezTo>
                <a:cubicBezTo>
                  <a:pt x="240" y="5"/>
                  <a:pt x="241" y="6"/>
                  <a:pt x="241" y="6"/>
                </a:cubicBezTo>
                <a:cubicBezTo>
                  <a:pt x="242" y="7"/>
                  <a:pt x="243" y="7"/>
                  <a:pt x="244" y="8"/>
                </a:cubicBezTo>
                <a:cubicBezTo>
                  <a:pt x="244" y="9"/>
                  <a:pt x="245" y="9"/>
                  <a:pt x="245" y="10"/>
                </a:cubicBezTo>
                <a:cubicBezTo>
                  <a:pt x="246" y="10"/>
                  <a:pt x="247" y="11"/>
                  <a:pt x="247" y="12"/>
                </a:cubicBezTo>
                <a:cubicBezTo>
                  <a:pt x="248" y="13"/>
                  <a:pt x="248" y="13"/>
                  <a:pt x="249" y="14"/>
                </a:cubicBezTo>
                <a:cubicBezTo>
                  <a:pt x="249" y="15"/>
                  <a:pt x="250" y="16"/>
                  <a:pt x="250" y="17"/>
                </a:cubicBezTo>
                <a:cubicBezTo>
                  <a:pt x="250" y="17"/>
                  <a:pt x="251" y="18"/>
                  <a:pt x="251" y="19"/>
                </a:cubicBezTo>
                <a:cubicBezTo>
                  <a:pt x="251" y="20"/>
                  <a:pt x="252" y="21"/>
                  <a:pt x="252" y="22"/>
                </a:cubicBezTo>
                <a:cubicBezTo>
                  <a:pt x="252" y="23"/>
                  <a:pt x="252" y="23"/>
                  <a:pt x="253" y="24"/>
                </a:cubicBezTo>
                <a:cubicBezTo>
                  <a:pt x="253" y="26"/>
                  <a:pt x="253" y="28"/>
                  <a:pt x="253" y="29"/>
                </a:cubicBezTo>
                <a:lnTo>
                  <a:pt x="253" y="48"/>
                </a:lnTo>
                <a:lnTo>
                  <a:pt x="253" y="76"/>
                </a:lnTo>
                <a:cubicBezTo>
                  <a:pt x="250" y="76"/>
                  <a:pt x="248" y="75"/>
                  <a:pt x="245" y="75"/>
                </a:cubicBezTo>
                <a:cubicBezTo>
                  <a:pt x="241" y="75"/>
                  <a:pt x="237" y="76"/>
                  <a:pt x="233" y="76"/>
                </a:cubicBezTo>
                <a:lnTo>
                  <a:pt x="233" y="48"/>
                </a:lnTo>
                <a:lnTo>
                  <a:pt x="233" y="47"/>
                </a:lnTo>
                <a:lnTo>
                  <a:pt x="20" y="47"/>
                </a:lnTo>
                <a:lnTo>
                  <a:pt x="20" y="382"/>
                </a:lnTo>
                <a:lnTo>
                  <a:pt x="65" y="382"/>
                </a:lnTo>
                <a:lnTo>
                  <a:pt x="65" y="457"/>
                </a:lnTo>
                <a:lnTo>
                  <a:pt x="139" y="382"/>
                </a:lnTo>
                <a:lnTo>
                  <a:pt x="230" y="382"/>
                </a:lnTo>
                <a:lnTo>
                  <a:pt x="230" y="382"/>
                </a:lnTo>
                <a:lnTo>
                  <a:pt x="233" y="382"/>
                </a:lnTo>
                <a:lnTo>
                  <a:pt x="233" y="381"/>
                </a:lnTo>
                <a:lnTo>
                  <a:pt x="233" y="354"/>
                </a:lnTo>
                <a:cubicBezTo>
                  <a:pt x="237" y="354"/>
                  <a:pt x="241" y="355"/>
                  <a:pt x="245" y="355"/>
                </a:cubicBezTo>
                <a:close/>
                <a:moveTo>
                  <a:pt x="92" y="25"/>
                </a:moveTo>
                <a:cubicBezTo>
                  <a:pt x="92" y="27"/>
                  <a:pt x="93" y="28"/>
                  <a:pt x="95" y="28"/>
                </a:cubicBezTo>
                <a:lnTo>
                  <a:pt x="158" y="28"/>
                </a:lnTo>
                <a:cubicBezTo>
                  <a:pt x="160" y="28"/>
                  <a:pt x="161" y="27"/>
                  <a:pt x="161" y="25"/>
                </a:cubicBezTo>
                <a:cubicBezTo>
                  <a:pt x="161" y="23"/>
                  <a:pt x="160" y="21"/>
                  <a:pt x="158" y="21"/>
                </a:cubicBezTo>
                <a:lnTo>
                  <a:pt x="95" y="21"/>
                </a:lnTo>
                <a:cubicBezTo>
                  <a:pt x="93" y="21"/>
                  <a:pt x="92" y="23"/>
                  <a:pt x="92" y="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</p:spTree>
    <p:custDataLst>
      <p:tags r:id="rId3"/>
    </p:custData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公司架构</a:t>
            </a:r>
            <a:endParaRPr lang="zh-CN" altLang="en-US" dirty="0"/>
          </a:p>
        </p:txBody>
      </p:sp>
      <p:grpSp>
        <p:nvGrpSpPr>
          <p:cNvPr id="3" name="393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-89870" y="1434285"/>
            <a:ext cx="11669253" cy="4668045"/>
            <a:chOff x="673099" y="1469230"/>
            <a:chExt cx="10845801" cy="4338640"/>
          </a:xfrm>
        </p:grpSpPr>
        <p:sp>
          <p:nvSpPr>
            <p:cNvPr id="4" name="îslïḍe"/>
            <p:cNvSpPr/>
            <p:nvPr/>
          </p:nvSpPr>
          <p:spPr>
            <a:xfrm>
              <a:off x="4835523" y="3898900"/>
              <a:ext cx="2139564" cy="19089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69" h="21466" extrusionOk="0">
                  <a:moveTo>
                    <a:pt x="9685" y="2749"/>
                  </a:moveTo>
                  <a:cubicBezTo>
                    <a:pt x="10641" y="3320"/>
                    <a:pt x="11182" y="2928"/>
                    <a:pt x="13126" y="1821"/>
                  </a:cubicBezTo>
                  <a:cubicBezTo>
                    <a:pt x="15037" y="678"/>
                    <a:pt x="15865" y="2285"/>
                    <a:pt x="15865" y="2285"/>
                  </a:cubicBezTo>
                  <a:cubicBezTo>
                    <a:pt x="14336" y="5462"/>
                    <a:pt x="14336" y="5462"/>
                    <a:pt x="14336" y="5462"/>
                  </a:cubicBezTo>
                  <a:cubicBezTo>
                    <a:pt x="21122" y="12996"/>
                    <a:pt x="21122" y="12996"/>
                    <a:pt x="21122" y="12996"/>
                  </a:cubicBezTo>
                  <a:cubicBezTo>
                    <a:pt x="21568" y="13531"/>
                    <a:pt x="21600" y="14388"/>
                    <a:pt x="21122" y="14924"/>
                  </a:cubicBezTo>
                  <a:cubicBezTo>
                    <a:pt x="20644" y="15459"/>
                    <a:pt x="19880" y="15459"/>
                    <a:pt x="19402" y="14924"/>
                  </a:cubicBezTo>
                  <a:cubicBezTo>
                    <a:pt x="18414" y="13817"/>
                    <a:pt x="18414" y="13817"/>
                    <a:pt x="18414" y="13817"/>
                  </a:cubicBezTo>
                  <a:cubicBezTo>
                    <a:pt x="18350" y="13781"/>
                    <a:pt x="18287" y="13745"/>
                    <a:pt x="18223" y="13745"/>
                  </a:cubicBezTo>
                  <a:cubicBezTo>
                    <a:pt x="18159" y="13745"/>
                    <a:pt x="18096" y="13781"/>
                    <a:pt x="18032" y="13817"/>
                  </a:cubicBezTo>
                  <a:cubicBezTo>
                    <a:pt x="17936" y="13924"/>
                    <a:pt x="17936" y="14138"/>
                    <a:pt x="18032" y="14245"/>
                  </a:cubicBezTo>
                  <a:cubicBezTo>
                    <a:pt x="19529" y="15923"/>
                    <a:pt x="19529" y="15923"/>
                    <a:pt x="19529" y="15923"/>
                  </a:cubicBezTo>
                  <a:cubicBezTo>
                    <a:pt x="20007" y="16459"/>
                    <a:pt x="20007" y="17316"/>
                    <a:pt x="19561" y="17851"/>
                  </a:cubicBezTo>
                  <a:cubicBezTo>
                    <a:pt x="19561" y="17851"/>
                    <a:pt x="19561" y="17851"/>
                    <a:pt x="19561" y="17851"/>
                  </a:cubicBezTo>
                  <a:cubicBezTo>
                    <a:pt x="19083" y="18387"/>
                    <a:pt x="18319" y="18387"/>
                    <a:pt x="17841" y="17851"/>
                  </a:cubicBezTo>
                  <a:cubicBezTo>
                    <a:pt x="16280" y="16102"/>
                    <a:pt x="16280" y="16102"/>
                    <a:pt x="16280" y="16102"/>
                  </a:cubicBezTo>
                  <a:cubicBezTo>
                    <a:pt x="16248" y="16066"/>
                    <a:pt x="16152" y="16030"/>
                    <a:pt x="16088" y="16030"/>
                  </a:cubicBezTo>
                  <a:cubicBezTo>
                    <a:pt x="16025" y="16030"/>
                    <a:pt x="15961" y="16066"/>
                    <a:pt x="15897" y="16102"/>
                  </a:cubicBezTo>
                  <a:cubicBezTo>
                    <a:pt x="15802" y="16245"/>
                    <a:pt x="15802" y="16423"/>
                    <a:pt x="15897" y="16530"/>
                  </a:cubicBezTo>
                  <a:cubicBezTo>
                    <a:pt x="17076" y="17816"/>
                    <a:pt x="17076" y="17816"/>
                    <a:pt x="17076" y="17816"/>
                  </a:cubicBezTo>
                  <a:cubicBezTo>
                    <a:pt x="17299" y="18065"/>
                    <a:pt x="17427" y="18422"/>
                    <a:pt x="17427" y="18780"/>
                  </a:cubicBezTo>
                  <a:cubicBezTo>
                    <a:pt x="17427" y="19137"/>
                    <a:pt x="17299" y="19494"/>
                    <a:pt x="17076" y="19743"/>
                  </a:cubicBezTo>
                  <a:cubicBezTo>
                    <a:pt x="16598" y="20279"/>
                    <a:pt x="15834" y="20279"/>
                    <a:pt x="15356" y="19743"/>
                  </a:cubicBezTo>
                  <a:cubicBezTo>
                    <a:pt x="13731" y="17923"/>
                    <a:pt x="13731" y="17923"/>
                    <a:pt x="13731" y="17923"/>
                  </a:cubicBezTo>
                  <a:cubicBezTo>
                    <a:pt x="13635" y="17816"/>
                    <a:pt x="13444" y="17816"/>
                    <a:pt x="13349" y="17923"/>
                  </a:cubicBezTo>
                  <a:cubicBezTo>
                    <a:pt x="13349" y="17923"/>
                    <a:pt x="13349" y="17923"/>
                    <a:pt x="13349" y="17923"/>
                  </a:cubicBezTo>
                  <a:cubicBezTo>
                    <a:pt x="13317" y="17994"/>
                    <a:pt x="13285" y="18065"/>
                    <a:pt x="13285" y="18137"/>
                  </a:cubicBezTo>
                  <a:cubicBezTo>
                    <a:pt x="13285" y="18244"/>
                    <a:pt x="13317" y="18315"/>
                    <a:pt x="13349" y="18351"/>
                  </a:cubicBezTo>
                  <a:cubicBezTo>
                    <a:pt x="14081" y="19137"/>
                    <a:pt x="14081" y="19137"/>
                    <a:pt x="14081" y="19137"/>
                  </a:cubicBezTo>
                  <a:cubicBezTo>
                    <a:pt x="14527" y="19672"/>
                    <a:pt x="14559" y="20529"/>
                    <a:pt x="14081" y="21064"/>
                  </a:cubicBezTo>
                  <a:cubicBezTo>
                    <a:pt x="13604" y="21600"/>
                    <a:pt x="12839" y="21600"/>
                    <a:pt x="12361" y="21064"/>
                  </a:cubicBezTo>
                  <a:cubicBezTo>
                    <a:pt x="6595" y="14638"/>
                    <a:pt x="6595" y="14638"/>
                    <a:pt x="6595" y="14638"/>
                  </a:cubicBezTo>
                  <a:cubicBezTo>
                    <a:pt x="5894" y="13888"/>
                    <a:pt x="5320" y="12996"/>
                    <a:pt x="4874" y="12032"/>
                  </a:cubicBezTo>
                  <a:cubicBezTo>
                    <a:pt x="4396" y="11032"/>
                    <a:pt x="3791" y="10104"/>
                    <a:pt x="3058" y="9318"/>
                  </a:cubicBezTo>
                  <a:cubicBezTo>
                    <a:pt x="0" y="5891"/>
                    <a:pt x="0" y="5891"/>
                    <a:pt x="0" y="5891"/>
                  </a:cubicBezTo>
                  <a:cubicBezTo>
                    <a:pt x="5225" y="0"/>
                    <a:pt x="5225" y="0"/>
                    <a:pt x="5225" y="0"/>
                  </a:cubicBezTo>
                  <a:lnTo>
                    <a:pt x="9685" y="274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5" name="îşḻídé"/>
            <p:cNvSpPr/>
            <p:nvPr/>
          </p:nvSpPr>
          <p:spPr>
            <a:xfrm>
              <a:off x="3926680" y="2378073"/>
              <a:ext cx="1908970" cy="21407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66" h="21481" extrusionOk="0">
                  <a:moveTo>
                    <a:pt x="18717" y="9685"/>
                  </a:moveTo>
                  <a:cubicBezTo>
                    <a:pt x="18146" y="10641"/>
                    <a:pt x="18538" y="11182"/>
                    <a:pt x="19645" y="13126"/>
                  </a:cubicBezTo>
                  <a:cubicBezTo>
                    <a:pt x="20788" y="15037"/>
                    <a:pt x="19181" y="15865"/>
                    <a:pt x="19181" y="15865"/>
                  </a:cubicBezTo>
                  <a:cubicBezTo>
                    <a:pt x="16004" y="14336"/>
                    <a:pt x="16004" y="14336"/>
                    <a:pt x="16004" y="14336"/>
                  </a:cubicBezTo>
                  <a:cubicBezTo>
                    <a:pt x="8470" y="21122"/>
                    <a:pt x="8470" y="21122"/>
                    <a:pt x="8470" y="21122"/>
                  </a:cubicBezTo>
                  <a:cubicBezTo>
                    <a:pt x="7935" y="21600"/>
                    <a:pt x="7078" y="21600"/>
                    <a:pt x="6542" y="21122"/>
                  </a:cubicBezTo>
                  <a:cubicBezTo>
                    <a:pt x="6007" y="20644"/>
                    <a:pt x="6007" y="19880"/>
                    <a:pt x="6542" y="19402"/>
                  </a:cubicBezTo>
                  <a:cubicBezTo>
                    <a:pt x="7649" y="18414"/>
                    <a:pt x="7649" y="18414"/>
                    <a:pt x="7649" y="18414"/>
                  </a:cubicBezTo>
                  <a:cubicBezTo>
                    <a:pt x="7721" y="18350"/>
                    <a:pt x="7721" y="18287"/>
                    <a:pt x="7721" y="18223"/>
                  </a:cubicBezTo>
                  <a:cubicBezTo>
                    <a:pt x="7721" y="18159"/>
                    <a:pt x="7721" y="18096"/>
                    <a:pt x="7649" y="18032"/>
                  </a:cubicBezTo>
                  <a:cubicBezTo>
                    <a:pt x="7542" y="17936"/>
                    <a:pt x="7328" y="17936"/>
                    <a:pt x="7221" y="18032"/>
                  </a:cubicBezTo>
                  <a:cubicBezTo>
                    <a:pt x="5543" y="19561"/>
                    <a:pt x="5543" y="19561"/>
                    <a:pt x="5543" y="19561"/>
                  </a:cubicBezTo>
                  <a:cubicBezTo>
                    <a:pt x="5007" y="20007"/>
                    <a:pt x="4150" y="20007"/>
                    <a:pt x="3615" y="19561"/>
                  </a:cubicBezTo>
                  <a:cubicBezTo>
                    <a:pt x="3615" y="19561"/>
                    <a:pt x="3615" y="19561"/>
                    <a:pt x="3615" y="19561"/>
                  </a:cubicBezTo>
                  <a:cubicBezTo>
                    <a:pt x="3115" y="19083"/>
                    <a:pt x="3079" y="18319"/>
                    <a:pt x="3615" y="17841"/>
                  </a:cubicBezTo>
                  <a:cubicBezTo>
                    <a:pt x="5364" y="16280"/>
                    <a:pt x="5364" y="16280"/>
                    <a:pt x="5364" y="16280"/>
                  </a:cubicBezTo>
                  <a:cubicBezTo>
                    <a:pt x="5400" y="16248"/>
                    <a:pt x="5436" y="16184"/>
                    <a:pt x="5436" y="16088"/>
                  </a:cubicBezTo>
                  <a:cubicBezTo>
                    <a:pt x="5436" y="16025"/>
                    <a:pt x="5400" y="15961"/>
                    <a:pt x="5364" y="15897"/>
                  </a:cubicBezTo>
                  <a:cubicBezTo>
                    <a:pt x="5221" y="15802"/>
                    <a:pt x="5043" y="15802"/>
                    <a:pt x="4936" y="15897"/>
                  </a:cubicBezTo>
                  <a:cubicBezTo>
                    <a:pt x="3650" y="17076"/>
                    <a:pt x="3650" y="17076"/>
                    <a:pt x="3650" y="17076"/>
                  </a:cubicBezTo>
                  <a:cubicBezTo>
                    <a:pt x="3401" y="17299"/>
                    <a:pt x="3044" y="17427"/>
                    <a:pt x="2686" y="17427"/>
                  </a:cubicBezTo>
                  <a:cubicBezTo>
                    <a:pt x="2329" y="17427"/>
                    <a:pt x="1972" y="17299"/>
                    <a:pt x="1723" y="17076"/>
                  </a:cubicBezTo>
                  <a:cubicBezTo>
                    <a:pt x="1187" y="16598"/>
                    <a:pt x="1187" y="15834"/>
                    <a:pt x="1723" y="15356"/>
                  </a:cubicBezTo>
                  <a:cubicBezTo>
                    <a:pt x="3543" y="13731"/>
                    <a:pt x="3543" y="13731"/>
                    <a:pt x="3543" y="13731"/>
                  </a:cubicBezTo>
                  <a:cubicBezTo>
                    <a:pt x="3650" y="13635"/>
                    <a:pt x="3650" y="13476"/>
                    <a:pt x="3543" y="13349"/>
                  </a:cubicBezTo>
                  <a:cubicBezTo>
                    <a:pt x="3543" y="13349"/>
                    <a:pt x="3543" y="13349"/>
                    <a:pt x="3543" y="13349"/>
                  </a:cubicBezTo>
                  <a:cubicBezTo>
                    <a:pt x="3472" y="13317"/>
                    <a:pt x="3401" y="13285"/>
                    <a:pt x="3329" y="13285"/>
                  </a:cubicBezTo>
                  <a:cubicBezTo>
                    <a:pt x="3258" y="13285"/>
                    <a:pt x="3151" y="13317"/>
                    <a:pt x="3115" y="13349"/>
                  </a:cubicBezTo>
                  <a:cubicBezTo>
                    <a:pt x="2329" y="14081"/>
                    <a:pt x="2329" y="14081"/>
                    <a:pt x="2329" y="14081"/>
                  </a:cubicBezTo>
                  <a:cubicBezTo>
                    <a:pt x="1794" y="14527"/>
                    <a:pt x="937" y="14559"/>
                    <a:pt x="402" y="14081"/>
                  </a:cubicBezTo>
                  <a:cubicBezTo>
                    <a:pt x="-134" y="13604"/>
                    <a:pt x="-134" y="12839"/>
                    <a:pt x="402" y="12361"/>
                  </a:cubicBezTo>
                  <a:cubicBezTo>
                    <a:pt x="6828" y="6595"/>
                    <a:pt x="6828" y="6595"/>
                    <a:pt x="6828" y="6595"/>
                  </a:cubicBezTo>
                  <a:cubicBezTo>
                    <a:pt x="7613" y="5894"/>
                    <a:pt x="8470" y="5320"/>
                    <a:pt x="9434" y="4874"/>
                  </a:cubicBezTo>
                  <a:cubicBezTo>
                    <a:pt x="10434" y="4396"/>
                    <a:pt x="11362" y="3791"/>
                    <a:pt x="12183" y="3058"/>
                  </a:cubicBezTo>
                  <a:cubicBezTo>
                    <a:pt x="15575" y="0"/>
                    <a:pt x="15575" y="0"/>
                    <a:pt x="15575" y="0"/>
                  </a:cubicBezTo>
                  <a:cubicBezTo>
                    <a:pt x="21466" y="5225"/>
                    <a:pt x="21466" y="5225"/>
                    <a:pt x="21466" y="5225"/>
                  </a:cubicBezTo>
                  <a:lnTo>
                    <a:pt x="18717" y="9685"/>
                  </a:lnTo>
                  <a:close/>
                </a:path>
              </a:pathLst>
            </a:custGeom>
            <a:solidFill>
              <a:srgbClr val="FFC000"/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6" name="îŝļîḋè"/>
            <p:cNvSpPr/>
            <p:nvPr/>
          </p:nvSpPr>
          <p:spPr>
            <a:xfrm>
              <a:off x="5216909" y="1469230"/>
              <a:ext cx="2139565" cy="19089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69" h="21466" extrusionOk="0">
                  <a:moveTo>
                    <a:pt x="11784" y="18717"/>
                  </a:moveTo>
                  <a:cubicBezTo>
                    <a:pt x="10828" y="18146"/>
                    <a:pt x="10287" y="18538"/>
                    <a:pt x="8343" y="19645"/>
                  </a:cubicBezTo>
                  <a:cubicBezTo>
                    <a:pt x="6432" y="20788"/>
                    <a:pt x="5604" y="19181"/>
                    <a:pt x="5604" y="19181"/>
                  </a:cubicBezTo>
                  <a:cubicBezTo>
                    <a:pt x="7133" y="16004"/>
                    <a:pt x="7133" y="16004"/>
                    <a:pt x="7133" y="16004"/>
                  </a:cubicBezTo>
                  <a:cubicBezTo>
                    <a:pt x="347" y="8470"/>
                    <a:pt x="347" y="8470"/>
                    <a:pt x="347" y="8470"/>
                  </a:cubicBezTo>
                  <a:cubicBezTo>
                    <a:pt x="-99" y="7935"/>
                    <a:pt x="-131" y="7078"/>
                    <a:pt x="347" y="6542"/>
                  </a:cubicBezTo>
                  <a:cubicBezTo>
                    <a:pt x="825" y="6007"/>
                    <a:pt x="1589" y="6007"/>
                    <a:pt x="2067" y="6542"/>
                  </a:cubicBezTo>
                  <a:cubicBezTo>
                    <a:pt x="3055" y="7649"/>
                    <a:pt x="3055" y="7649"/>
                    <a:pt x="3055" y="7649"/>
                  </a:cubicBezTo>
                  <a:cubicBezTo>
                    <a:pt x="3119" y="7721"/>
                    <a:pt x="3182" y="7756"/>
                    <a:pt x="3246" y="7721"/>
                  </a:cubicBezTo>
                  <a:cubicBezTo>
                    <a:pt x="3310" y="7721"/>
                    <a:pt x="3405" y="7721"/>
                    <a:pt x="3437" y="7649"/>
                  </a:cubicBezTo>
                  <a:cubicBezTo>
                    <a:pt x="3533" y="7542"/>
                    <a:pt x="3533" y="7328"/>
                    <a:pt x="3437" y="7221"/>
                  </a:cubicBezTo>
                  <a:cubicBezTo>
                    <a:pt x="1940" y="5543"/>
                    <a:pt x="1940" y="5543"/>
                    <a:pt x="1940" y="5543"/>
                  </a:cubicBezTo>
                  <a:cubicBezTo>
                    <a:pt x="1462" y="5007"/>
                    <a:pt x="1462" y="4150"/>
                    <a:pt x="1908" y="3615"/>
                  </a:cubicBezTo>
                  <a:cubicBezTo>
                    <a:pt x="1908" y="3615"/>
                    <a:pt x="1908" y="3615"/>
                    <a:pt x="1908" y="3615"/>
                  </a:cubicBezTo>
                  <a:cubicBezTo>
                    <a:pt x="2386" y="3115"/>
                    <a:pt x="3150" y="3079"/>
                    <a:pt x="3628" y="3615"/>
                  </a:cubicBezTo>
                  <a:cubicBezTo>
                    <a:pt x="5189" y="5364"/>
                    <a:pt x="5189" y="5364"/>
                    <a:pt x="5189" y="5364"/>
                  </a:cubicBezTo>
                  <a:cubicBezTo>
                    <a:pt x="5221" y="5400"/>
                    <a:pt x="5317" y="5436"/>
                    <a:pt x="5381" y="5436"/>
                  </a:cubicBezTo>
                  <a:cubicBezTo>
                    <a:pt x="5444" y="5436"/>
                    <a:pt x="5508" y="5400"/>
                    <a:pt x="5572" y="5364"/>
                  </a:cubicBezTo>
                  <a:cubicBezTo>
                    <a:pt x="5667" y="5221"/>
                    <a:pt x="5667" y="5043"/>
                    <a:pt x="5572" y="4936"/>
                  </a:cubicBezTo>
                  <a:cubicBezTo>
                    <a:pt x="4393" y="3650"/>
                    <a:pt x="4393" y="3650"/>
                    <a:pt x="4393" y="3650"/>
                  </a:cubicBezTo>
                  <a:cubicBezTo>
                    <a:pt x="4170" y="3401"/>
                    <a:pt x="4042" y="3044"/>
                    <a:pt x="4042" y="2686"/>
                  </a:cubicBezTo>
                  <a:cubicBezTo>
                    <a:pt x="4042" y="2329"/>
                    <a:pt x="4170" y="1972"/>
                    <a:pt x="4393" y="1723"/>
                  </a:cubicBezTo>
                  <a:cubicBezTo>
                    <a:pt x="4871" y="1187"/>
                    <a:pt x="5635" y="1187"/>
                    <a:pt x="6113" y="1723"/>
                  </a:cubicBezTo>
                  <a:cubicBezTo>
                    <a:pt x="7738" y="3543"/>
                    <a:pt x="7738" y="3543"/>
                    <a:pt x="7738" y="3543"/>
                  </a:cubicBezTo>
                  <a:cubicBezTo>
                    <a:pt x="7834" y="3650"/>
                    <a:pt x="8025" y="3650"/>
                    <a:pt x="8120" y="3543"/>
                  </a:cubicBezTo>
                  <a:cubicBezTo>
                    <a:pt x="8120" y="3543"/>
                    <a:pt x="8120" y="3543"/>
                    <a:pt x="8120" y="3543"/>
                  </a:cubicBezTo>
                  <a:cubicBezTo>
                    <a:pt x="8152" y="3472"/>
                    <a:pt x="8184" y="3401"/>
                    <a:pt x="8184" y="3329"/>
                  </a:cubicBezTo>
                  <a:cubicBezTo>
                    <a:pt x="8184" y="3258"/>
                    <a:pt x="8152" y="3186"/>
                    <a:pt x="8120" y="3115"/>
                  </a:cubicBezTo>
                  <a:cubicBezTo>
                    <a:pt x="7388" y="2329"/>
                    <a:pt x="7388" y="2329"/>
                    <a:pt x="7388" y="2329"/>
                  </a:cubicBezTo>
                  <a:cubicBezTo>
                    <a:pt x="6942" y="1794"/>
                    <a:pt x="6942" y="937"/>
                    <a:pt x="7388" y="402"/>
                  </a:cubicBezTo>
                  <a:cubicBezTo>
                    <a:pt x="7865" y="-134"/>
                    <a:pt x="8630" y="-134"/>
                    <a:pt x="9108" y="402"/>
                  </a:cubicBezTo>
                  <a:cubicBezTo>
                    <a:pt x="14874" y="6828"/>
                    <a:pt x="14874" y="6828"/>
                    <a:pt x="14874" y="6828"/>
                  </a:cubicBezTo>
                  <a:cubicBezTo>
                    <a:pt x="15575" y="7613"/>
                    <a:pt x="16149" y="8470"/>
                    <a:pt x="16595" y="9434"/>
                  </a:cubicBezTo>
                  <a:cubicBezTo>
                    <a:pt x="17073" y="10434"/>
                    <a:pt x="17678" y="11362"/>
                    <a:pt x="18411" y="12183"/>
                  </a:cubicBezTo>
                  <a:cubicBezTo>
                    <a:pt x="21469" y="15575"/>
                    <a:pt x="21469" y="15575"/>
                    <a:pt x="21469" y="15575"/>
                  </a:cubicBezTo>
                  <a:cubicBezTo>
                    <a:pt x="16244" y="21466"/>
                    <a:pt x="16244" y="21466"/>
                    <a:pt x="16244" y="21466"/>
                  </a:cubicBezTo>
                  <a:lnTo>
                    <a:pt x="11784" y="18717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7" name="íśľïḍè"/>
            <p:cNvSpPr/>
            <p:nvPr/>
          </p:nvSpPr>
          <p:spPr>
            <a:xfrm>
              <a:off x="6356350" y="2760662"/>
              <a:ext cx="1908970" cy="21383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66" h="21488" extrusionOk="0">
                  <a:moveTo>
                    <a:pt x="2749" y="11789"/>
                  </a:moveTo>
                  <a:cubicBezTo>
                    <a:pt x="3320" y="10832"/>
                    <a:pt x="2928" y="10289"/>
                    <a:pt x="1821" y="8343"/>
                  </a:cubicBezTo>
                  <a:cubicBezTo>
                    <a:pt x="678" y="6429"/>
                    <a:pt x="2285" y="5599"/>
                    <a:pt x="2285" y="5599"/>
                  </a:cubicBezTo>
                  <a:cubicBezTo>
                    <a:pt x="5462" y="7131"/>
                    <a:pt x="5462" y="7131"/>
                    <a:pt x="5462" y="7131"/>
                  </a:cubicBezTo>
                  <a:cubicBezTo>
                    <a:pt x="12996" y="335"/>
                    <a:pt x="12996" y="335"/>
                    <a:pt x="12996" y="335"/>
                  </a:cubicBezTo>
                  <a:cubicBezTo>
                    <a:pt x="13531" y="-112"/>
                    <a:pt x="14388" y="-112"/>
                    <a:pt x="14924" y="335"/>
                  </a:cubicBezTo>
                  <a:cubicBezTo>
                    <a:pt x="15459" y="813"/>
                    <a:pt x="15459" y="1579"/>
                    <a:pt x="14924" y="2058"/>
                  </a:cubicBezTo>
                  <a:cubicBezTo>
                    <a:pt x="13817" y="3047"/>
                    <a:pt x="13817" y="3047"/>
                    <a:pt x="13817" y="3047"/>
                  </a:cubicBezTo>
                  <a:cubicBezTo>
                    <a:pt x="13745" y="3110"/>
                    <a:pt x="13745" y="3174"/>
                    <a:pt x="13745" y="3238"/>
                  </a:cubicBezTo>
                  <a:cubicBezTo>
                    <a:pt x="13745" y="3302"/>
                    <a:pt x="13745" y="3398"/>
                    <a:pt x="13817" y="3430"/>
                  </a:cubicBezTo>
                  <a:cubicBezTo>
                    <a:pt x="13924" y="3525"/>
                    <a:pt x="14138" y="3525"/>
                    <a:pt x="14245" y="3430"/>
                  </a:cubicBezTo>
                  <a:cubicBezTo>
                    <a:pt x="15923" y="1930"/>
                    <a:pt x="15923" y="1930"/>
                    <a:pt x="15923" y="1930"/>
                  </a:cubicBezTo>
                  <a:cubicBezTo>
                    <a:pt x="16459" y="1451"/>
                    <a:pt x="17316" y="1451"/>
                    <a:pt x="17851" y="1898"/>
                  </a:cubicBezTo>
                  <a:cubicBezTo>
                    <a:pt x="17851" y="1898"/>
                    <a:pt x="17851" y="1898"/>
                    <a:pt x="17851" y="1898"/>
                  </a:cubicBezTo>
                  <a:cubicBezTo>
                    <a:pt x="18387" y="2377"/>
                    <a:pt x="18387" y="3142"/>
                    <a:pt x="17851" y="3621"/>
                  </a:cubicBezTo>
                  <a:cubicBezTo>
                    <a:pt x="16102" y="5184"/>
                    <a:pt x="16102" y="5184"/>
                    <a:pt x="16102" y="5184"/>
                  </a:cubicBezTo>
                  <a:cubicBezTo>
                    <a:pt x="16066" y="5248"/>
                    <a:pt x="16030" y="5312"/>
                    <a:pt x="16030" y="5376"/>
                  </a:cubicBezTo>
                  <a:cubicBezTo>
                    <a:pt x="16030" y="5440"/>
                    <a:pt x="16066" y="5503"/>
                    <a:pt x="16102" y="5567"/>
                  </a:cubicBezTo>
                  <a:cubicBezTo>
                    <a:pt x="16245" y="5663"/>
                    <a:pt x="16423" y="5663"/>
                    <a:pt x="16530" y="5567"/>
                  </a:cubicBezTo>
                  <a:cubicBezTo>
                    <a:pt x="17816" y="4387"/>
                    <a:pt x="17816" y="4387"/>
                    <a:pt x="17816" y="4387"/>
                  </a:cubicBezTo>
                  <a:cubicBezTo>
                    <a:pt x="18065" y="4163"/>
                    <a:pt x="18422" y="4036"/>
                    <a:pt x="18780" y="4036"/>
                  </a:cubicBezTo>
                  <a:cubicBezTo>
                    <a:pt x="19137" y="4036"/>
                    <a:pt x="19494" y="4163"/>
                    <a:pt x="19743" y="4387"/>
                  </a:cubicBezTo>
                  <a:cubicBezTo>
                    <a:pt x="20279" y="4865"/>
                    <a:pt x="20279" y="5631"/>
                    <a:pt x="19743" y="6110"/>
                  </a:cubicBezTo>
                  <a:cubicBezTo>
                    <a:pt x="17923" y="7737"/>
                    <a:pt x="17923" y="7737"/>
                    <a:pt x="17923" y="7737"/>
                  </a:cubicBezTo>
                  <a:cubicBezTo>
                    <a:pt x="17816" y="7832"/>
                    <a:pt x="17816" y="8024"/>
                    <a:pt x="17923" y="8120"/>
                  </a:cubicBezTo>
                  <a:cubicBezTo>
                    <a:pt x="17923" y="8120"/>
                    <a:pt x="17923" y="8120"/>
                    <a:pt x="17923" y="8120"/>
                  </a:cubicBezTo>
                  <a:cubicBezTo>
                    <a:pt x="17994" y="8152"/>
                    <a:pt x="18065" y="8183"/>
                    <a:pt x="18137" y="8183"/>
                  </a:cubicBezTo>
                  <a:cubicBezTo>
                    <a:pt x="18208" y="8183"/>
                    <a:pt x="18315" y="8152"/>
                    <a:pt x="18351" y="8120"/>
                  </a:cubicBezTo>
                  <a:cubicBezTo>
                    <a:pt x="19137" y="7418"/>
                    <a:pt x="19137" y="7418"/>
                    <a:pt x="19137" y="7418"/>
                  </a:cubicBezTo>
                  <a:cubicBezTo>
                    <a:pt x="19672" y="6939"/>
                    <a:pt x="20529" y="6939"/>
                    <a:pt x="21064" y="7386"/>
                  </a:cubicBezTo>
                  <a:cubicBezTo>
                    <a:pt x="21600" y="7864"/>
                    <a:pt x="21600" y="8630"/>
                    <a:pt x="21064" y="9109"/>
                  </a:cubicBezTo>
                  <a:cubicBezTo>
                    <a:pt x="14638" y="14884"/>
                    <a:pt x="14638" y="14884"/>
                    <a:pt x="14638" y="14884"/>
                  </a:cubicBezTo>
                  <a:cubicBezTo>
                    <a:pt x="13888" y="15585"/>
                    <a:pt x="12996" y="16160"/>
                    <a:pt x="12032" y="16606"/>
                  </a:cubicBezTo>
                  <a:cubicBezTo>
                    <a:pt x="11032" y="17085"/>
                    <a:pt x="10104" y="17691"/>
                    <a:pt x="9318" y="18425"/>
                  </a:cubicBezTo>
                  <a:cubicBezTo>
                    <a:pt x="5891" y="21488"/>
                    <a:pt x="5891" y="21488"/>
                    <a:pt x="5891" y="21488"/>
                  </a:cubicBezTo>
                  <a:cubicBezTo>
                    <a:pt x="0" y="16256"/>
                    <a:pt x="0" y="16256"/>
                    <a:pt x="0" y="16256"/>
                  </a:cubicBezTo>
                  <a:lnTo>
                    <a:pt x="2749" y="11789"/>
                  </a:lnTo>
                  <a:close/>
                </a:path>
              </a:pathLst>
            </a:custGeom>
            <a:solidFill>
              <a:srgbClr val="9E0000"/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grpSp>
          <p:nvGrpSpPr>
            <p:cNvPr id="8" name="ïŝľîdé"/>
            <p:cNvGrpSpPr/>
            <p:nvPr/>
          </p:nvGrpSpPr>
          <p:grpSpPr>
            <a:xfrm>
              <a:off x="6537332" y="1912269"/>
              <a:ext cx="588048" cy="588044"/>
              <a:chOff x="6716059" y="2391379"/>
              <a:chExt cx="588048" cy="588044"/>
            </a:xfrm>
          </p:grpSpPr>
          <p:sp>
            <p:nvSpPr>
              <p:cNvPr id="26" name="iŝḻîḓè"/>
              <p:cNvSpPr/>
              <p:nvPr/>
            </p:nvSpPr>
            <p:spPr>
              <a:xfrm>
                <a:off x="6716059" y="2391379"/>
                <a:ext cx="588048" cy="588044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9pPr>
              </a:lstStyle>
              <a:p>
                <a:pPr algn="ctr"/>
                <a:endParaRPr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îṡḻîďe" title="ry6MHxwOH8WsTKLSa514qPVJnvhhWFnRDjZGIbRZNsFBp"/>
              <p:cNvSpPr/>
              <p:nvPr/>
            </p:nvSpPr>
            <p:spPr bwMode="auto">
              <a:xfrm>
                <a:off x="6853168" y="2571890"/>
                <a:ext cx="313822" cy="227016"/>
              </a:xfrm>
              <a:custGeom>
                <a:avLst/>
                <a:gdLst>
                  <a:gd name="connsiteX0" fmla="*/ 0 w 608697"/>
                  <a:gd name="connsiteY0" fmla="*/ 384511 h 440328"/>
                  <a:gd name="connsiteX1" fmla="*/ 273317 w 608697"/>
                  <a:gd name="connsiteY1" fmla="*/ 384511 h 440328"/>
                  <a:gd name="connsiteX2" fmla="*/ 273317 w 608697"/>
                  <a:gd name="connsiteY2" fmla="*/ 415512 h 440328"/>
                  <a:gd name="connsiteX3" fmla="*/ 335380 w 608697"/>
                  <a:gd name="connsiteY3" fmla="*/ 415512 h 440328"/>
                  <a:gd name="connsiteX4" fmla="*/ 335380 w 608697"/>
                  <a:gd name="connsiteY4" fmla="*/ 384511 h 440328"/>
                  <a:gd name="connsiteX5" fmla="*/ 608697 w 608697"/>
                  <a:gd name="connsiteY5" fmla="*/ 384511 h 440328"/>
                  <a:gd name="connsiteX6" fmla="*/ 608697 w 608697"/>
                  <a:gd name="connsiteY6" fmla="*/ 415512 h 440328"/>
                  <a:gd name="connsiteX7" fmla="*/ 583857 w 608697"/>
                  <a:gd name="connsiteY7" fmla="*/ 440328 h 440328"/>
                  <a:gd name="connsiteX8" fmla="*/ 24840 w 608697"/>
                  <a:gd name="connsiteY8" fmla="*/ 440328 h 440328"/>
                  <a:gd name="connsiteX9" fmla="*/ 0 w 608697"/>
                  <a:gd name="connsiteY9" fmla="*/ 415512 h 440328"/>
                  <a:gd name="connsiteX10" fmla="*/ 216210 w 608697"/>
                  <a:gd name="connsiteY10" fmla="*/ 86798 h 440328"/>
                  <a:gd name="connsiteX11" fmla="*/ 269323 w 608697"/>
                  <a:gd name="connsiteY11" fmla="*/ 179836 h 440328"/>
                  <a:gd name="connsiteX12" fmla="*/ 236052 w 608697"/>
                  <a:gd name="connsiteY12" fmla="*/ 179836 h 440328"/>
                  <a:gd name="connsiteX13" fmla="*/ 236052 w 608697"/>
                  <a:gd name="connsiteY13" fmla="*/ 210824 h 440328"/>
                  <a:gd name="connsiteX14" fmla="*/ 285734 w 608697"/>
                  <a:gd name="connsiteY14" fmla="*/ 210824 h 440328"/>
                  <a:gd name="connsiteX15" fmla="*/ 285734 w 608697"/>
                  <a:gd name="connsiteY15" fmla="*/ 235629 h 440328"/>
                  <a:gd name="connsiteX16" fmla="*/ 236052 w 608697"/>
                  <a:gd name="connsiteY16" fmla="*/ 235629 h 440328"/>
                  <a:gd name="connsiteX17" fmla="*/ 236052 w 608697"/>
                  <a:gd name="connsiteY17" fmla="*/ 260434 h 440328"/>
                  <a:gd name="connsiteX18" fmla="*/ 285734 w 608697"/>
                  <a:gd name="connsiteY18" fmla="*/ 260434 h 440328"/>
                  <a:gd name="connsiteX19" fmla="*/ 285734 w 608697"/>
                  <a:gd name="connsiteY19" fmla="*/ 285239 h 440328"/>
                  <a:gd name="connsiteX20" fmla="*/ 323033 w 608697"/>
                  <a:gd name="connsiteY20" fmla="*/ 285239 h 440328"/>
                  <a:gd name="connsiteX21" fmla="*/ 323033 w 608697"/>
                  <a:gd name="connsiteY21" fmla="*/ 260434 h 440328"/>
                  <a:gd name="connsiteX22" fmla="*/ 372715 w 608697"/>
                  <a:gd name="connsiteY22" fmla="*/ 260434 h 440328"/>
                  <a:gd name="connsiteX23" fmla="*/ 372715 w 608697"/>
                  <a:gd name="connsiteY23" fmla="*/ 235629 h 440328"/>
                  <a:gd name="connsiteX24" fmla="*/ 323033 w 608697"/>
                  <a:gd name="connsiteY24" fmla="*/ 235629 h 440328"/>
                  <a:gd name="connsiteX25" fmla="*/ 323033 w 608697"/>
                  <a:gd name="connsiteY25" fmla="*/ 210824 h 440328"/>
                  <a:gd name="connsiteX26" fmla="*/ 372715 w 608697"/>
                  <a:gd name="connsiteY26" fmla="*/ 210824 h 440328"/>
                  <a:gd name="connsiteX27" fmla="*/ 372715 w 608697"/>
                  <a:gd name="connsiteY27" fmla="*/ 179836 h 440328"/>
                  <a:gd name="connsiteX28" fmla="*/ 339444 w 608697"/>
                  <a:gd name="connsiteY28" fmla="*/ 179836 h 440328"/>
                  <a:gd name="connsiteX29" fmla="*/ 392558 w 608697"/>
                  <a:gd name="connsiteY29" fmla="*/ 86798 h 440328"/>
                  <a:gd name="connsiteX30" fmla="*/ 348993 w 608697"/>
                  <a:gd name="connsiteY30" fmla="*/ 86798 h 440328"/>
                  <a:gd name="connsiteX31" fmla="*/ 304831 w 608697"/>
                  <a:gd name="connsiteY31" fmla="*/ 167396 h 440328"/>
                  <a:gd name="connsiteX32" fmla="*/ 303936 w 608697"/>
                  <a:gd name="connsiteY32" fmla="*/ 167396 h 440328"/>
                  <a:gd name="connsiteX33" fmla="*/ 259849 w 608697"/>
                  <a:gd name="connsiteY33" fmla="*/ 86798 h 440328"/>
                  <a:gd name="connsiteX34" fmla="*/ 87007 w 608697"/>
                  <a:gd name="connsiteY34" fmla="*/ 37188 h 440328"/>
                  <a:gd name="connsiteX35" fmla="*/ 521760 w 608697"/>
                  <a:gd name="connsiteY35" fmla="*/ 37188 h 440328"/>
                  <a:gd name="connsiteX36" fmla="*/ 521760 w 608697"/>
                  <a:gd name="connsiteY36" fmla="*/ 322484 h 440328"/>
                  <a:gd name="connsiteX37" fmla="*/ 87007 w 608697"/>
                  <a:gd name="connsiteY37" fmla="*/ 322484 h 440328"/>
                  <a:gd name="connsiteX38" fmla="*/ 74518 w 608697"/>
                  <a:gd name="connsiteY38" fmla="*/ 24802 h 440328"/>
                  <a:gd name="connsiteX39" fmla="*/ 74518 w 608697"/>
                  <a:gd name="connsiteY39" fmla="*/ 334870 h 440328"/>
                  <a:gd name="connsiteX40" fmla="*/ 534179 w 608697"/>
                  <a:gd name="connsiteY40" fmla="*/ 334870 h 440328"/>
                  <a:gd name="connsiteX41" fmla="*/ 534179 w 608697"/>
                  <a:gd name="connsiteY41" fmla="*/ 24802 h 440328"/>
                  <a:gd name="connsiteX42" fmla="*/ 74518 w 608697"/>
                  <a:gd name="connsiteY42" fmla="*/ 0 h 440328"/>
                  <a:gd name="connsiteX43" fmla="*/ 534179 w 608697"/>
                  <a:gd name="connsiteY43" fmla="*/ 0 h 440328"/>
                  <a:gd name="connsiteX44" fmla="*/ 559019 w 608697"/>
                  <a:gd name="connsiteY44" fmla="*/ 24802 h 440328"/>
                  <a:gd name="connsiteX45" fmla="*/ 559019 w 608697"/>
                  <a:gd name="connsiteY45" fmla="*/ 359672 h 440328"/>
                  <a:gd name="connsiteX46" fmla="*/ 49678 w 608697"/>
                  <a:gd name="connsiteY46" fmla="*/ 359672 h 440328"/>
                  <a:gd name="connsiteX47" fmla="*/ 49678 w 608697"/>
                  <a:gd name="connsiteY47" fmla="*/ 24802 h 440328"/>
                  <a:gd name="connsiteX48" fmla="*/ 74518 w 608697"/>
                  <a:gd name="connsiteY48" fmla="*/ 0 h 440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608697" h="440328">
                    <a:moveTo>
                      <a:pt x="0" y="384511"/>
                    </a:moveTo>
                    <a:lnTo>
                      <a:pt x="273317" y="384511"/>
                    </a:lnTo>
                    <a:lnTo>
                      <a:pt x="273317" y="415512"/>
                    </a:lnTo>
                    <a:lnTo>
                      <a:pt x="335380" y="415512"/>
                    </a:lnTo>
                    <a:lnTo>
                      <a:pt x="335380" y="384511"/>
                    </a:lnTo>
                    <a:lnTo>
                      <a:pt x="608697" y="384511"/>
                    </a:lnTo>
                    <a:lnTo>
                      <a:pt x="608697" y="415512"/>
                    </a:lnTo>
                    <a:cubicBezTo>
                      <a:pt x="608697" y="429150"/>
                      <a:pt x="597508" y="440328"/>
                      <a:pt x="583857" y="440328"/>
                    </a:cubicBezTo>
                    <a:lnTo>
                      <a:pt x="24840" y="440328"/>
                    </a:lnTo>
                    <a:cubicBezTo>
                      <a:pt x="11189" y="440328"/>
                      <a:pt x="0" y="429150"/>
                      <a:pt x="0" y="415512"/>
                    </a:cubicBezTo>
                    <a:close/>
                    <a:moveTo>
                      <a:pt x="216210" y="86798"/>
                    </a:moveTo>
                    <a:lnTo>
                      <a:pt x="269323" y="179836"/>
                    </a:lnTo>
                    <a:lnTo>
                      <a:pt x="236052" y="179836"/>
                    </a:lnTo>
                    <a:lnTo>
                      <a:pt x="236052" y="210824"/>
                    </a:lnTo>
                    <a:lnTo>
                      <a:pt x="285734" y="210824"/>
                    </a:lnTo>
                    <a:lnTo>
                      <a:pt x="285734" y="235629"/>
                    </a:lnTo>
                    <a:lnTo>
                      <a:pt x="236052" y="235629"/>
                    </a:lnTo>
                    <a:lnTo>
                      <a:pt x="236052" y="260434"/>
                    </a:lnTo>
                    <a:lnTo>
                      <a:pt x="285734" y="260434"/>
                    </a:lnTo>
                    <a:lnTo>
                      <a:pt x="285734" y="285239"/>
                    </a:lnTo>
                    <a:lnTo>
                      <a:pt x="323033" y="285239"/>
                    </a:lnTo>
                    <a:lnTo>
                      <a:pt x="323033" y="260434"/>
                    </a:lnTo>
                    <a:lnTo>
                      <a:pt x="372715" y="260434"/>
                    </a:lnTo>
                    <a:lnTo>
                      <a:pt x="372715" y="235629"/>
                    </a:lnTo>
                    <a:lnTo>
                      <a:pt x="323033" y="235629"/>
                    </a:lnTo>
                    <a:lnTo>
                      <a:pt x="323033" y="210824"/>
                    </a:lnTo>
                    <a:lnTo>
                      <a:pt x="372715" y="210824"/>
                    </a:lnTo>
                    <a:lnTo>
                      <a:pt x="372715" y="179836"/>
                    </a:lnTo>
                    <a:lnTo>
                      <a:pt x="339444" y="179836"/>
                    </a:lnTo>
                    <a:lnTo>
                      <a:pt x="392558" y="86798"/>
                    </a:lnTo>
                    <a:lnTo>
                      <a:pt x="348993" y="86798"/>
                    </a:lnTo>
                    <a:lnTo>
                      <a:pt x="304831" y="167396"/>
                    </a:lnTo>
                    <a:lnTo>
                      <a:pt x="303936" y="167396"/>
                    </a:lnTo>
                    <a:lnTo>
                      <a:pt x="259849" y="86798"/>
                    </a:lnTo>
                    <a:close/>
                    <a:moveTo>
                      <a:pt x="87007" y="37188"/>
                    </a:moveTo>
                    <a:lnTo>
                      <a:pt x="521760" y="37188"/>
                    </a:lnTo>
                    <a:lnTo>
                      <a:pt x="521760" y="322484"/>
                    </a:lnTo>
                    <a:lnTo>
                      <a:pt x="87007" y="322484"/>
                    </a:lnTo>
                    <a:close/>
                    <a:moveTo>
                      <a:pt x="74518" y="24802"/>
                    </a:moveTo>
                    <a:lnTo>
                      <a:pt x="74518" y="334870"/>
                    </a:lnTo>
                    <a:lnTo>
                      <a:pt x="534179" y="334870"/>
                    </a:lnTo>
                    <a:lnTo>
                      <a:pt x="534179" y="24802"/>
                    </a:lnTo>
                    <a:close/>
                    <a:moveTo>
                      <a:pt x="74518" y="0"/>
                    </a:moveTo>
                    <a:lnTo>
                      <a:pt x="534179" y="0"/>
                    </a:lnTo>
                    <a:cubicBezTo>
                      <a:pt x="547830" y="0"/>
                      <a:pt x="559019" y="11172"/>
                      <a:pt x="559019" y="24802"/>
                    </a:cubicBezTo>
                    <a:lnTo>
                      <a:pt x="559019" y="359672"/>
                    </a:lnTo>
                    <a:lnTo>
                      <a:pt x="49678" y="359672"/>
                    </a:lnTo>
                    <a:lnTo>
                      <a:pt x="49678" y="24802"/>
                    </a:lnTo>
                    <a:cubicBezTo>
                      <a:pt x="49678" y="11172"/>
                      <a:pt x="60867" y="0"/>
                      <a:pt x="7451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 sz="1600" dirty="0"/>
              </a:p>
            </p:txBody>
          </p:sp>
        </p:grpSp>
        <p:grpSp>
          <p:nvGrpSpPr>
            <p:cNvPr id="9" name="i$ḻiḍê"/>
            <p:cNvGrpSpPr/>
            <p:nvPr/>
          </p:nvGrpSpPr>
          <p:grpSpPr>
            <a:xfrm>
              <a:off x="7334639" y="3994961"/>
              <a:ext cx="588048" cy="588044"/>
              <a:chOff x="6716059" y="2391379"/>
              <a:chExt cx="588048" cy="588044"/>
            </a:xfrm>
          </p:grpSpPr>
          <p:sp>
            <p:nvSpPr>
              <p:cNvPr id="24" name="ïşḻíḍe"/>
              <p:cNvSpPr/>
              <p:nvPr/>
            </p:nvSpPr>
            <p:spPr>
              <a:xfrm>
                <a:off x="6716059" y="2391379"/>
                <a:ext cx="588048" cy="588044"/>
              </a:xfrm>
              <a:prstGeom prst="ellipse">
                <a:avLst/>
              </a:prstGeom>
              <a:solidFill>
                <a:srgbClr val="9E000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9pPr>
              </a:lstStyle>
              <a:p>
                <a:pPr algn="ctr"/>
                <a:endParaRPr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ïṧļíḓè" title="ry6MHxwOH8WsTKLSa514qPVJnvhhWFnRDjZGIbRZNsFBp"/>
              <p:cNvSpPr/>
              <p:nvPr/>
            </p:nvSpPr>
            <p:spPr bwMode="auto">
              <a:xfrm>
                <a:off x="6853168" y="2571890"/>
                <a:ext cx="313822" cy="227016"/>
              </a:xfrm>
              <a:custGeom>
                <a:avLst/>
                <a:gdLst>
                  <a:gd name="connsiteX0" fmla="*/ 0 w 608697"/>
                  <a:gd name="connsiteY0" fmla="*/ 384511 h 440328"/>
                  <a:gd name="connsiteX1" fmla="*/ 273317 w 608697"/>
                  <a:gd name="connsiteY1" fmla="*/ 384511 h 440328"/>
                  <a:gd name="connsiteX2" fmla="*/ 273317 w 608697"/>
                  <a:gd name="connsiteY2" fmla="*/ 415512 h 440328"/>
                  <a:gd name="connsiteX3" fmla="*/ 335380 w 608697"/>
                  <a:gd name="connsiteY3" fmla="*/ 415512 h 440328"/>
                  <a:gd name="connsiteX4" fmla="*/ 335380 w 608697"/>
                  <a:gd name="connsiteY4" fmla="*/ 384511 h 440328"/>
                  <a:gd name="connsiteX5" fmla="*/ 608697 w 608697"/>
                  <a:gd name="connsiteY5" fmla="*/ 384511 h 440328"/>
                  <a:gd name="connsiteX6" fmla="*/ 608697 w 608697"/>
                  <a:gd name="connsiteY6" fmla="*/ 415512 h 440328"/>
                  <a:gd name="connsiteX7" fmla="*/ 583857 w 608697"/>
                  <a:gd name="connsiteY7" fmla="*/ 440328 h 440328"/>
                  <a:gd name="connsiteX8" fmla="*/ 24840 w 608697"/>
                  <a:gd name="connsiteY8" fmla="*/ 440328 h 440328"/>
                  <a:gd name="connsiteX9" fmla="*/ 0 w 608697"/>
                  <a:gd name="connsiteY9" fmla="*/ 415512 h 440328"/>
                  <a:gd name="connsiteX10" fmla="*/ 216210 w 608697"/>
                  <a:gd name="connsiteY10" fmla="*/ 86798 h 440328"/>
                  <a:gd name="connsiteX11" fmla="*/ 269323 w 608697"/>
                  <a:gd name="connsiteY11" fmla="*/ 179836 h 440328"/>
                  <a:gd name="connsiteX12" fmla="*/ 236052 w 608697"/>
                  <a:gd name="connsiteY12" fmla="*/ 179836 h 440328"/>
                  <a:gd name="connsiteX13" fmla="*/ 236052 w 608697"/>
                  <a:gd name="connsiteY13" fmla="*/ 210824 h 440328"/>
                  <a:gd name="connsiteX14" fmla="*/ 285734 w 608697"/>
                  <a:gd name="connsiteY14" fmla="*/ 210824 h 440328"/>
                  <a:gd name="connsiteX15" fmla="*/ 285734 w 608697"/>
                  <a:gd name="connsiteY15" fmla="*/ 235629 h 440328"/>
                  <a:gd name="connsiteX16" fmla="*/ 236052 w 608697"/>
                  <a:gd name="connsiteY16" fmla="*/ 235629 h 440328"/>
                  <a:gd name="connsiteX17" fmla="*/ 236052 w 608697"/>
                  <a:gd name="connsiteY17" fmla="*/ 260434 h 440328"/>
                  <a:gd name="connsiteX18" fmla="*/ 285734 w 608697"/>
                  <a:gd name="connsiteY18" fmla="*/ 260434 h 440328"/>
                  <a:gd name="connsiteX19" fmla="*/ 285734 w 608697"/>
                  <a:gd name="connsiteY19" fmla="*/ 285239 h 440328"/>
                  <a:gd name="connsiteX20" fmla="*/ 323033 w 608697"/>
                  <a:gd name="connsiteY20" fmla="*/ 285239 h 440328"/>
                  <a:gd name="connsiteX21" fmla="*/ 323033 w 608697"/>
                  <a:gd name="connsiteY21" fmla="*/ 260434 h 440328"/>
                  <a:gd name="connsiteX22" fmla="*/ 372715 w 608697"/>
                  <a:gd name="connsiteY22" fmla="*/ 260434 h 440328"/>
                  <a:gd name="connsiteX23" fmla="*/ 372715 w 608697"/>
                  <a:gd name="connsiteY23" fmla="*/ 235629 h 440328"/>
                  <a:gd name="connsiteX24" fmla="*/ 323033 w 608697"/>
                  <a:gd name="connsiteY24" fmla="*/ 235629 h 440328"/>
                  <a:gd name="connsiteX25" fmla="*/ 323033 w 608697"/>
                  <a:gd name="connsiteY25" fmla="*/ 210824 h 440328"/>
                  <a:gd name="connsiteX26" fmla="*/ 372715 w 608697"/>
                  <a:gd name="connsiteY26" fmla="*/ 210824 h 440328"/>
                  <a:gd name="connsiteX27" fmla="*/ 372715 w 608697"/>
                  <a:gd name="connsiteY27" fmla="*/ 179836 h 440328"/>
                  <a:gd name="connsiteX28" fmla="*/ 339444 w 608697"/>
                  <a:gd name="connsiteY28" fmla="*/ 179836 h 440328"/>
                  <a:gd name="connsiteX29" fmla="*/ 392558 w 608697"/>
                  <a:gd name="connsiteY29" fmla="*/ 86798 h 440328"/>
                  <a:gd name="connsiteX30" fmla="*/ 348993 w 608697"/>
                  <a:gd name="connsiteY30" fmla="*/ 86798 h 440328"/>
                  <a:gd name="connsiteX31" fmla="*/ 304831 w 608697"/>
                  <a:gd name="connsiteY31" fmla="*/ 167396 h 440328"/>
                  <a:gd name="connsiteX32" fmla="*/ 303936 w 608697"/>
                  <a:gd name="connsiteY32" fmla="*/ 167396 h 440328"/>
                  <a:gd name="connsiteX33" fmla="*/ 259849 w 608697"/>
                  <a:gd name="connsiteY33" fmla="*/ 86798 h 440328"/>
                  <a:gd name="connsiteX34" fmla="*/ 87007 w 608697"/>
                  <a:gd name="connsiteY34" fmla="*/ 37188 h 440328"/>
                  <a:gd name="connsiteX35" fmla="*/ 521760 w 608697"/>
                  <a:gd name="connsiteY35" fmla="*/ 37188 h 440328"/>
                  <a:gd name="connsiteX36" fmla="*/ 521760 w 608697"/>
                  <a:gd name="connsiteY36" fmla="*/ 322484 h 440328"/>
                  <a:gd name="connsiteX37" fmla="*/ 87007 w 608697"/>
                  <a:gd name="connsiteY37" fmla="*/ 322484 h 440328"/>
                  <a:gd name="connsiteX38" fmla="*/ 74518 w 608697"/>
                  <a:gd name="connsiteY38" fmla="*/ 24802 h 440328"/>
                  <a:gd name="connsiteX39" fmla="*/ 74518 w 608697"/>
                  <a:gd name="connsiteY39" fmla="*/ 334870 h 440328"/>
                  <a:gd name="connsiteX40" fmla="*/ 534179 w 608697"/>
                  <a:gd name="connsiteY40" fmla="*/ 334870 h 440328"/>
                  <a:gd name="connsiteX41" fmla="*/ 534179 w 608697"/>
                  <a:gd name="connsiteY41" fmla="*/ 24802 h 440328"/>
                  <a:gd name="connsiteX42" fmla="*/ 74518 w 608697"/>
                  <a:gd name="connsiteY42" fmla="*/ 0 h 440328"/>
                  <a:gd name="connsiteX43" fmla="*/ 534179 w 608697"/>
                  <a:gd name="connsiteY43" fmla="*/ 0 h 440328"/>
                  <a:gd name="connsiteX44" fmla="*/ 559019 w 608697"/>
                  <a:gd name="connsiteY44" fmla="*/ 24802 h 440328"/>
                  <a:gd name="connsiteX45" fmla="*/ 559019 w 608697"/>
                  <a:gd name="connsiteY45" fmla="*/ 359672 h 440328"/>
                  <a:gd name="connsiteX46" fmla="*/ 49678 w 608697"/>
                  <a:gd name="connsiteY46" fmla="*/ 359672 h 440328"/>
                  <a:gd name="connsiteX47" fmla="*/ 49678 w 608697"/>
                  <a:gd name="connsiteY47" fmla="*/ 24802 h 440328"/>
                  <a:gd name="connsiteX48" fmla="*/ 74518 w 608697"/>
                  <a:gd name="connsiteY48" fmla="*/ 0 h 440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608697" h="440328">
                    <a:moveTo>
                      <a:pt x="0" y="384511"/>
                    </a:moveTo>
                    <a:lnTo>
                      <a:pt x="273317" y="384511"/>
                    </a:lnTo>
                    <a:lnTo>
                      <a:pt x="273317" y="415512"/>
                    </a:lnTo>
                    <a:lnTo>
                      <a:pt x="335380" y="415512"/>
                    </a:lnTo>
                    <a:lnTo>
                      <a:pt x="335380" y="384511"/>
                    </a:lnTo>
                    <a:lnTo>
                      <a:pt x="608697" y="384511"/>
                    </a:lnTo>
                    <a:lnTo>
                      <a:pt x="608697" y="415512"/>
                    </a:lnTo>
                    <a:cubicBezTo>
                      <a:pt x="608697" y="429150"/>
                      <a:pt x="597508" y="440328"/>
                      <a:pt x="583857" y="440328"/>
                    </a:cubicBezTo>
                    <a:lnTo>
                      <a:pt x="24840" y="440328"/>
                    </a:lnTo>
                    <a:cubicBezTo>
                      <a:pt x="11189" y="440328"/>
                      <a:pt x="0" y="429150"/>
                      <a:pt x="0" y="415512"/>
                    </a:cubicBezTo>
                    <a:close/>
                    <a:moveTo>
                      <a:pt x="216210" y="86798"/>
                    </a:moveTo>
                    <a:lnTo>
                      <a:pt x="269323" y="179836"/>
                    </a:lnTo>
                    <a:lnTo>
                      <a:pt x="236052" y="179836"/>
                    </a:lnTo>
                    <a:lnTo>
                      <a:pt x="236052" y="210824"/>
                    </a:lnTo>
                    <a:lnTo>
                      <a:pt x="285734" y="210824"/>
                    </a:lnTo>
                    <a:lnTo>
                      <a:pt x="285734" y="235629"/>
                    </a:lnTo>
                    <a:lnTo>
                      <a:pt x="236052" y="235629"/>
                    </a:lnTo>
                    <a:lnTo>
                      <a:pt x="236052" y="260434"/>
                    </a:lnTo>
                    <a:lnTo>
                      <a:pt x="285734" y="260434"/>
                    </a:lnTo>
                    <a:lnTo>
                      <a:pt x="285734" y="285239"/>
                    </a:lnTo>
                    <a:lnTo>
                      <a:pt x="323033" y="285239"/>
                    </a:lnTo>
                    <a:lnTo>
                      <a:pt x="323033" y="260434"/>
                    </a:lnTo>
                    <a:lnTo>
                      <a:pt x="372715" y="260434"/>
                    </a:lnTo>
                    <a:lnTo>
                      <a:pt x="372715" y="235629"/>
                    </a:lnTo>
                    <a:lnTo>
                      <a:pt x="323033" y="235629"/>
                    </a:lnTo>
                    <a:lnTo>
                      <a:pt x="323033" y="210824"/>
                    </a:lnTo>
                    <a:lnTo>
                      <a:pt x="372715" y="210824"/>
                    </a:lnTo>
                    <a:lnTo>
                      <a:pt x="372715" y="179836"/>
                    </a:lnTo>
                    <a:lnTo>
                      <a:pt x="339444" y="179836"/>
                    </a:lnTo>
                    <a:lnTo>
                      <a:pt x="392558" y="86798"/>
                    </a:lnTo>
                    <a:lnTo>
                      <a:pt x="348993" y="86798"/>
                    </a:lnTo>
                    <a:lnTo>
                      <a:pt x="304831" y="167396"/>
                    </a:lnTo>
                    <a:lnTo>
                      <a:pt x="303936" y="167396"/>
                    </a:lnTo>
                    <a:lnTo>
                      <a:pt x="259849" y="86798"/>
                    </a:lnTo>
                    <a:close/>
                    <a:moveTo>
                      <a:pt x="87007" y="37188"/>
                    </a:moveTo>
                    <a:lnTo>
                      <a:pt x="521760" y="37188"/>
                    </a:lnTo>
                    <a:lnTo>
                      <a:pt x="521760" y="322484"/>
                    </a:lnTo>
                    <a:lnTo>
                      <a:pt x="87007" y="322484"/>
                    </a:lnTo>
                    <a:close/>
                    <a:moveTo>
                      <a:pt x="74518" y="24802"/>
                    </a:moveTo>
                    <a:lnTo>
                      <a:pt x="74518" y="334870"/>
                    </a:lnTo>
                    <a:lnTo>
                      <a:pt x="534179" y="334870"/>
                    </a:lnTo>
                    <a:lnTo>
                      <a:pt x="534179" y="24802"/>
                    </a:lnTo>
                    <a:close/>
                    <a:moveTo>
                      <a:pt x="74518" y="0"/>
                    </a:moveTo>
                    <a:lnTo>
                      <a:pt x="534179" y="0"/>
                    </a:lnTo>
                    <a:cubicBezTo>
                      <a:pt x="547830" y="0"/>
                      <a:pt x="559019" y="11172"/>
                      <a:pt x="559019" y="24802"/>
                    </a:cubicBezTo>
                    <a:lnTo>
                      <a:pt x="559019" y="359672"/>
                    </a:lnTo>
                    <a:lnTo>
                      <a:pt x="49678" y="359672"/>
                    </a:lnTo>
                    <a:lnTo>
                      <a:pt x="49678" y="24802"/>
                    </a:lnTo>
                    <a:cubicBezTo>
                      <a:pt x="49678" y="11172"/>
                      <a:pt x="60867" y="0"/>
                      <a:pt x="7451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 sz="1600" dirty="0"/>
              </a:p>
            </p:txBody>
          </p:sp>
        </p:grpSp>
        <p:grpSp>
          <p:nvGrpSpPr>
            <p:cNvPr id="10" name="îS1ïḓè"/>
            <p:cNvGrpSpPr/>
            <p:nvPr/>
          </p:nvGrpSpPr>
          <p:grpSpPr>
            <a:xfrm>
              <a:off x="5007889" y="4800726"/>
              <a:ext cx="588048" cy="588044"/>
              <a:chOff x="6716059" y="2391379"/>
              <a:chExt cx="588048" cy="588044"/>
            </a:xfrm>
          </p:grpSpPr>
          <p:sp>
            <p:nvSpPr>
              <p:cNvPr id="22" name="ïSľîḑê"/>
              <p:cNvSpPr/>
              <p:nvPr/>
            </p:nvSpPr>
            <p:spPr>
              <a:xfrm>
                <a:off x="6716059" y="2391379"/>
                <a:ext cx="588048" cy="588044"/>
              </a:xfrm>
              <a:prstGeom prst="ellipse">
                <a:avLst/>
              </a:prstGeom>
              <a:solidFill>
                <a:schemeClr val="accent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9pPr>
              </a:lstStyle>
              <a:p>
                <a:pPr algn="ctr"/>
                <a:endParaRPr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íŝḷïḓê" title="ry6MHxwOH8WsTKLSa514qPVJnvhhWFnRDjZGIbRZNsFBp"/>
              <p:cNvSpPr/>
              <p:nvPr/>
            </p:nvSpPr>
            <p:spPr bwMode="auto">
              <a:xfrm>
                <a:off x="6853168" y="2571890"/>
                <a:ext cx="313822" cy="227016"/>
              </a:xfrm>
              <a:custGeom>
                <a:avLst/>
                <a:gdLst>
                  <a:gd name="connsiteX0" fmla="*/ 0 w 608697"/>
                  <a:gd name="connsiteY0" fmla="*/ 384511 h 440328"/>
                  <a:gd name="connsiteX1" fmla="*/ 273317 w 608697"/>
                  <a:gd name="connsiteY1" fmla="*/ 384511 h 440328"/>
                  <a:gd name="connsiteX2" fmla="*/ 273317 w 608697"/>
                  <a:gd name="connsiteY2" fmla="*/ 415512 h 440328"/>
                  <a:gd name="connsiteX3" fmla="*/ 335380 w 608697"/>
                  <a:gd name="connsiteY3" fmla="*/ 415512 h 440328"/>
                  <a:gd name="connsiteX4" fmla="*/ 335380 w 608697"/>
                  <a:gd name="connsiteY4" fmla="*/ 384511 h 440328"/>
                  <a:gd name="connsiteX5" fmla="*/ 608697 w 608697"/>
                  <a:gd name="connsiteY5" fmla="*/ 384511 h 440328"/>
                  <a:gd name="connsiteX6" fmla="*/ 608697 w 608697"/>
                  <a:gd name="connsiteY6" fmla="*/ 415512 h 440328"/>
                  <a:gd name="connsiteX7" fmla="*/ 583857 w 608697"/>
                  <a:gd name="connsiteY7" fmla="*/ 440328 h 440328"/>
                  <a:gd name="connsiteX8" fmla="*/ 24840 w 608697"/>
                  <a:gd name="connsiteY8" fmla="*/ 440328 h 440328"/>
                  <a:gd name="connsiteX9" fmla="*/ 0 w 608697"/>
                  <a:gd name="connsiteY9" fmla="*/ 415512 h 440328"/>
                  <a:gd name="connsiteX10" fmla="*/ 216210 w 608697"/>
                  <a:gd name="connsiteY10" fmla="*/ 86798 h 440328"/>
                  <a:gd name="connsiteX11" fmla="*/ 269323 w 608697"/>
                  <a:gd name="connsiteY11" fmla="*/ 179836 h 440328"/>
                  <a:gd name="connsiteX12" fmla="*/ 236052 w 608697"/>
                  <a:gd name="connsiteY12" fmla="*/ 179836 h 440328"/>
                  <a:gd name="connsiteX13" fmla="*/ 236052 w 608697"/>
                  <a:gd name="connsiteY13" fmla="*/ 210824 h 440328"/>
                  <a:gd name="connsiteX14" fmla="*/ 285734 w 608697"/>
                  <a:gd name="connsiteY14" fmla="*/ 210824 h 440328"/>
                  <a:gd name="connsiteX15" fmla="*/ 285734 w 608697"/>
                  <a:gd name="connsiteY15" fmla="*/ 235629 h 440328"/>
                  <a:gd name="connsiteX16" fmla="*/ 236052 w 608697"/>
                  <a:gd name="connsiteY16" fmla="*/ 235629 h 440328"/>
                  <a:gd name="connsiteX17" fmla="*/ 236052 w 608697"/>
                  <a:gd name="connsiteY17" fmla="*/ 260434 h 440328"/>
                  <a:gd name="connsiteX18" fmla="*/ 285734 w 608697"/>
                  <a:gd name="connsiteY18" fmla="*/ 260434 h 440328"/>
                  <a:gd name="connsiteX19" fmla="*/ 285734 w 608697"/>
                  <a:gd name="connsiteY19" fmla="*/ 285239 h 440328"/>
                  <a:gd name="connsiteX20" fmla="*/ 323033 w 608697"/>
                  <a:gd name="connsiteY20" fmla="*/ 285239 h 440328"/>
                  <a:gd name="connsiteX21" fmla="*/ 323033 w 608697"/>
                  <a:gd name="connsiteY21" fmla="*/ 260434 h 440328"/>
                  <a:gd name="connsiteX22" fmla="*/ 372715 w 608697"/>
                  <a:gd name="connsiteY22" fmla="*/ 260434 h 440328"/>
                  <a:gd name="connsiteX23" fmla="*/ 372715 w 608697"/>
                  <a:gd name="connsiteY23" fmla="*/ 235629 h 440328"/>
                  <a:gd name="connsiteX24" fmla="*/ 323033 w 608697"/>
                  <a:gd name="connsiteY24" fmla="*/ 235629 h 440328"/>
                  <a:gd name="connsiteX25" fmla="*/ 323033 w 608697"/>
                  <a:gd name="connsiteY25" fmla="*/ 210824 h 440328"/>
                  <a:gd name="connsiteX26" fmla="*/ 372715 w 608697"/>
                  <a:gd name="connsiteY26" fmla="*/ 210824 h 440328"/>
                  <a:gd name="connsiteX27" fmla="*/ 372715 w 608697"/>
                  <a:gd name="connsiteY27" fmla="*/ 179836 h 440328"/>
                  <a:gd name="connsiteX28" fmla="*/ 339444 w 608697"/>
                  <a:gd name="connsiteY28" fmla="*/ 179836 h 440328"/>
                  <a:gd name="connsiteX29" fmla="*/ 392558 w 608697"/>
                  <a:gd name="connsiteY29" fmla="*/ 86798 h 440328"/>
                  <a:gd name="connsiteX30" fmla="*/ 348993 w 608697"/>
                  <a:gd name="connsiteY30" fmla="*/ 86798 h 440328"/>
                  <a:gd name="connsiteX31" fmla="*/ 304831 w 608697"/>
                  <a:gd name="connsiteY31" fmla="*/ 167396 h 440328"/>
                  <a:gd name="connsiteX32" fmla="*/ 303936 w 608697"/>
                  <a:gd name="connsiteY32" fmla="*/ 167396 h 440328"/>
                  <a:gd name="connsiteX33" fmla="*/ 259849 w 608697"/>
                  <a:gd name="connsiteY33" fmla="*/ 86798 h 440328"/>
                  <a:gd name="connsiteX34" fmla="*/ 87007 w 608697"/>
                  <a:gd name="connsiteY34" fmla="*/ 37188 h 440328"/>
                  <a:gd name="connsiteX35" fmla="*/ 521760 w 608697"/>
                  <a:gd name="connsiteY35" fmla="*/ 37188 h 440328"/>
                  <a:gd name="connsiteX36" fmla="*/ 521760 w 608697"/>
                  <a:gd name="connsiteY36" fmla="*/ 322484 h 440328"/>
                  <a:gd name="connsiteX37" fmla="*/ 87007 w 608697"/>
                  <a:gd name="connsiteY37" fmla="*/ 322484 h 440328"/>
                  <a:gd name="connsiteX38" fmla="*/ 74518 w 608697"/>
                  <a:gd name="connsiteY38" fmla="*/ 24802 h 440328"/>
                  <a:gd name="connsiteX39" fmla="*/ 74518 w 608697"/>
                  <a:gd name="connsiteY39" fmla="*/ 334870 h 440328"/>
                  <a:gd name="connsiteX40" fmla="*/ 534179 w 608697"/>
                  <a:gd name="connsiteY40" fmla="*/ 334870 h 440328"/>
                  <a:gd name="connsiteX41" fmla="*/ 534179 w 608697"/>
                  <a:gd name="connsiteY41" fmla="*/ 24802 h 440328"/>
                  <a:gd name="connsiteX42" fmla="*/ 74518 w 608697"/>
                  <a:gd name="connsiteY42" fmla="*/ 0 h 440328"/>
                  <a:gd name="connsiteX43" fmla="*/ 534179 w 608697"/>
                  <a:gd name="connsiteY43" fmla="*/ 0 h 440328"/>
                  <a:gd name="connsiteX44" fmla="*/ 559019 w 608697"/>
                  <a:gd name="connsiteY44" fmla="*/ 24802 h 440328"/>
                  <a:gd name="connsiteX45" fmla="*/ 559019 w 608697"/>
                  <a:gd name="connsiteY45" fmla="*/ 359672 h 440328"/>
                  <a:gd name="connsiteX46" fmla="*/ 49678 w 608697"/>
                  <a:gd name="connsiteY46" fmla="*/ 359672 h 440328"/>
                  <a:gd name="connsiteX47" fmla="*/ 49678 w 608697"/>
                  <a:gd name="connsiteY47" fmla="*/ 24802 h 440328"/>
                  <a:gd name="connsiteX48" fmla="*/ 74518 w 608697"/>
                  <a:gd name="connsiteY48" fmla="*/ 0 h 440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608697" h="440328">
                    <a:moveTo>
                      <a:pt x="0" y="384511"/>
                    </a:moveTo>
                    <a:lnTo>
                      <a:pt x="273317" y="384511"/>
                    </a:lnTo>
                    <a:lnTo>
                      <a:pt x="273317" y="415512"/>
                    </a:lnTo>
                    <a:lnTo>
                      <a:pt x="335380" y="415512"/>
                    </a:lnTo>
                    <a:lnTo>
                      <a:pt x="335380" y="384511"/>
                    </a:lnTo>
                    <a:lnTo>
                      <a:pt x="608697" y="384511"/>
                    </a:lnTo>
                    <a:lnTo>
                      <a:pt x="608697" y="415512"/>
                    </a:lnTo>
                    <a:cubicBezTo>
                      <a:pt x="608697" y="429150"/>
                      <a:pt x="597508" y="440328"/>
                      <a:pt x="583857" y="440328"/>
                    </a:cubicBezTo>
                    <a:lnTo>
                      <a:pt x="24840" y="440328"/>
                    </a:lnTo>
                    <a:cubicBezTo>
                      <a:pt x="11189" y="440328"/>
                      <a:pt x="0" y="429150"/>
                      <a:pt x="0" y="415512"/>
                    </a:cubicBezTo>
                    <a:close/>
                    <a:moveTo>
                      <a:pt x="216210" y="86798"/>
                    </a:moveTo>
                    <a:lnTo>
                      <a:pt x="269323" y="179836"/>
                    </a:lnTo>
                    <a:lnTo>
                      <a:pt x="236052" y="179836"/>
                    </a:lnTo>
                    <a:lnTo>
                      <a:pt x="236052" y="210824"/>
                    </a:lnTo>
                    <a:lnTo>
                      <a:pt x="285734" y="210824"/>
                    </a:lnTo>
                    <a:lnTo>
                      <a:pt x="285734" y="235629"/>
                    </a:lnTo>
                    <a:lnTo>
                      <a:pt x="236052" y="235629"/>
                    </a:lnTo>
                    <a:lnTo>
                      <a:pt x="236052" y="260434"/>
                    </a:lnTo>
                    <a:lnTo>
                      <a:pt x="285734" y="260434"/>
                    </a:lnTo>
                    <a:lnTo>
                      <a:pt x="285734" y="285239"/>
                    </a:lnTo>
                    <a:lnTo>
                      <a:pt x="323033" y="285239"/>
                    </a:lnTo>
                    <a:lnTo>
                      <a:pt x="323033" y="260434"/>
                    </a:lnTo>
                    <a:lnTo>
                      <a:pt x="372715" y="260434"/>
                    </a:lnTo>
                    <a:lnTo>
                      <a:pt x="372715" y="235629"/>
                    </a:lnTo>
                    <a:lnTo>
                      <a:pt x="323033" y="235629"/>
                    </a:lnTo>
                    <a:lnTo>
                      <a:pt x="323033" y="210824"/>
                    </a:lnTo>
                    <a:lnTo>
                      <a:pt x="372715" y="210824"/>
                    </a:lnTo>
                    <a:lnTo>
                      <a:pt x="372715" y="179836"/>
                    </a:lnTo>
                    <a:lnTo>
                      <a:pt x="339444" y="179836"/>
                    </a:lnTo>
                    <a:lnTo>
                      <a:pt x="392558" y="86798"/>
                    </a:lnTo>
                    <a:lnTo>
                      <a:pt x="348993" y="86798"/>
                    </a:lnTo>
                    <a:lnTo>
                      <a:pt x="304831" y="167396"/>
                    </a:lnTo>
                    <a:lnTo>
                      <a:pt x="303936" y="167396"/>
                    </a:lnTo>
                    <a:lnTo>
                      <a:pt x="259849" y="86798"/>
                    </a:lnTo>
                    <a:close/>
                    <a:moveTo>
                      <a:pt x="87007" y="37188"/>
                    </a:moveTo>
                    <a:lnTo>
                      <a:pt x="521760" y="37188"/>
                    </a:lnTo>
                    <a:lnTo>
                      <a:pt x="521760" y="322484"/>
                    </a:lnTo>
                    <a:lnTo>
                      <a:pt x="87007" y="322484"/>
                    </a:lnTo>
                    <a:close/>
                    <a:moveTo>
                      <a:pt x="74518" y="24802"/>
                    </a:moveTo>
                    <a:lnTo>
                      <a:pt x="74518" y="334870"/>
                    </a:lnTo>
                    <a:lnTo>
                      <a:pt x="534179" y="334870"/>
                    </a:lnTo>
                    <a:lnTo>
                      <a:pt x="534179" y="24802"/>
                    </a:lnTo>
                    <a:close/>
                    <a:moveTo>
                      <a:pt x="74518" y="0"/>
                    </a:moveTo>
                    <a:lnTo>
                      <a:pt x="534179" y="0"/>
                    </a:lnTo>
                    <a:cubicBezTo>
                      <a:pt x="547830" y="0"/>
                      <a:pt x="559019" y="11172"/>
                      <a:pt x="559019" y="24802"/>
                    </a:cubicBezTo>
                    <a:lnTo>
                      <a:pt x="559019" y="359672"/>
                    </a:lnTo>
                    <a:lnTo>
                      <a:pt x="49678" y="359672"/>
                    </a:lnTo>
                    <a:lnTo>
                      <a:pt x="49678" y="24802"/>
                    </a:lnTo>
                    <a:cubicBezTo>
                      <a:pt x="49678" y="11172"/>
                      <a:pt x="60867" y="0"/>
                      <a:pt x="7451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 sz="1600" dirty="0"/>
              </a:p>
            </p:txBody>
          </p:sp>
        </p:grpSp>
        <p:grpSp>
          <p:nvGrpSpPr>
            <p:cNvPr id="11" name="íṧḷíďè"/>
            <p:cNvGrpSpPr/>
            <p:nvPr/>
          </p:nvGrpSpPr>
          <p:grpSpPr>
            <a:xfrm>
              <a:off x="4277376" y="2665078"/>
              <a:ext cx="588048" cy="588044"/>
              <a:chOff x="6716059" y="2391379"/>
              <a:chExt cx="588048" cy="588044"/>
            </a:xfrm>
          </p:grpSpPr>
          <p:sp>
            <p:nvSpPr>
              <p:cNvPr id="20" name="íš1îḑê"/>
              <p:cNvSpPr/>
              <p:nvPr/>
            </p:nvSpPr>
            <p:spPr>
              <a:xfrm>
                <a:off x="6716059" y="2391379"/>
                <a:ext cx="588048" cy="588044"/>
              </a:xfrm>
              <a:prstGeom prst="ellipse">
                <a:avLst/>
              </a:prstGeom>
              <a:solidFill>
                <a:srgbClr val="FFC00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dk1"/>
                    </a:solidFill>
                  </a:defRPr>
                </a:lvl9pPr>
              </a:lstStyle>
              <a:p>
                <a:pPr algn="ctr"/>
                <a:endParaRPr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ïṧḷîḓè" title="ry6MHxwOH8WsTKLSa514qPVJnvhhWFnRDjZGIbRZNsFBp"/>
              <p:cNvSpPr/>
              <p:nvPr/>
            </p:nvSpPr>
            <p:spPr bwMode="auto">
              <a:xfrm>
                <a:off x="6853168" y="2571890"/>
                <a:ext cx="313822" cy="227016"/>
              </a:xfrm>
              <a:custGeom>
                <a:avLst/>
                <a:gdLst>
                  <a:gd name="connsiteX0" fmla="*/ 0 w 608697"/>
                  <a:gd name="connsiteY0" fmla="*/ 384511 h 440328"/>
                  <a:gd name="connsiteX1" fmla="*/ 273317 w 608697"/>
                  <a:gd name="connsiteY1" fmla="*/ 384511 h 440328"/>
                  <a:gd name="connsiteX2" fmla="*/ 273317 w 608697"/>
                  <a:gd name="connsiteY2" fmla="*/ 415512 h 440328"/>
                  <a:gd name="connsiteX3" fmla="*/ 335380 w 608697"/>
                  <a:gd name="connsiteY3" fmla="*/ 415512 h 440328"/>
                  <a:gd name="connsiteX4" fmla="*/ 335380 w 608697"/>
                  <a:gd name="connsiteY4" fmla="*/ 384511 h 440328"/>
                  <a:gd name="connsiteX5" fmla="*/ 608697 w 608697"/>
                  <a:gd name="connsiteY5" fmla="*/ 384511 h 440328"/>
                  <a:gd name="connsiteX6" fmla="*/ 608697 w 608697"/>
                  <a:gd name="connsiteY6" fmla="*/ 415512 h 440328"/>
                  <a:gd name="connsiteX7" fmla="*/ 583857 w 608697"/>
                  <a:gd name="connsiteY7" fmla="*/ 440328 h 440328"/>
                  <a:gd name="connsiteX8" fmla="*/ 24840 w 608697"/>
                  <a:gd name="connsiteY8" fmla="*/ 440328 h 440328"/>
                  <a:gd name="connsiteX9" fmla="*/ 0 w 608697"/>
                  <a:gd name="connsiteY9" fmla="*/ 415512 h 440328"/>
                  <a:gd name="connsiteX10" fmla="*/ 216210 w 608697"/>
                  <a:gd name="connsiteY10" fmla="*/ 86798 h 440328"/>
                  <a:gd name="connsiteX11" fmla="*/ 269323 w 608697"/>
                  <a:gd name="connsiteY11" fmla="*/ 179836 h 440328"/>
                  <a:gd name="connsiteX12" fmla="*/ 236052 w 608697"/>
                  <a:gd name="connsiteY12" fmla="*/ 179836 h 440328"/>
                  <a:gd name="connsiteX13" fmla="*/ 236052 w 608697"/>
                  <a:gd name="connsiteY13" fmla="*/ 210824 h 440328"/>
                  <a:gd name="connsiteX14" fmla="*/ 285734 w 608697"/>
                  <a:gd name="connsiteY14" fmla="*/ 210824 h 440328"/>
                  <a:gd name="connsiteX15" fmla="*/ 285734 w 608697"/>
                  <a:gd name="connsiteY15" fmla="*/ 235629 h 440328"/>
                  <a:gd name="connsiteX16" fmla="*/ 236052 w 608697"/>
                  <a:gd name="connsiteY16" fmla="*/ 235629 h 440328"/>
                  <a:gd name="connsiteX17" fmla="*/ 236052 w 608697"/>
                  <a:gd name="connsiteY17" fmla="*/ 260434 h 440328"/>
                  <a:gd name="connsiteX18" fmla="*/ 285734 w 608697"/>
                  <a:gd name="connsiteY18" fmla="*/ 260434 h 440328"/>
                  <a:gd name="connsiteX19" fmla="*/ 285734 w 608697"/>
                  <a:gd name="connsiteY19" fmla="*/ 285239 h 440328"/>
                  <a:gd name="connsiteX20" fmla="*/ 323033 w 608697"/>
                  <a:gd name="connsiteY20" fmla="*/ 285239 h 440328"/>
                  <a:gd name="connsiteX21" fmla="*/ 323033 w 608697"/>
                  <a:gd name="connsiteY21" fmla="*/ 260434 h 440328"/>
                  <a:gd name="connsiteX22" fmla="*/ 372715 w 608697"/>
                  <a:gd name="connsiteY22" fmla="*/ 260434 h 440328"/>
                  <a:gd name="connsiteX23" fmla="*/ 372715 w 608697"/>
                  <a:gd name="connsiteY23" fmla="*/ 235629 h 440328"/>
                  <a:gd name="connsiteX24" fmla="*/ 323033 w 608697"/>
                  <a:gd name="connsiteY24" fmla="*/ 235629 h 440328"/>
                  <a:gd name="connsiteX25" fmla="*/ 323033 w 608697"/>
                  <a:gd name="connsiteY25" fmla="*/ 210824 h 440328"/>
                  <a:gd name="connsiteX26" fmla="*/ 372715 w 608697"/>
                  <a:gd name="connsiteY26" fmla="*/ 210824 h 440328"/>
                  <a:gd name="connsiteX27" fmla="*/ 372715 w 608697"/>
                  <a:gd name="connsiteY27" fmla="*/ 179836 h 440328"/>
                  <a:gd name="connsiteX28" fmla="*/ 339444 w 608697"/>
                  <a:gd name="connsiteY28" fmla="*/ 179836 h 440328"/>
                  <a:gd name="connsiteX29" fmla="*/ 392558 w 608697"/>
                  <a:gd name="connsiteY29" fmla="*/ 86798 h 440328"/>
                  <a:gd name="connsiteX30" fmla="*/ 348993 w 608697"/>
                  <a:gd name="connsiteY30" fmla="*/ 86798 h 440328"/>
                  <a:gd name="connsiteX31" fmla="*/ 304831 w 608697"/>
                  <a:gd name="connsiteY31" fmla="*/ 167396 h 440328"/>
                  <a:gd name="connsiteX32" fmla="*/ 303936 w 608697"/>
                  <a:gd name="connsiteY32" fmla="*/ 167396 h 440328"/>
                  <a:gd name="connsiteX33" fmla="*/ 259849 w 608697"/>
                  <a:gd name="connsiteY33" fmla="*/ 86798 h 440328"/>
                  <a:gd name="connsiteX34" fmla="*/ 87007 w 608697"/>
                  <a:gd name="connsiteY34" fmla="*/ 37188 h 440328"/>
                  <a:gd name="connsiteX35" fmla="*/ 521760 w 608697"/>
                  <a:gd name="connsiteY35" fmla="*/ 37188 h 440328"/>
                  <a:gd name="connsiteX36" fmla="*/ 521760 w 608697"/>
                  <a:gd name="connsiteY36" fmla="*/ 322484 h 440328"/>
                  <a:gd name="connsiteX37" fmla="*/ 87007 w 608697"/>
                  <a:gd name="connsiteY37" fmla="*/ 322484 h 440328"/>
                  <a:gd name="connsiteX38" fmla="*/ 74518 w 608697"/>
                  <a:gd name="connsiteY38" fmla="*/ 24802 h 440328"/>
                  <a:gd name="connsiteX39" fmla="*/ 74518 w 608697"/>
                  <a:gd name="connsiteY39" fmla="*/ 334870 h 440328"/>
                  <a:gd name="connsiteX40" fmla="*/ 534179 w 608697"/>
                  <a:gd name="connsiteY40" fmla="*/ 334870 h 440328"/>
                  <a:gd name="connsiteX41" fmla="*/ 534179 w 608697"/>
                  <a:gd name="connsiteY41" fmla="*/ 24802 h 440328"/>
                  <a:gd name="connsiteX42" fmla="*/ 74518 w 608697"/>
                  <a:gd name="connsiteY42" fmla="*/ 0 h 440328"/>
                  <a:gd name="connsiteX43" fmla="*/ 534179 w 608697"/>
                  <a:gd name="connsiteY43" fmla="*/ 0 h 440328"/>
                  <a:gd name="connsiteX44" fmla="*/ 559019 w 608697"/>
                  <a:gd name="connsiteY44" fmla="*/ 24802 h 440328"/>
                  <a:gd name="connsiteX45" fmla="*/ 559019 w 608697"/>
                  <a:gd name="connsiteY45" fmla="*/ 359672 h 440328"/>
                  <a:gd name="connsiteX46" fmla="*/ 49678 w 608697"/>
                  <a:gd name="connsiteY46" fmla="*/ 359672 h 440328"/>
                  <a:gd name="connsiteX47" fmla="*/ 49678 w 608697"/>
                  <a:gd name="connsiteY47" fmla="*/ 24802 h 440328"/>
                  <a:gd name="connsiteX48" fmla="*/ 74518 w 608697"/>
                  <a:gd name="connsiteY48" fmla="*/ 0 h 440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608697" h="440328">
                    <a:moveTo>
                      <a:pt x="0" y="384511"/>
                    </a:moveTo>
                    <a:lnTo>
                      <a:pt x="273317" y="384511"/>
                    </a:lnTo>
                    <a:lnTo>
                      <a:pt x="273317" y="415512"/>
                    </a:lnTo>
                    <a:lnTo>
                      <a:pt x="335380" y="415512"/>
                    </a:lnTo>
                    <a:lnTo>
                      <a:pt x="335380" y="384511"/>
                    </a:lnTo>
                    <a:lnTo>
                      <a:pt x="608697" y="384511"/>
                    </a:lnTo>
                    <a:lnTo>
                      <a:pt x="608697" y="415512"/>
                    </a:lnTo>
                    <a:cubicBezTo>
                      <a:pt x="608697" y="429150"/>
                      <a:pt x="597508" y="440328"/>
                      <a:pt x="583857" y="440328"/>
                    </a:cubicBezTo>
                    <a:lnTo>
                      <a:pt x="24840" y="440328"/>
                    </a:lnTo>
                    <a:cubicBezTo>
                      <a:pt x="11189" y="440328"/>
                      <a:pt x="0" y="429150"/>
                      <a:pt x="0" y="415512"/>
                    </a:cubicBezTo>
                    <a:close/>
                    <a:moveTo>
                      <a:pt x="216210" y="86798"/>
                    </a:moveTo>
                    <a:lnTo>
                      <a:pt x="269323" y="179836"/>
                    </a:lnTo>
                    <a:lnTo>
                      <a:pt x="236052" y="179836"/>
                    </a:lnTo>
                    <a:lnTo>
                      <a:pt x="236052" y="210824"/>
                    </a:lnTo>
                    <a:lnTo>
                      <a:pt x="285734" y="210824"/>
                    </a:lnTo>
                    <a:lnTo>
                      <a:pt x="285734" y="235629"/>
                    </a:lnTo>
                    <a:lnTo>
                      <a:pt x="236052" y="235629"/>
                    </a:lnTo>
                    <a:lnTo>
                      <a:pt x="236052" y="260434"/>
                    </a:lnTo>
                    <a:lnTo>
                      <a:pt x="285734" y="260434"/>
                    </a:lnTo>
                    <a:lnTo>
                      <a:pt x="285734" y="285239"/>
                    </a:lnTo>
                    <a:lnTo>
                      <a:pt x="323033" y="285239"/>
                    </a:lnTo>
                    <a:lnTo>
                      <a:pt x="323033" y="260434"/>
                    </a:lnTo>
                    <a:lnTo>
                      <a:pt x="372715" y="260434"/>
                    </a:lnTo>
                    <a:lnTo>
                      <a:pt x="372715" y="235629"/>
                    </a:lnTo>
                    <a:lnTo>
                      <a:pt x="323033" y="235629"/>
                    </a:lnTo>
                    <a:lnTo>
                      <a:pt x="323033" y="210824"/>
                    </a:lnTo>
                    <a:lnTo>
                      <a:pt x="372715" y="210824"/>
                    </a:lnTo>
                    <a:lnTo>
                      <a:pt x="372715" y="179836"/>
                    </a:lnTo>
                    <a:lnTo>
                      <a:pt x="339444" y="179836"/>
                    </a:lnTo>
                    <a:lnTo>
                      <a:pt x="392558" y="86798"/>
                    </a:lnTo>
                    <a:lnTo>
                      <a:pt x="348993" y="86798"/>
                    </a:lnTo>
                    <a:lnTo>
                      <a:pt x="304831" y="167396"/>
                    </a:lnTo>
                    <a:lnTo>
                      <a:pt x="303936" y="167396"/>
                    </a:lnTo>
                    <a:lnTo>
                      <a:pt x="259849" y="86798"/>
                    </a:lnTo>
                    <a:close/>
                    <a:moveTo>
                      <a:pt x="87007" y="37188"/>
                    </a:moveTo>
                    <a:lnTo>
                      <a:pt x="521760" y="37188"/>
                    </a:lnTo>
                    <a:lnTo>
                      <a:pt x="521760" y="322484"/>
                    </a:lnTo>
                    <a:lnTo>
                      <a:pt x="87007" y="322484"/>
                    </a:lnTo>
                    <a:close/>
                    <a:moveTo>
                      <a:pt x="74518" y="24802"/>
                    </a:moveTo>
                    <a:lnTo>
                      <a:pt x="74518" y="334870"/>
                    </a:lnTo>
                    <a:lnTo>
                      <a:pt x="534179" y="334870"/>
                    </a:lnTo>
                    <a:lnTo>
                      <a:pt x="534179" y="24802"/>
                    </a:lnTo>
                    <a:close/>
                    <a:moveTo>
                      <a:pt x="74518" y="0"/>
                    </a:moveTo>
                    <a:lnTo>
                      <a:pt x="534179" y="0"/>
                    </a:lnTo>
                    <a:cubicBezTo>
                      <a:pt x="547830" y="0"/>
                      <a:pt x="559019" y="11172"/>
                      <a:pt x="559019" y="24802"/>
                    </a:cubicBezTo>
                    <a:lnTo>
                      <a:pt x="559019" y="359672"/>
                    </a:lnTo>
                    <a:lnTo>
                      <a:pt x="49678" y="359672"/>
                    </a:lnTo>
                    <a:lnTo>
                      <a:pt x="49678" y="24802"/>
                    </a:lnTo>
                    <a:cubicBezTo>
                      <a:pt x="49678" y="11172"/>
                      <a:pt x="60867" y="0"/>
                      <a:pt x="7451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 sz="1600" dirty="0"/>
              </a:p>
            </p:txBody>
          </p:sp>
        </p:grpSp>
        <p:sp>
          <p:nvSpPr>
            <p:cNvPr id="12" name="íSḷídé"/>
            <p:cNvSpPr txBox="1"/>
            <p:nvPr/>
          </p:nvSpPr>
          <p:spPr>
            <a:xfrm>
              <a:off x="673100" y="2318007"/>
              <a:ext cx="3604268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r">
                <a:buSzPct val="25000"/>
              </a:pPr>
              <a:r>
                <a:rPr lang="zh-CN" altLang="en-US" sz="2000" b="1" dirty="0">
                  <a:solidFill>
                    <a:srgbClr val="FFC000"/>
                  </a:solidFill>
                </a:rPr>
                <a:t>核心团队控股</a:t>
              </a:r>
              <a:endParaRPr lang="de-DE" sz="2000" b="1" dirty="0">
                <a:solidFill>
                  <a:srgbClr val="FFC000"/>
                </a:solidFill>
              </a:endParaRPr>
            </a:p>
          </p:txBody>
        </p:sp>
        <p:sp>
          <p:nvSpPr>
            <p:cNvPr id="14" name="ïSḷiḍe"/>
            <p:cNvSpPr txBox="1"/>
            <p:nvPr/>
          </p:nvSpPr>
          <p:spPr>
            <a:xfrm>
              <a:off x="673099" y="4547427"/>
              <a:ext cx="4334781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r">
                <a:buSzPct val="25000"/>
              </a:pPr>
              <a:r>
                <a:rPr lang="zh-CN" altLang="en-US" sz="2000" b="1" dirty="0">
                  <a:solidFill>
                    <a:srgbClr val="1D25AA"/>
                  </a:solidFill>
                </a:rPr>
                <a:t>员工持股</a:t>
              </a:r>
              <a:endParaRPr lang="de-DE" altLang="zh-CN" sz="2000" b="1" dirty="0">
                <a:solidFill>
                  <a:srgbClr val="1D25AA"/>
                </a:solidFill>
              </a:endParaRPr>
            </a:p>
          </p:txBody>
        </p:sp>
        <p:sp>
          <p:nvSpPr>
            <p:cNvPr id="16" name="ïslïḓê"/>
            <p:cNvSpPr txBox="1"/>
            <p:nvPr/>
          </p:nvSpPr>
          <p:spPr>
            <a:xfrm>
              <a:off x="7156073" y="1700268"/>
              <a:ext cx="4362827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>
                <a:buSzPct val="25000"/>
              </a:pPr>
              <a:r>
                <a:rPr lang="zh-CN" altLang="en-US" sz="2000" b="1" dirty="0"/>
                <a:t>投资人持股</a:t>
              </a:r>
              <a:endParaRPr lang="de-DE" altLang="zh-CN" sz="2000" b="1" dirty="0"/>
            </a:p>
          </p:txBody>
        </p:sp>
        <p:sp>
          <p:nvSpPr>
            <p:cNvPr id="18" name="iSļïďe"/>
            <p:cNvSpPr txBox="1"/>
            <p:nvPr/>
          </p:nvSpPr>
          <p:spPr>
            <a:xfrm>
              <a:off x="7922679" y="3849827"/>
              <a:ext cx="3596221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>
                <a:buSzPct val="25000"/>
              </a:pPr>
              <a:r>
                <a:rPr lang="zh-CN" altLang="en-US" sz="2000" b="1" dirty="0">
                  <a:solidFill>
                    <a:srgbClr val="9E0000"/>
                  </a:solidFill>
                </a:rPr>
                <a:t>合作伙伴股权</a:t>
              </a:r>
              <a:endParaRPr lang="de-DE" altLang="zh-CN" sz="2000" b="1" dirty="0">
                <a:solidFill>
                  <a:srgbClr val="9E0000"/>
                </a:solidFill>
              </a:endParaRPr>
            </a:p>
          </p:txBody>
        </p:sp>
      </p:grp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6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90204" pitchFamily="34" charset="0"/>
              <a:ea typeface="微软雅黑" panose="020B0503020204020204" pitchFamily="34" charset="-122"/>
              <a:cs typeface="+mj-cs"/>
              <a:sym typeface="Arial" panose="020B060402020209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zh-CN" altLang="en-US" dirty="0"/>
              <a:t>谢谢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8648431" y="4375111"/>
            <a:ext cx="2784203" cy="296271"/>
          </a:xfrm>
        </p:spPr>
        <p:txBody>
          <a:bodyPr/>
          <a:lstStyle/>
          <a:p>
            <a:pPr algn="l"/>
            <a:r>
              <a:rPr lang="zh-CN" altLang="en-US" dirty="0"/>
              <a:t>喜文信息科技有限公司</a:t>
            </a:r>
            <a:endParaRPr lang="en-US" altLang="zh-CN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262840" y="2258535"/>
            <a:ext cx="4621853" cy="137518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z="3600" dirty="0">
                <a:solidFill>
                  <a:srgbClr val="030157"/>
                </a:solidFill>
              </a:rPr>
              <a:t>市场痛点</a:t>
            </a:r>
            <a:endParaRPr lang="en-US" altLang="zh-CN" sz="3600" dirty="0">
              <a:solidFill>
                <a:srgbClr val="030157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3177491" y="256707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市场痛点</a:t>
            </a:r>
            <a:endParaRPr lang="zh-CN" altLang="en-US" dirty="0"/>
          </a:p>
        </p:txBody>
      </p:sp>
      <p:cxnSp>
        <p:nvCxnSpPr>
          <p:cNvPr id="339" name="直接连接符 338"/>
          <p:cNvCxnSpPr/>
          <p:nvPr/>
        </p:nvCxnSpPr>
        <p:spPr>
          <a:xfrm>
            <a:off x="7767695" y="2905039"/>
            <a:ext cx="3259073" cy="32783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íṣľiḍê"/>
          <p:cNvSpPr/>
          <p:nvPr/>
        </p:nvSpPr>
        <p:spPr>
          <a:xfrm>
            <a:off x="4341357" y="1959541"/>
            <a:ext cx="3538382" cy="3537492"/>
          </a:xfrm>
          <a:prstGeom prst="donut">
            <a:avLst>
              <a:gd name="adj" fmla="val 916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20000"/>
              </a:lnSpc>
            </a:pPr>
            <a:endParaRPr>
              <a:cs typeface="+mn-ea"/>
              <a:sym typeface="+mn-lt"/>
            </a:endParaRPr>
          </a:p>
        </p:txBody>
      </p:sp>
      <p:sp>
        <p:nvSpPr>
          <p:cNvPr id="365" name="ísļíḑe"/>
          <p:cNvSpPr/>
          <p:nvPr/>
        </p:nvSpPr>
        <p:spPr>
          <a:xfrm>
            <a:off x="6846881" y="2125688"/>
            <a:ext cx="716493" cy="716494"/>
          </a:xfrm>
          <a:prstGeom prst="ellipse">
            <a:avLst/>
          </a:prstGeom>
          <a:solidFill>
            <a:srgbClr val="DC6140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20000"/>
              </a:lnSpc>
            </a:pPr>
            <a:endParaRPr dirty="0">
              <a:cs typeface="+mn-ea"/>
              <a:sym typeface="+mn-lt"/>
            </a:endParaRPr>
          </a:p>
        </p:txBody>
      </p:sp>
      <p:sp>
        <p:nvSpPr>
          <p:cNvPr id="368" name="iSliďê"/>
          <p:cNvSpPr/>
          <p:nvPr/>
        </p:nvSpPr>
        <p:spPr>
          <a:xfrm rot="1800000">
            <a:off x="6998913" y="4253684"/>
            <a:ext cx="716493" cy="716494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20000"/>
              </a:lnSpc>
            </a:pPr>
            <a:endParaRPr>
              <a:cs typeface="+mn-ea"/>
              <a:sym typeface="+mn-lt"/>
            </a:endParaRPr>
          </a:p>
        </p:txBody>
      </p:sp>
      <p:sp>
        <p:nvSpPr>
          <p:cNvPr id="369" name="ïš1ïḍê"/>
          <p:cNvSpPr/>
          <p:nvPr/>
        </p:nvSpPr>
        <p:spPr>
          <a:xfrm>
            <a:off x="4484730" y="4273874"/>
            <a:ext cx="716493" cy="716494"/>
          </a:xfrm>
          <a:prstGeom prst="ellipse">
            <a:avLst/>
          </a:prstGeom>
          <a:solidFill>
            <a:schemeClr val="accent3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20000"/>
              </a:lnSpc>
            </a:pPr>
            <a:endParaRPr>
              <a:cs typeface="+mn-ea"/>
              <a:sym typeface="+mn-lt"/>
            </a:endParaRPr>
          </a:p>
        </p:txBody>
      </p:sp>
      <p:sp>
        <p:nvSpPr>
          <p:cNvPr id="370" name="îšļïḓê"/>
          <p:cNvSpPr/>
          <p:nvPr/>
        </p:nvSpPr>
        <p:spPr>
          <a:xfrm rot="1800000">
            <a:off x="4585504" y="2129903"/>
            <a:ext cx="716493" cy="716494"/>
          </a:xfrm>
          <a:prstGeom prst="ellipse">
            <a:avLst/>
          </a:prstGeom>
          <a:solidFill>
            <a:srgbClr val="1A0E4C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20000"/>
              </a:lnSpc>
            </a:pPr>
            <a:endParaRPr>
              <a:cs typeface="+mn-ea"/>
              <a:sym typeface="+mn-lt"/>
            </a:endParaRPr>
          </a:p>
        </p:txBody>
      </p:sp>
      <p:sp>
        <p:nvSpPr>
          <p:cNvPr id="371" name="ïśľïḍê"/>
          <p:cNvSpPr/>
          <p:nvPr/>
        </p:nvSpPr>
        <p:spPr>
          <a:xfrm>
            <a:off x="6991625" y="2310825"/>
            <a:ext cx="395809" cy="293604"/>
          </a:xfrm>
          <a:custGeom>
            <a:avLst/>
            <a:gdLst>
              <a:gd name="connsiteX0" fmla="*/ 9246 w 338138"/>
              <a:gd name="connsiteY0" fmla="*/ 217487 h 250825"/>
              <a:gd name="connsiteX1" fmla="*/ 328892 w 338138"/>
              <a:gd name="connsiteY1" fmla="*/ 217487 h 250825"/>
              <a:gd name="connsiteX2" fmla="*/ 338138 w 338138"/>
              <a:gd name="connsiteY2" fmla="*/ 226822 h 250825"/>
              <a:gd name="connsiteX3" fmla="*/ 314363 w 338138"/>
              <a:gd name="connsiteY3" fmla="*/ 250825 h 250825"/>
              <a:gd name="connsiteX4" fmla="*/ 23775 w 338138"/>
              <a:gd name="connsiteY4" fmla="*/ 250825 h 250825"/>
              <a:gd name="connsiteX5" fmla="*/ 0 w 338138"/>
              <a:gd name="connsiteY5" fmla="*/ 226822 h 250825"/>
              <a:gd name="connsiteX6" fmla="*/ 9246 w 338138"/>
              <a:gd name="connsiteY6" fmla="*/ 217487 h 250825"/>
              <a:gd name="connsiteX7" fmla="*/ 100182 w 338138"/>
              <a:gd name="connsiteY7" fmla="*/ 100012 h 250825"/>
              <a:gd name="connsiteX8" fmla="*/ 123655 w 338138"/>
              <a:gd name="connsiteY8" fmla="*/ 100012 h 250825"/>
              <a:gd name="connsiteX9" fmla="*/ 130175 w 338138"/>
              <a:gd name="connsiteY9" fmla="*/ 106705 h 250825"/>
              <a:gd name="connsiteX10" fmla="*/ 130175 w 338138"/>
              <a:gd name="connsiteY10" fmla="*/ 161583 h 250825"/>
              <a:gd name="connsiteX11" fmla="*/ 123655 w 338138"/>
              <a:gd name="connsiteY11" fmla="*/ 168275 h 250825"/>
              <a:gd name="connsiteX12" fmla="*/ 100182 w 338138"/>
              <a:gd name="connsiteY12" fmla="*/ 168275 h 250825"/>
              <a:gd name="connsiteX13" fmla="*/ 93662 w 338138"/>
              <a:gd name="connsiteY13" fmla="*/ 161583 h 250825"/>
              <a:gd name="connsiteX14" fmla="*/ 93662 w 338138"/>
              <a:gd name="connsiteY14" fmla="*/ 106705 h 250825"/>
              <a:gd name="connsiteX15" fmla="*/ 100182 w 338138"/>
              <a:gd name="connsiteY15" fmla="*/ 100012 h 250825"/>
              <a:gd name="connsiteX16" fmla="*/ 157332 w 338138"/>
              <a:gd name="connsiteY16" fmla="*/ 77787 h 250825"/>
              <a:gd name="connsiteX17" fmla="*/ 180805 w 338138"/>
              <a:gd name="connsiteY17" fmla="*/ 77787 h 250825"/>
              <a:gd name="connsiteX18" fmla="*/ 187325 w 338138"/>
              <a:gd name="connsiteY18" fmla="*/ 84441 h 250825"/>
              <a:gd name="connsiteX19" fmla="*/ 187325 w 338138"/>
              <a:gd name="connsiteY19" fmla="*/ 161622 h 250825"/>
              <a:gd name="connsiteX20" fmla="*/ 180805 w 338138"/>
              <a:gd name="connsiteY20" fmla="*/ 168275 h 250825"/>
              <a:gd name="connsiteX21" fmla="*/ 157332 w 338138"/>
              <a:gd name="connsiteY21" fmla="*/ 168275 h 250825"/>
              <a:gd name="connsiteX22" fmla="*/ 150812 w 338138"/>
              <a:gd name="connsiteY22" fmla="*/ 161622 h 250825"/>
              <a:gd name="connsiteX23" fmla="*/ 150812 w 338138"/>
              <a:gd name="connsiteY23" fmla="*/ 84441 h 250825"/>
              <a:gd name="connsiteX24" fmla="*/ 157332 w 338138"/>
              <a:gd name="connsiteY24" fmla="*/ 77787 h 250825"/>
              <a:gd name="connsiteX25" fmla="*/ 216070 w 338138"/>
              <a:gd name="connsiteY25" fmla="*/ 49212 h 250825"/>
              <a:gd name="connsiteX26" fmla="*/ 239543 w 338138"/>
              <a:gd name="connsiteY26" fmla="*/ 49212 h 250825"/>
              <a:gd name="connsiteX27" fmla="*/ 246063 w 338138"/>
              <a:gd name="connsiteY27" fmla="*/ 55827 h 250825"/>
              <a:gd name="connsiteX28" fmla="*/ 246063 w 338138"/>
              <a:gd name="connsiteY28" fmla="*/ 161661 h 250825"/>
              <a:gd name="connsiteX29" fmla="*/ 239543 w 338138"/>
              <a:gd name="connsiteY29" fmla="*/ 168275 h 250825"/>
              <a:gd name="connsiteX30" fmla="*/ 216070 w 338138"/>
              <a:gd name="connsiteY30" fmla="*/ 168275 h 250825"/>
              <a:gd name="connsiteX31" fmla="*/ 209550 w 338138"/>
              <a:gd name="connsiteY31" fmla="*/ 161661 h 250825"/>
              <a:gd name="connsiteX32" fmla="*/ 209550 w 338138"/>
              <a:gd name="connsiteY32" fmla="*/ 55827 h 250825"/>
              <a:gd name="connsiteX33" fmla="*/ 216070 w 338138"/>
              <a:gd name="connsiteY33" fmla="*/ 49212 h 250825"/>
              <a:gd name="connsiteX34" fmla="*/ 53428 w 338138"/>
              <a:gd name="connsiteY34" fmla="*/ 22225 h 250825"/>
              <a:gd name="connsiteX35" fmla="*/ 50800 w 338138"/>
              <a:gd name="connsiteY35" fmla="*/ 24858 h 250825"/>
              <a:gd name="connsiteX36" fmla="*/ 50800 w 338138"/>
              <a:gd name="connsiteY36" fmla="*/ 182834 h 250825"/>
              <a:gd name="connsiteX37" fmla="*/ 53428 w 338138"/>
              <a:gd name="connsiteY37" fmla="*/ 184150 h 250825"/>
              <a:gd name="connsiteX38" fmla="*/ 284710 w 338138"/>
              <a:gd name="connsiteY38" fmla="*/ 184150 h 250825"/>
              <a:gd name="connsiteX39" fmla="*/ 287338 w 338138"/>
              <a:gd name="connsiteY39" fmla="*/ 182834 h 250825"/>
              <a:gd name="connsiteX40" fmla="*/ 287338 w 338138"/>
              <a:gd name="connsiteY40" fmla="*/ 24858 h 250825"/>
              <a:gd name="connsiteX41" fmla="*/ 284710 w 338138"/>
              <a:gd name="connsiteY41" fmla="*/ 22225 h 250825"/>
              <a:gd name="connsiteX42" fmla="*/ 53428 w 338138"/>
              <a:gd name="connsiteY42" fmla="*/ 22225 h 250825"/>
              <a:gd name="connsiteX43" fmla="*/ 53663 w 338138"/>
              <a:gd name="connsiteY43" fmla="*/ 0 h 250825"/>
              <a:gd name="connsiteX44" fmla="*/ 286062 w 338138"/>
              <a:gd name="connsiteY44" fmla="*/ 0 h 250825"/>
              <a:gd name="connsiteX45" fmla="*/ 311150 w 338138"/>
              <a:gd name="connsiteY45" fmla="*/ 25008 h 250825"/>
              <a:gd name="connsiteX46" fmla="*/ 311150 w 338138"/>
              <a:gd name="connsiteY46" fmla="*/ 182955 h 250825"/>
              <a:gd name="connsiteX47" fmla="*/ 286062 w 338138"/>
              <a:gd name="connsiteY47" fmla="*/ 207963 h 250825"/>
              <a:gd name="connsiteX48" fmla="*/ 53663 w 338138"/>
              <a:gd name="connsiteY48" fmla="*/ 207963 h 250825"/>
              <a:gd name="connsiteX49" fmla="*/ 28575 w 338138"/>
              <a:gd name="connsiteY49" fmla="*/ 182955 h 250825"/>
              <a:gd name="connsiteX50" fmla="*/ 28575 w 338138"/>
              <a:gd name="connsiteY50" fmla="*/ 25008 h 250825"/>
              <a:gd name="connsiteX51" fmla="*/ 53663 w 338138"/>
              <a:gd name="connsiteY51" fmla="*/ 0 h 25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8138" h="250825">
                <a:moveTo>
                  <a:pt x="9246" y="217487"/>
                </a:moveTo>
                <a:cubicBezTo>
                  <a:pt x="9246" y="217487"/>
                  <a:pt x="9246" y="217487"/>
                  <a:pt x="328892" y="217487"/>
                </a:cubicBezTo>
                <a:cubicBezTo>
                  <a:pt x="334176" y="217487"/>
                  <a:pt x="338138" y="221488"/>
                  <a:pt x="338138" y="226822"/>
                </a:cubicBezTo>
                <a:cubicBezTo>
                  <a:pt x="338138" y="240157"/>
                  <a:pt x="327571" y="250825"/>
                  <a:pt x="314363" y="250825"/>
                </a:cubicBezTo>
                <a:cubicBezTo>
                  <a:pt x="314363" y="250825"/>
                  <a:pt x="314363" y="250825"/>
                  <a:pt x="23775" y="250825"/>
                </a:cubicBezTo>
                <a:cubicBezTo>
                  <a:pt x="10567" y="250825"/>
                  <a:pt x="0" y="240157"/>
                  <a:pt x="0" y="226822"/>
                </a:cubicBezTo>
                <a:cubicBezTo>
                  <a:pt x="0" y="221488"/>
                  <a:pt x="3962" y="217487"/>
                  <a:pt x="9246" y="217487"/>
                </a:cubicBezTo>
                <a:close/>
                <a:moveTo>
                  <a:pt x="100182" y="100012"/>
                </a:moveTo>
                <a:cubicBezTo>
                  <a:pt x="100182" y="100012"/>
                  <a:pt x="100182" y="100012"/>
                  <a:pt x="123655" y="100012"/>
                </a:cubicBezTo>
                <a:cubicBezTo>
                  <a:pt x="127567" y="100012"/>
                  <a:pt x="130175" y="102689"/>
                  <a:pt x="130175" y="106705"/>
                </a:cubicBezTo>
                <a:cubicBezTo>
                  <a:pt x="130175" y="106705"/>
                  <a:pt x="130175" y="106705"/>
                  <a:pt x="130175" y="161583"/>
                </a:cubicBezTo>
                <a:cubicBezTo>
                  <a:pt x="130175" y="165598"/>
                  <a:pt x="127567" y="168275"/>
                  <a:pt x="123655" y="168275"/>
                </a:cubicBezTo>
                <a:cubicBezTo>
                  <a:pt x="123655" y="168275"/>
                  <a:pt x="123655" y="168275"/>
                  <a:pt x="100182" y="168275"/>
                </a:cubicBezTo>
                <a:cubicBezTo>
                  <a:pt x="96270" y="168275"/>
                  <a:pt x="93662" y="165598"/>
                  <a:pt x="93662" y="161583"/>
                </a:cubicBezTo>
                <a:cubicBezTo>
                  <a:pt x="93662" y="161583"/>
                  <a:pt x="93662" y="161583"/>
                  <a:pt x="93662" y="106705"/>
                </a:cubicBezTo>
                <a:cubicBezTo>
                  <a:pt x="93662" y="102689"/>
                  <a:pt x="96270" y="100012"/>
                  <a:pt x="100182" y="100012"/>
                </a:cubicBezTo>
                <a:close/>
                <a:moveTo>
                  <a:pt x="157332" y="77787"/>
                </a:moveTo>
                <a:cubicBezTo>
                  <a:pt x="157332" y="77787"/>
                  <a:pt x="157332" y="77787"/>
                  <a:pt x="180805" y="77787"/>
                </a:cubicBezTo>
                <a:cubicBezTo>
                  <a:pt x="184717" y="77787"/>
                  <a:pt x="187325" y="81779"/>
                  <a:pt x="187325" y="84441"/>
                </a:cubicBezTo>
                <a:cubicBezTo>
                  <a:pt x="187325" y="84441"/>
                  <a:pt x="187325" y="84441"/>
                  <a:pt x="187325" y="161622"/>
                </a:cubicBezTo>
                <a:cubicBezTo>
                  <a:pt x="187325" y="165614"/>
                  <a:pt x="184717" y="168275"/>
                  <a:pt x="180805" y="168275"/>
                </a:cubicBezTo>
                <a:cubicBezTo>
                  <a:pt x="180805" y="168275"/>
                  <a:pt x="180805" y="168275"/>
                  <a:pt x="157332" y="168275"/>
                </a:cubicBezTo>
                <a:cubicBezTo>
                  <a:pt x="153420" y="168275"/>
                  <a:pt x="150812" y="165614"/>
                  <a:pt x="150812" y="161622"/>
                </a:cubicBezTo>
                <a:cubicBezTo>
                  <a:pt x="150812" y="161622"/>
                  <a:pt x="150812" y="161622"/>
                  <a:pt x="150812" y="84441"/>
                </a:cubicBezTo>
                <a:cubicBezTo>
                  <a:pt x="150812" y="81779"/>
                  <a:pt x="153420" y="77787"/>
                  <a:pt x="157332" y="77787"/>
                </a:cubicBezTo>
                <a:close/>
                <a:moveTo>
                  <a:pt x="216070" y="49212"/>
                </a:moveTo>
                <a:cubicBezTo>
                  <a:pt x="216070" y="49212"/>
                  <a:pt x="216070" y="49212"/>
                  <a:pt x="239543" y="49212"/>
                </a:cubicBezTo>
                <a:cubicBezTo>
                  <a:pt x="243455" y="49212"/>
                  <a:pt x="246063" y="51858"/>
                  <a:pt x="246063" y="55827"/>
                </a:cubicBezTo>
                <a:cubicBezTo>
                  <a:pt x="246063" y="55827"/>
                  <a:pt x="246063" y="55827"/>
                  <a:pt x="246063" y="161661"/>
                </a:cubicBezTo>
                <a:cubicBezTo>
                  <a:pt x="246063" y="165629"/>
                  <a:pt x="243455" y="168275"/>
                  <a:pt x="239543" y="168275"/>
                </a:cubicBezTo>
                <a:cubicBezTo>
                  <a:pt x="239543" y="168275"/>
                  <a:pt x="239543" y="168275"/>
                  <a:pt x="216070" y="168275"/>
                </a:cubicBezTo>
                <a:cubicBezTo>
                  <a:pt x="212158" y="168275"/>
                  <a:pt x="209550" y="165629"/>
                  <a:pt x="209550" y="161661"/>
                </a:cubicBezTo>
                <a:cubicBezTo>
                  <a:pt x="209550" y="161661"/>
                  <a:pt x="209550" y="161661"/>
                  <a:pt x="209550" y="55827"/>
                </a:cubicBezTo>
                <a:cubicBezTo>
                  <a:pt x="209550" y="51858"/>
                  <a:pt x="212158" y="49212"/>
                  <a:pt x="216070" y="49212"/>
                </a:cubicBezTo>
                <a:close/>
                <a:moveTo>
                  <a:pt x="53428" y="22225"/>
                </a:moveTo>
                <a:cubicBezTo>
                  <a:pt x="52114" y="22225"/>
                  <a:pt x="50800" y="23541"/>
                  <a:pt x="50800" y="24858"/>
                </a:cubicBezTo>
                <a:lnTo>
                  <a:pt x="50800" y="182834"/>
                </a:lnTo>
                <a:cubicBezTo>
                  <a:pt x="50800" y="184150"/>
                  <a:pt x="52114" y="184150"/>
                  <a:pt x="53428" y="184150"/>
                </a:cubicBezTo>
                <a:cubicBezTo>
                  <a:pt x="53428" y="184150"/>
                  <a:pt x="53428" y="184150"/>
                  <a:pt x="284710" y="184150"/>
                </a:cubicBezTo>
                <a:cubicBezTo>
                  <a:pt x="286024" y="184150"/>
                  <a:pt x="287338" y="184150"/>
                  <a:pt x="287338" y="182834"/>
                </a:cubicBezTo>
                <a:cubicBezTo>
                  <a:pt x="287338" y="182834"/>
                  <a:pt x="287338" y="182834"/>
                  <a:pt x="287338" y="24858"/>
                </a:cubicBezTo>
                <a:cubicBezTo>
                  <a:pt x="287338" y="23541"/>
                  <a:pt x="286024" y="22225"/>
                  <a:pt x="284710" y="22225"/>
                </a:cubicBezTo>
                <a:cubicBezTo>
                  <a:pt x="284710" y="22225"/>
                  <a:pt x="284710" y="22225"/>
                  <a:pt x="53428" y="22225"/>
                </a:cubicBezTo>
                <a:close/>
                <a:moveTo>
                  <a:pt x="53663" y="0"/>
                </a:moveTo>
                <a:cubicBezTo>
                  <a:pt x="53663" y="0"/>
                  <a:pt x="53663" y="0"/>
                  <a:pt x="286062" y="0"/>
                </a:cubicBezTo>
                <a:cubicBezTo>
                  <a:pt x="300587" y="0"/>
                  <a:pt x="311150" y="10530"/>
                  <a:pt x="311150" y="25008"/>
                </a:cubicBezTo>
                <a:cubicBezTo>
                  <a:pt x="311150" y="25008"/>
                  <a:pt x="311150" y="25008"/>
                  <a:pt x="311150" y="182955"/>
                </a:cubicBezTo>
                <a:cubicBezTo>
                  <a:pt x="311150" y="196117"/>
                  <a:pt x="300587" y="207963"/>
                  <a:pt x="286062" y="207963"/>
                </a:cubicBezTo>
                <a:cubicBezTo>
                  <a:pt x="286062" y="207963"/>
                  <a:pt x="286062" y="207963"/>
                  <a:pt x="53663" y="207963"/>
                </a:cubicBezTo>
                <a:cubicBezTo>
                  <a:pt x="39138" y="207963"/>
                  <a:pt x="28575" y="196117"/>
                  <a:pt x="28575" y="182955"/>
                </a:cubicBezTo>
                <a:cubicBezTo>
                  <a:pt x="28575" y="182955"/>
                  <a:pt x="28575" y="182955"/>
                  <a:pt x="28575" y="25008"/>
                </a:cubicBezTo>
                <a:cubicBezTo>
                  <a:pt x="28575" y="10530"/>
                  <a:pt x="39138" y="0"/>
                  <a:pt x="5366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20000"/>
              </a:lnSpc>
            </a:pPr>
            <a:endParaRPr>
              <a:cs typeface="+mn-ea"/>
              <a:sym typeface="+mn-lt"/>
            </a:endParaRPr>
          </a:p>
        </p:txBody>
      </p:sp>
      <p:sp>
        <p:nvSpPr>
          <p:cNvPr id="374" name="îslîḑê"/>
          <p:cNvSpPr/>
          <p:nvPr/>
        </p:nvSpPr>
        <p:spPr>
          <a:xfrm>
            <a:off x="7157938" y="4467391"/>
            <a:ext cx="395809" cy="293604"/>
          </a:xfrm>
          <a:custGeom>
            <a:avLst/>
            <a:gdLst>
              <a:gd name="connsiteX0" fmla="*/ 9246 w 338138"/>
              <a:gd name="connsiteY0" fmla="*/ 217487 h 250825"/>
              <a:gd name="connsiteX1" fmla="*/ 328892 w 338138"/>
              <a:gd name="connsiteY1" fmla="*/ 217487 h 250825"/>
              <a:gd name="connsiteX2" fmla="*/ 338138 w 338138"/>
              <a:gd name="connsiteY2" fmla="*/ 226822 h 250825"/>
              <a:gd name="connsiteX3" fmla="*/ 314363 w 338138"/>
              <a:gd name="connsiteY3" fmla="*/ 250825 h 250825"/>
              <a:gd name="connsiteX4" fmla="*/ 23775 w 338138"/>
              <a:gd name="connsiteY4" fmla="*/ 250825 h 250825"/>
              <a:gd name="connsiteX5" fmla="*/ 0 w 338138"/>
              <a:gd name="connsiteY5" fmla="*/ 226822 h 250825"/>
              <a:gd name="connsiteX6" fmla="*/ 9246 w 338138"/>
              <a:gd name="connsiteY6" fmla="*/ 217487 h 250825"/>
              <a:gd name="connsiteX7" fmla="*/ 100182 w 338138"/>
              <a:gd name="connsiteY7" fmla="*/ 100012 h 250825"/>
              <a:gd name="connsiteX8" fmla="*/ 123655 w 338138"/>
              <a:gd name="connsiteY8" fmla="*/ 100012 h 250825"/>
              <a:gd name="connsiteX9" fmla="*/ 130175 w 338138"/>
              <a:gd name="connsiteY9" fmla="*/ 106705 h 250825"/>
              <a:gd name="connsiteX10" fmla="*/ 130175 w 338138"/>
              <a:gd name="connsiteY10" fmla="*/ 161583 h 250825"/>
              <a:gd name="connsiteX11" fmla="*/ 123655 w 338138"/>
              <a:gd name="connsiteY11" fmla="*/ 168275 h 250825"/>
              <a:gd name="connsiteX12" fmla="*/ 100182 w 338138"/>
              <a:gd name="connsiteY12" fmla="*/ 168275 h 250825"/>
              <a:gd name="connsiteX13" fmla="*/ 93662 w 338138"/>
              <a:gd name="connsiteY13" fmla="*/ 161583 h 250825"/>
              <a:gd name="connsiteX14" fmla="*/ 93662 w 338138"/>
              <a:gd name="connsiteY14" fmla="*/ 106705 h 250825"/>
              <a:gd name="connsiteX15" fmla="*/ 100182 w 338138"/>
              <a:gd name="connsiteY15" fmla="*/ 100012 h 250825"/>
              <a:gd name="connsiteX16" fmla="*/ 157332 w 338138"/>
              <a:gd name="connsiteY16" fmla="*/ 77787 h 250825"/>
              <a:gd name="connsiteX17" fmla="*/ 180805 w 338138"/>
              <a:gd name="connsiteY17" fmla="*/ 77787 h 250825"/>
              <a:gd name="connsiteX18" fmla="*/ 187325 w 338138"/>
              <a:gd name="connsiteY18" fmla="*/ 84441 h 250825"/>
              <a:gd name="connsiteX19" fmla="*/ 187325 w 338138"/>
              <a:gd name="connsiteY19" fmla="*/ 161622 h 250825"/>
              <a:gd name="connsiteX20" fmla="*/ 180805 w 338138"/>
              <a:gd name="connsiteY20" fmla="*/ 168275 h 250825"/>
              <a:gd name="connsiteX21" fmla="*/ 157332 w 338138"/>
              <a:gd name="connsiteY21" fmla="*/ 168275 h 250825"/>
              <a:gd name="connsiteX22" fmla="*/ 150812 w 338138"/>
              <a:gd name="connsiteY22" fmla="*/ 161622 h 250825"/>
              <a:gd name="connsiteX23" fmla="*/ 150812 w 338138"/>
              <a:gd name="connsiteY23" fmla="*/ 84441 h 250825"/>
              <a:gd name="connsiteX24" fmla="*/ 157332 w 338138"/>
              <a:gd name="connsiteY24" fmla="*/ 77787 h 250825"/>
              <a:gd name="connsiteX25" fmla="*/ 216070 w 338138"/>
              <a:gd name="connsiteY25" fmla="*/ 49212 h 250825"/>
              <a:gd name="connsiteX26" fmla="*/ 239543 w 338138"/>
              <a:gd name="connsiteY26" fmla="*/ 49212 h 250825"/>
              <a:gd name="connsiteX27" fmla="*/ 246063 w 338138"/>
              <a:gd name="connsiteY27" fmla="*/ 55827 h 250825"/>
              <a:gd name="connsiteX28" fmla="*/ 246063 w 338138"/>
              <a:gd name="connsiteY28" fmla="*/ 161661 h 250825"/>
              <a:gd name="connsiteX29" fmla="*/ 239543 w 338138"/>
              <a:gd name="connsiteY29" fmla="*/ 168275 h 250825"/>
              <a:gd name="connsiteX30" fmla="*/ 216070 w 338138"/>
              <a:gd name="connsiteY30" fmla="*/ 168275 h 250825"/>
              <a:gd name="connsiteX31" fmla="*/ 209550 w 338138"/>
              <a:gd name="connsiteY31" fmla="*/ 161661 h 250825"/>
              <a:gd name="connsiteX32" fmla="*/ 209550 w 338138"/>
              <a:gd name="connsiteY32" fmla="*/ 55827 h 250825"/>
              <a:gd name="connsiteX33" fmla="*/ 216070 w 338138"/>
              <a:gd name="connsiteY33" fmla="*/ 49212 h 250825"/>
              <a:gd name="connsiteX34" fmla="*/ 53428 w 338138"/>
              <a:gd name="connsiteY34" fmla="*/ 22225 h 250825"/>
              <a:gd name="connsiteX35" fmla="*/ 50800 w 338138"/>
              <a:gd name="connsiteY35" fmla="*/ 24858 h 250825"/>
              <a:gd name="connsiteX36" fmla="*/ 50800 w 338138"/>
              <a:gd name="connsiteY36" fmla="*/ 182834 h 250825"/>
              <a:gd name="connsiteX37" fmla="*/ 53428 w 338138"/>
              <a:gd name="connsiteY37" fmla="*/ 184150 h 250825"/>
              <a:gd name="connsiteX38" fmla="*/ 284710 w 338138"/>
              <a:gd name="connsiteY38" fmla="*/ 184150 h 250825"/>
              <a:gd name="connsiteX39" fmla="*/ 287338 w 338138"/>
              <a:gd name="connsiteY39" fmla="*/ 182834 h 250825"/>
              <a:gd name="connsiteX40" fmla="*/ 287338 w 338138"/>
              <a:gd name="connsiteY40" fmla="*/ 24858 h 250825"/>
              <a:gd name="connsiteX41" fmla="*/ 284710 w 338138"/>
              <a:gd name="connsiteY41" fmla="*/ 22225 h 250825"/>
              <a:gd name="connsiteX42" fmla="*/ 53428 w 338138"/>
              <a:gd name="connsiteY42" fmla="*/ 22225 h 250825"/>
              <a:gd name="connsiteX43" fmla="*/ 53663 w 338138"/>
              <a:gd name="connsiteY43" fmla="*/ 0 h 250825"/>
              <a:gd name="connsiteX44" fmla="*/ 286062 w 338138"/>
              <a:gd name="connsiteY44" fmla="*/ 0 h 250825"/>
              <a:gd name="connsiteX45" fmla="*/ 311150 w 338138"/>
              <a:gd name="connsiteY45" fmla="*/ 25008 h 250825"/>
              <a:gd name="connsiteX46" fmla="*/ 311150 w 338138"/>
              <a:gd name="connsiteY46" fmla="*/ 182955 h 250825"/>
              <a:gd name="connsiteX47" fmla="*/ 286062 w 338138"/>
              <a:gd name="connsiteY47" fmla="*/ 207963 h 250825"/>
              <a:gd name="connsiteX48" fmla="*/ 53663 w 338138"/>
              <a:gd name="connsiteY48" fmla="*/ 207963 h 250825"/>
              <a:gd name="connsiteX49" fmla="*/ 28575 w 338138"/>
              <a:gd name="connsiteY49" fmla="*/ 182955 h 250825"/>
              <a:gd name="connsiteX50" fmla="*/ 28575 w 338138"/>
              <a:gd name="connsiteY50" fmla="*/ 25008 h 250825"/>
              <a:gd name="connsiteX51" fmla="*/ 53663 w 338138"/>
              <a:gd name="connsiteY51" fmla="*/ 0 h 25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8138" h="250825">
                <a:moveTo>
                  <a:pt x="9246" y="217487"/>
                </a:moveTo>
                <a:cubicBezTo>
                  <a:pt x="9246" y="217487"/>
                  <a:pt x="9246" y="217487"/>
                  <a:pt x="328892" y="217487"/>
                </a:cubicBezTo>
                <a:cubicBezTo>
                  <a:pt x="334176" y="217487"/>
                  <a:pt x="338138" y="221488"/>
                  <a:pt x="338138" y="226822"/>
                </a:cubicBezTo>
                <a:cubicBezTo>
                  <a:pt x="338138" y="240157"/>
                  <a:pt x="327571" y="250825"/>
                  <a:pt x="314363" y="250825"/>
                </a:cubicBezTo>
                <a:cubicBezTo>
                  <a:pt x="314363" y="250825"/>
                  <a:pt x="314363" y="250825"/>
                  <a:pt x="23775" y="250825"/>
                </a:cubicBezTo>
                <a:cubicBezTo>
                  <a:pt x="10567" y="250825"/>
                  <a:pt x="0" y="240157"/>
                  <a:pt x="0" y="226822"/>
                </a:cubicBezTo>
                <a:cubicBezTo>
                  <a:pt x="0" y="221488"/>
                  <a:pt x="3962" y="217487"/>
                  <a:pt x="9246" y="217487"/>
                </a:cubicBezTo>
                <a:close/>
                <a:moveTo>
                  <a:pt x="100182" y="100012"/>
                </a:moveTo>
                <a:cubicBezTo>
                  <a:pt x="100182" y="100012"/>
                  <a:pt x="100182" y="100012"/>
                  <a:pt x="123655" y="100012"/>
                </a:cubicBezTo>
                <a:cubicBezTo>
                  <a:pt x="127567" y="100012"/>
                  <a:pt x="130175" y="102689"/>
                  <a:pt x="130175" y="106705"/>
                </a:cubicBezTo>
                <a:cubicBezTo>
                  <a:pt x="130175" y="106705"/>
                  <a:pt x="130175" y="106705"/>
                  <a:pt x="130175" y="161583"/>
                </a:cubicBezTo>
                <a:cubicBezTo>
                  <a:pt x="130175" y="165598"/>
                  <a:pt x="127567" y="168275"/>
                  <a:pt x="123655" y="168275"/>
                </a:cubicBezTo>
                <a:cubicBezTo>
                  <a:pt x="123655" y="168275"/>
                  <a:pt x="123655" y="168275"/>
                  <a:pt x="100182" y="168275"/>
                </a:cubicBezTo>
                <a:cubicBezTo>
                  <a:pt x="96270" y="168275"/>
                  <a:pt x="93662" y="165598"/>
                  <a:pt x="93662" y="161583"/>
                </a:cubicBezTo>
                <a:cubicBezTo>
                  <a:pt x="93662" y="161583"/>
                  <a:pt x="93662" y="161583"/>
                  <a:pt x="93662" y="106705"/>
                </a:cubicBezTo>
                <a:cubicBezTo>
                  <a:pt x="93662" y="102689"/>
                  <a:pt x="96270" y="100012"/>
                  <a:pt x="100182" y="100012"/>
                </a:cubicBezTo>
                <a:close/>
                <a:moveTo>
                  <a:pt x="157332" y="77787"/>
                </a:moveTo>
                <a:cubicBezTo>
                  <a:pt x="157332" y="77787"/>
                  <a:pt x="157332" y="77787"/>
                  <a:pt x="180805" y="77787"/>
                </a:cubicBezTo>
                <a:cubicBezTo>
                  <a:pt x="184717" y="77787"/>
                  <a:pt x="187325" y="81779"/>
                  <a:pt x="187325" y="84441"/>
                </a:cubicBezTo>
                <a:cubicBezTo>
                  <a:pt x="187325" y="84441"/>
                  <a:pt x="187325" y="84441"/>
                  <a:pt x="187325" y="161622"/>
                </a:cubicBezTo>
                <a:cubicBezTo>
                  <a:pt x="187325" y="165614"/>
                  <a:pt x="184717" y="168275"/>
                  <a:pt x="180805" y="168275"/>
                </a:cubicBezTo>
                <a:cubicBezTo>
                  <a:pt x="180805" y="168275"/>
                  <a:pt x="180805" y="168275"/>
                  <a:pt x="157332" y="168275"/>
                </a:cubicBezTo>
                <a:cubicBezTo>
                  <a:pt x="153420" y="168275"/>
                  <a:pt x="150812" y="165614"/>
                  <a:pt x="150812" y="161622"/>
                </a:cubicBezTo>
                <a:cubicBezTo>
                  <a:pt x="150812" y="161622"/>
                  <a:pt x="150812" y="161622"/>
                  <a:pt x="150812" y="84441"/>
                </a:cubicBezTo>
                <a:cubicBezTo>
                  <a:pt x="150812" y="81779"/>
                  <a:pt x="153420" y="77787"/>
                  <a:pt x="157332" y="77787"/>
                </a:cubicBezTo>
                <a:close/>
                <a:moveTo>
                  <a:pt x="216070" y="49212"/>
                </a:moveTo>
                <a:cubicBezTo>
                  <a:pt x="216070" y="49212"/>
                  <a:pt x="216070" y="49212"/>
                  <a:pt x="239543" y="49212"/>
                </a:cubicBezTo>
                <a:cubicBezTo>
                  <a:pt x="243455" y="49212"/>
                  <a:pt x="246063" y="51858"/>
                  <a:pt x="246063" y="55827"/>
                </a:cubicBezTo>
                <a:cubicBezTo>
                  <a:pt x="246063" y="55827"/>
                  <a:pt x="246063" y="55827"/>
                  <a:pt x="246063" y="161661"/>
                </a:cubicBezTo>
                <a:cubicBezTo>
                  <a:pt x="246063" y="165629"/>
                  <a:pt x="243455" y="168275"/>
                  <a:pt x="239543" y="168275"/>
                </a:cubicBezTo>
                <a:cubicBezTo>
                  <a:pt x="239543" y="168275"/>
                  <a:pt x="239543" y="168275"/>
                  <a:pt x="216070" y="168275"/>
                </a:cubicBezTo>
                <a:cubicBezTo>
                  <a:pt x="212158" y="168275"/>
                  <a:pt x="209550" y="165629"/>
                  <a:pt x="209550" y="161661"/>
                </a:cubicBezTo>
                <a:cubicBezTo>
                  <a:pt x="209550" y="161661"/>
                  <a:pt x="209550" y="161661"/>
                  <a:pt x="209550" y="55827"/>
                </a:cubicBezTo>
                <a:cubicBezTo>
                  <a:pt x="209550" y="51858"/>
                  <a:pt x="212158" y="49212"/>
                  <a:pt x="216070" y="49212"/>
                </a:cubicBezTo>
                <a:close/>
                <a:moveTo>
                  <a:pt x="53428" y="22225"/>
                </a:moveTo>
                <a:cubicBezTo>
                  <a:pt x="52114" y="22225"/>
                  <a:pt x="50800" y="23541"/>
                  <a:pt x="50800" y="24858"/>
                </a:cubicBezTo>
                <a:lnTo>
                  <a:pt x="50800" y="182834"/>
                </a:lnTo>
                <a:cubicBezTo>
                  <a:pt x="50800" y="184150"/>
                  <a:pt x="52114" y="184150"/>
                  <a:pt x="53428" y="184150"/>
                </a:cubicBezTo>
                <a:cubicBezTo>
                  <a:pt x="53428" y="184150"/>
                  <a:pt x="53428" y="184150"/>
                  <a:pt x="284710" y="184150"/>
                </a:cubicBezTo>
                <a:cubicBezTo>
                  <a:pt x="286024" y="184150"/>
                  <a:pt x="287338" y="184150"/>
                  <a:pt x="287338" y="182834"/>
                </a:cubicBezTo>
                <a:cubicBezTo>
                  <a:pt x="287338" y="182834"/>
                  <a:pt x="287338" y="182834"/>
                  <a:pt x="287338" y="24858"/>
                </a:cubicBezTo>
                <a:cubicBezTo>
                  <a:pt x="287338" y="23541"/>
                  <a:pt x="286024" y="22225"/>
                  <a:pt x="284710" y="22225"/>
                </a:cubicBezTo>
                <a:cubicBezTo>
                  <a:pt x="284710" y="22225"/>
                  <a:pt x="284710" y="22225"/>
                  <a:pt x="53428" y="22225"/>
                </a:cubicBezTo>
                <a:close/>
                <a:moveTo>
                  <a:pt x="53663" y="0"/>
                </a:moveTo>
                <a:cubicBezTo>
                  <a:pt x="53663" y="0"/>
                  <a:pt x="53663" y="0"/>
                  <a:pt x="286062" y="0"/>
                </a:cubicBezTo>
                <a:cubicBezTo>
                  <a:pt x="300587" y="0"/>
                  <a:pt x="311150" y="10530"/>
                  <a:pt x="311150" y="25008"/>
                </a:cubicBezTo>
                <a:cubicBezTo>
                  <a:pt x="311150" y="25008"/>
                  <a:pt x="311150" y="25008"/>
                  <a:pt x="311150" y="182955"/>
                </a:cubicBezTo>
                <a:cubicBezTo>
                  <a:pt x="311150" y="196117"/>
                  <a:pt x="300587" y="207963"/>
                  <a:pt x="286062" y="207963"/>
                </a:cubicBezTo>
                <a:cubicBezTo>
                  <a:pt x="286062" y="207963"/>
                  <a:pt x="286062" y="207963"/>
                  <a:pt x="53663" y="207963"/>
                </a:cubicBezTo>
                <a:cubicBezTo>
                  <a:pt x="39138" y="207963"/>
                  <a:pt x="28575" y="196117"/>
                  <a:pt x="28575" y="182955"/>
                </a:cubicBezTo>
                <a:cubicBezTo>
                  <a:pt x="28575" y="182955"/>
                  <a:pt x="28575" y="182955"/>
                  <a:pt x="28575" y="25008"/>
                </a:cubicBezTo>
                <a:cubicBezTo>
                  <a:pt x="28575" y="10530"/>
                  <a:pt x="39138" y="0"/>
                  <a:pt x="5366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20000"/>
              </a:lnSpc>
            </a:pPr>
            <a:endParaRPr>
              <a:cs typeface="+mn-ea"/>
              <a:sym typeface="+mn-lt"/>
            </a:endParaRPr>
          </a:p>
        </p:txBody>
      </p:sp>
      <p:sp>
        <p:nvSpPr>
          <p:cNvPr id="375" name="ïṩļiḋe"/>
          <p:cNvSpPr/>
          <p:nvPr/>
        </p:nvSpPr>
        <p:spPr>
          <a:xfrm>
            <a:off x="4614651" y="4445291"/>
            <a:ext cx="395809" cy="293604"/>
          </a:xfrm>
          <a:custGeom>
            <a:avLst/>
            <a:gdLst>
              <a:gd name="connsiteX0" fmla="*/ 9246 w 338138"/>
              <a:gd name="connsiteY0" fmla="*/ 217487 h 250825"/>
              <a:gd name="connsiteX1" fmla="*/ 328892 w 338138"/>
              <a:gd name="connsiteY1" fmla="*/ 217487 h 250825"/>
              <a:gd name="connsiteX2" fmla="*/ 338138 w 338138"/>
              <a:gd name="connsiteY2" fmla="*/ 226822 h 250825"/>
              <a:gd name="connsiteX3" fmla="*/ 314363 w 338138"/>
              <a:gd name="connsiteY3" fmla="*/ 250825 h 250825"/>
              <a:gd name="connsiteX4" fmla="*/ 23775 w 338138"/>
              <a:gd name="connsiteY4" fmla="*/ 250825 h 250825"/>
              <a:gd name="connsiteX5" fmla="*/ 0 w 338138"/>
              <a:gd name="connsiteY5" fmla="*/ 226822 h 250825"/>
              <a:gd name="connsiteX6" fmla="*/ 9246 w 338138"/>
              <a:gd name="connsiteY6" fmla="*/ 217487 h 250825"/>
              <a:gd name="connsiteX7" fmla="*/ 100182 w 338138"/>
              <a:gd name="connsiteY7" fmla="*/ 100012 h 250825"/>
              <a:gd name="connsiteX8" fmla="*/ 123655 w 338138"/>
              <a:gd name="connsiteY8" fmla="*/ 100012 h 250825"/>
              <a:gd name="connsiteX9" fmla="*/ 130175 w 338138"/>
              <a:gd name="connsiteY9" fmla="*/ 106705 h 250825"/>
              <a:gd name="connsiteX10" fmla="*/ 130175 w 338138"/>
              <a:gd name="connsiteY10" fmla="*/ 161583 h 250825"/>
              <a:gd name="connsiteX11" fmla="*/ 123655 w 338138"/>
              <a:gd name="connsiteY11" fmla="*/ 168275 h 250825"/>
              <a:gd name="connsiteX12" fmla="*/ 100182 w 338138"/>
              <a:gd name="connsiteY12" fmla="*/ 168275 h 250825"/>
              <a:gd name="connsiteX13" fmla="*/ 93662 w 338138"/>
              <a:gd name="connsiteY13" fmla="*/ 161583 h 250825"/>
              <a:gd name="connsiteX14" fmla="*/ 93662 w 338138"/>
              <a:gd name="connsiteY14" fmla="*/ 106705 h 250825"/>
              <a:gd name="connsiteX15" fmla="*/ 100182 w 338138"/>
              <a:gd name="connsiteY15" fmla="*/ 100012 h 250825"/>
              <a:gd name="connsiteX16" fmla="*/ 157332 w 338138"/>
              <a:gd name="connsiteY16" fmla="*/ 77787 h 250825"/>
              <a:gd name="connsiteX17" fmla="*/ 180805 w 338138"/>
              <a:gd name="connsiteY17" fmla="*/ 77787 h 250825"/>
              <a:gd name="connsiteX18" fmla="*/ 187325 w 338138"/>
              <a:gd name="connsiteY18" fmla="*/ 84441 h 250825"/>
              <a:gd name="connsiteX19" fmla="*/ 187325 w 338138"/>
              <a:gd name="connsiteY19" fmla="*/ 161622 h 250825"/>
              <a:gd name="connsiteX20" fmla="*/ 180805 w 338138"/>
              <a:gd name="connsiteY20" fmla="*/ 168275 h 250825"/>
              <a:gd name="connsiteX21" fmla="*/ 157332 w 338138"/>
              <a:gd name="connsiteY21" fmla="*/ 168275 h 250825"/>
              <a:gd name="connsiteX22" fmla="*/ 150812 w 338138"/>
              <a:gd name="connsiteY22" fmla="*/ 161622 h 250825"/>
              <a:gd name="connsiteX23" fmla="*/ 150812 w 338138"/>
              <a:gd name="connsiteY23" fmla="*/ 84441 h 250825"/>
              <a:gd name="connsiteX24" fmla="*/ 157332 w 338138"/>
              <a:gd name="connsiteY24" fmla="*/ 77787 h 250825"/>
              <a:gd name="connsiteX25" fmla="*/ 216070 w 338138"/>
              <a:gd name="connsiteY25" fmla="*/ 49212 h 250825"/>
              <a:gd name="connsiteX26" fmla="*/ 239543 w 338138"/>
              <a:gd name="connsiteY26" fmla="*/ 49212 h 250825"/>
              <a:gd name="connsiteX27" fmla="*/ 246063 w 338138"/>
              <a:gd name="connsiteY27" fmla="*/ 55827 h 250825"/>
              <a:gd name="connsiteX28" fmla="*/ 246063 w 338138"/>
              <a:gd name="connsiteY28" fmla="*/ 161661 h 250825"/>
              <a:gd name="connsiteX29" fmla="*/ 239543 w 338138"/>
              <a:gd name="connsiteY29" fmla="*/ 168275 h 250825"/>
              <a:gd name="connsiteX30" fmla="*/ 216070 w 338138"/>
              <a:gd name="connsiteY30" fmla="*/ 168275 h 250825"/>
              <a:gd name="connsiteX31" fmla="*/ 209550 w 338138"/>
              <a:gd name="connsiteY31" fmla="*/ 161661 h 250825"/>
              <a:gd name="connsiteX32" fmla="*/ 209550 w 338138"/>
              <a:gd name="connsiteY32" fmla="*/ 55827 h 250825"/>
              <a:gd name="connsiteX33" fmla="*/ 216070 w 338138"/>
              <a:gd name="connsiteY33" fmla="*/ 49212 h 250825"/>
              <a:gd name="connsiteX34" fmla="*/ 53428 w 338138"/>
              <a:gd name="connsiteY34" fmla="*/ 22225 h 250825"/>
              <a:gd name="connsiteX35" fmla="*/ 50800 w 338138"/>
              <a:gd name="connsiteY35" fmla="*/ 24858 h 250825"/>
              <a:gd name="connsiteX36" fmla="*/ 50800 w 338138"/>
              <a:gd name="connsiteY36" fmla="*/ 182834 h 250825"/>
              <a:gd name="connsiteX37" fmla="*/ 53428 w 338138"/>
              <a:gd name="connsiteY37" fmla="*/ 184150 h 250825"/>
              <a:gd name="connsiteX38" fmla="*/ 284710 w 338138"/>
              <a:gd name="connsiteY38" fmla="*/ 184150 h 250825"/>
              <a:gd name="connsiteX39" fmla="*/ 287338 w 338138"/>
              <a:gd name="connsiteY39" fmla="*/ 182834 h 250825"/>
              <a:gd name="connsiteX40" fmla="*/ 287338 w 338138"/>
              <a:gd name="connsiteY40" fmla="*/ 24858 h 250825"/>
              <a:gd name="connsiteX41" fmla="*/ 284710 w 338138"/>
              <a:gd name="connsiteY41" fmla="*/ 22225 h 250825"/>
              <a:gd name="connsiteX42" fmla="*/ 53428 w 338138"/>
              <a:gd name="connsiteY42" fmla="*/ 22225 h 250825"/>
              <a:gd name="connsiteX43" fmla="*/ 53663 w 338138"/>
              <a:gd name="connsiteY43" fmla="*/ 0 h 250825"/>
              <a:gd name="connsiteX44" fmla="*/ 286062 w 338138"/>
              <a:gd name="connsiteY44" fmla="*/ 0 h 250825"/>
              <a:gd name="connsiteX45" fmla="*/ 311150 w 338138"/>
              <a:gd name="connsiteY45" fmla="*/ 25008 h 250825"/>
              <a:gd name="connsiteX46" fmla="*/ 311150 w 338138"/>
              <a:gd name="connsiteY46" fmla="*/ 182955 h 250825"/>
              <a:gd name="connsiteX47" fmla="*/ 286062 w 338138"/>
              <a:gd name="connsiteY47" fmla="*/ 207963 h 250825"/>
              <a:gd name="connsiteX48" fmla="*/ 53663 w 338138"/>
              <a:gd name="connsiteY48" fmla="*/ 207963 h 250825"/>
              <a:gd name="connsiteX49" fmla="*/ 28575 w 338138"/>
              <a:gd name="connsiteY49" fmla="*/ 182955 h 250825"/>
              <a:gd name="connsiteX50" fmla="*/ 28575 w 338138"/>
              <a:gd name="connsiteY50" fmla="*/ 25008 h 250825"/>
              <a:gd name="connsiteX51" fmla="*/ 53663 w 338138"/>
              <a:gd name="connsiteY51" fmla="*/ 0 h 25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8138" h="250825">
                <a:moveTo>
                  <a:pt x="9246" y="217487"/>
                </a:moveTo>
                <a:cubicBezTo>
                  <a:pt x="9246" y="217487"/>
                  <a:pt x="9246" y="217487"/>
                  <a:pt x="328892" y="217487"/>
                </a:cubicBezTo>
                <a:cubicBezTo>
                  <a:pt x="334176" y="217487"/>
                  <a:pt x="338138" y="221488"/>
                  <a:pt x="338138" y="226822"/>
                </a:cubicBezTo>
                <a:cubicBezTo>
                  <a:pt x="338138" y="240157"/>
                  <a:pt x="327571" y="250825"/>
                  <a:pt x="314363" y="250825"/>
                </a:cubicBezTo>
                <a:cubicBezTo>
                  <a:pt x="314363" y="250825"/>
                  <a:pt x="314363" y="250825"/>
                  <a:pt x="23775" y="250825"/>
                </a:cubicBezTo>
                <a:cubicBezTo>
                  <a:pt x="10567" y="250825"/>
                  <a:pt x="0" y="240157"/>
                  <a:pt x="0" y="226822"/>
                </a:cubicBezTo>
                <a:cubicBezTo>
                  <a:pt x="0" y="221488"/>
                  <a:pt x="3962" y="217487"/>
                  <a:pt x="9246" y="217487"/>
                </a:cubicBezTo>
                <a:close/>
                <a:moveTo>
                  <a:pt x="100182" y="100012"/>
                </a:moveTo>
                <a:cubicBezTo>
                  <a:pt x="100182" y="100012"/>
                  <a:pt x="100182" y="100012"/>
                  <a:pt x="123655" y="100012"/>
                </a:cubicBezTo>
                <a:cubicBezTo>
                  <a:pt x="127567" y="100012"/>
                  <a:pt x="130175" y="102689"/>
                  <a:pt x="130175" y="106705"/>
                </a:cubicBezTo>
                <a:cubicBezTo>
                  <a:pt x="130175" y="106705"/>
                  <a:pt x="130175" y="106705"/>
                  <a:pt x="130175" y="161583"/>
                </a:cubicBezTo>
                <a:cubicBezTo>
                  <a:pt x="130175" y="165598"/>
                  <a:pt x="127567" y="168275"/>
                  <a:pt x="123655" y="168275"/>
                </a:cubicBezTo>
                <a:cubicBezTo>
                  <a:pt x="123655" y="168275"/>
                  <a:pt x="123655" y="168275"/>
                  <a:pt x="100182" y="168275"/>
                </a:cubicBezTo>
                <a:cubicBezTo>
                  <a:pt x="96270" y="168275"/>
                  <a:pt x="93662" y="165598"/>
                  <a:pt x="93662" y="161583"/>
                </a:cubicBezTo>
                <a:cubicBezTo>
                  <a:pt x="93662" y="161583"/>
                  <a:pt x="93662" y="161583"/>
                  <a:pt x="93662" y="106705"/>
                </a:cubicBezTo>
                <a:cubicBezTo>
                  <a:pt x="93662" y="102689"/>
                  <a:pt x="96270" y="100012"/>
                  <a:pt x="100182" y="100012"/>
                </a:cubicBezTo>
                <a:close/>
                <a:moveTo>
                  <a:pt x="157332" y="77787"/>
                </a:moveTo>
                <a:cubicBezTo>
                  <a:pt x="157332" y="77787"/>
                  <a:pt x="157332" y="77787"/>
                  <a:pt x="180805" y="77787"/>
                </a:cubicBezTo>
                <a:cubicBezTo>
                  <a:pt x="184717" y="77787"/>
                  <a:pt x="187325" y="81779"/>
                  <a:pt x="187325" y="84441"/>
                </a:cubicBezTo>
                <a:cubicBezTo>
                  <a:pt x="187325" y="84441"/>
                  <a:pt x="187325" y="84441"/>
                  <a:pt x="187325" y="161622"/>
                </a:cubicBezTo>
                <a:cubicBezTo>
                  <a:pt x="187325" y="165614"/>
                  <a:pt x="184717" y="168275"/>
                  <a:pt x="180805" y="168275"/>
                </a:cubicBezTo>
                <a:cubicBezTo>
                  <a:pt x="180805" y="168275"/>
                  <a:pt x="180805" y="168275"/>
                  <a:pt x="157332" y="168275"/>
                </a:cubicBezTo>
                <a:cubicBezTo>
                  <a:pt x="153420" y="168275"/>
                  <a:pt x="150812" y="165614"/>
                  <a:pt x="150812" y="161622"/>
                </a:cubicBezTo>
                <a:cubicBezTo>
                  <a:pt x="150812" y="161622"/>
                  <a:pt x="150812" y="161622"/>
                  <a:pt x="150812" y="84441"/>
                </a:cubicBezTo>
                <a:cubicBezTo>
                  <a:pt x="150812" y="81779"/>
                  <a:pt x="153420" y="77787"/>
                  <a:pt x="157332" y="77787"/>
                </a:cubicBezTo>
                <a:close/>
                <a:moveTo>
                  <a:pt x="216070" y="49212"/>
                </a:moveTo>
                <a:cubicBezTo>
                  <a:pt x="216070" y="49212"/>
                  <a:pt x="216070" y="49212"/>
                  <a:pt x="239543" y="49212"/>
                </a:cubicBezTo>
                <a:cubicBezTo>
                  <a:pt x="243455" y="49212"/>
                  <a:pt x="246063" y="51858"/>
                  <a:pt x="246063" y="55827"/>
                </a:cubicBezTo>
                <a:cubicBezTo>
                  <a:pt x="246063" y="55827"/>
                  <a:pt x="246063" y="55827"/>
                  <a:pt x="246063" y="161661"/>
                </a:cubicBezTo>
                <a:cubicBezTo>
                  <a:pt x="246063" y="165629"/>
                  <a:pt x="243455" y="168275"/>
                  <a:pt x="239543" y="168275"/>
                </a:cubicBezTo>
                <a:cubicBezTo>
                  <a:pt x="239543" y="168275"/>
                  <a:pt x="239543" y="168275"/>
                  <a:pt x="216070" y="168275"/>
                </a:cubicBezTo>
                <a:cubicBezTo>
                  <a:pt x="212158" y="168275"/>
                  <a:pt x="209550" y="165629"/>
                  <a:pt x="209550" y="161661"/>
                </a:cubicBezTo>
                <a:cubicBezTo>
                  <a:pt x="209550" y="161661"/>
                  <a:pt x="209550" y="161661"/>
                  <a:pt x="209550" y="55827"/>
                </a:cubicBezTo>
                <a:cubicBezTo>
                  <a:pt x="209550" y="51858"/>
                  <a:pt x="212158" y="49212"/>
                  <a:pt x="216070" y="49212"/>
                </a:cubicBezTo>
                <a:close/>
                <a:moveTo>
                  <a:pt x="53428" y="22225"/>
                </a:moveTo>
                <a:cubicBezTo>
                  <a:pt x="52114" y="22225"/>
                  <a:pt x="50800" y="23541"/>
                  <a:pt x="50800" y="24858"/>
                </a:cubicBezTo>
                <a:lnTo>
                  <a:pt x="50800" y="182834"/>
                </a:lnTo>
                <a:cubicBezTo>
                  <a:pt x="50800" y="184150"/>
                  <a:pt x="52114" y="184150"/>
                  <a:pt x="53428" y="184150"/>
                </a:cubicBezTo>
                <a:cubicBezTo>
                  <a:pt x="53428" y="184150"/>
                  <a:pt x="53428" y="184150"/>
                  <a:pt x="284710" y="184150"/>
                </a:cubicBezTo>
                <a:cubicBezTo>
                  <a:pt x="286024" y="184150"/>
                  <a:pt x="287338" y="184150"/>
                  <a:pt x="287338" y="182834"/>
                </a:cubicBezTo>
                <a:cubicBezTo>
                  <a:pt x="287338" y="182834"/>
                  <a:pt x="287338" y="182834"/>
                  <a:pt x="287338" y="24858"/>
                </a:cubicBezTo>
                <a:cubicBezTo>
                  <a:pt x="287338" y="23541"/>
                  <a:pt x="286024" y="22225"/>
                  <a:pt x="284710" y="22225"/>
                </a:cubicBezTo>
                <a:cubicBezTo>
                  <a:pt x="284710" y="22225"/>
                  <a:pt x="284710" y="22225"/>
                  <a:pt x="53428" y="22225"/>
                </a:cubicBezTo>
                <a:close/>
                <a:moveTo>
                  <a:pt x="53663" y="0"/>
                </a:moveTo>
                <a:cubicBezTo>
                  <a:pt x="53663" y="0"/>
                  <a:pt x="53663" y="0"/>
                  <a:pt x="286062" y="0"/>
                </a:cubicBezTo>
                <a:cubicBezTo>
                  <a:pt x="300587" y="0"/>
                  <a:pt x="311150" y="10530"/>
                  <a:pt x="311150" y="25008"/>
                </a:cubicBezTo>
                <a:cubicBezTo>
                  <a:pt x="311150" y="25008"/>
                  <a:pt x="311150" y="25008"/>
                  <a:pt x="311150" y="182955"/>
                </a:cubicBezTo>
                <a:cubicBezTo>
                  <a:pt x="311150" y="196117"/>
                  <a:pt x="300587" y="207963"/>
                  <a:pt x="286062" y="207963"/>
                </a:cubicBezTo>
                <a:cubicBezTo>
                  <a:pt x="286062" y="207963"/>
                  <a:pt x="286062" y="207963"/>
                  <a:pt x="53663" y="207963"/>
                </a:cubicBezTo>
                <a:cubicBezTo>
                  <a:pt x="39138" y="207963"/>
                  <a:pt x="28575" y="196117"/>
                  <a:pt x="28575" y="182955"/>
                </a:cubicBezTo>
                <a:cubicBezTo>
                  <a:pt x="28575" y="182955"/>
                  <a:pt x="28575" y="182955"/>
                  <a:pt x="28575" y="25008"/>
                </a:cubicBezTo>
                <a:cubicBezTo>
                  <a:pt x="28575" y="10530"/>
                  <a:pt x="39138" y="0"/>
                  <a:pt x="5366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20000"/>
              </a:lnSpc>
            </a:pPr>
            <a:endParaRPr>
              <a:cs typeface="+mn-ea"/>
              <a:sym typeface="+mn-lt"/>
            </a:endParaRPr>
          </a:p>
        </p:txBody>
      </p:sp>
      <p:sp>
        <p:nvSpPr>
          <p:cNvPr id="376" name="ïṡľídé"/>
          <p:cNvSpPr/>
          <p:nvPr/>
        </p:nvSpPr>
        <p:spPr>
          <a:xfrm>
            <a:off x="4744539" y="2343613"/>
            <a:ext cx="395809" cy="293604"/>
          </a:xfrm>
          <a:custGeom>
            <a:avLst/>
            <a:gdLst>
              <a:gd name="connsiteX0" fmla="*/ 9246 w 338138"/>
              <a:gd name="connsiteY0" fmla="*/ 217487 h 250825"/>
              <a:gd name="connsiteX1" fmla="*/ 328892 w 338138"/>
              <a:gd name="connsiteY1" fmla="*/ 217487 h 250825"/>
              <a:gd name="connsiteX2" fmla="*/ 338138 w 338138"/>
              <a:gd name="connsiteY2" fmla="*/ 226822 h 250825"/>
              <a:gd name="connsiteX3" fmla="*/ 314363 w 338138"/>
              <a:gd name="connsiteY3" fmla="*/ 250825 h 250825"/>
              <a:gd name="connsiteX4" fmla="*/ 23775 w 338138"/>
              <a:gd name="connsiteY4" fmla="*/ 250825 h 250825"/>
              <a:gd name="connsiteX5" fmla="*/ 0 w 338138"/>
              <a:gd name="connsiteY5" fmla="*/ 226822 h 250825"/>
              <a:gd name="connsiteX6" fmla="*/ 9246 w 338138"/>
              <a:gd name="connsiteY6" fmla="*/ 217487 h 250825"/>
              <a:gd name="connsiteX7" fmla="*/ 100182 w 338138"/>
              <a:gd name="connsiteY7" fmla="*/ 100012 h 250825"/>
              <a:gd name="connsiteX8" fmla="*/ 123655 w 338138"/>
              <a:gd name="connsiteY8" fmla="*/ 100012 h 250825"/>
              <a:gd name="connsiteX9" fmla="*/ 130175 w 338138"/>
              <a:gd name="connsiteY9" fmla="*/ 106705 h 250825"/>
              <a:gd name="connsiteX10" fmla="*/ 130175 w 338138"/>
              <a:gd name="connsiteY10" fmla="*/ 161583 h 250825"/>
              <a:gd name="connsiteX11" fmla="*/ 123655 w 338138"/>
              <a:gd name="connsiteY11" fmla="*/ 168275 h 250825"/>
              <a:gd name="connsiteX12" fmla="*/ 100182 w 338138"/>
              <a:gd name="connsiteY12" fmla="*/ 168275 h 250825"/>
              <a:gd name="connsiteX13" fmla="*/ 93662 w 338138"/>
              <a:gd name="connsiteY13" fmla="*/ 161583 h 250825"/>
              <a:gd name="connsiteX14" fmla="*/ 93662 w 338138"/>
              <a:gd name="connsiteY14" fmla="*/ 106705 h 250825"/>
              <a:gd name="connsiteX15" fmla="*/ 100182 w 338138"/>
              <a:gd name="connsiteY15" fmla="*/ 100012 h 250825"/>
              <a:gd name="connsiteX16" fmla="*/ 157332 w 338138"/>
              <a:gd name="connsiteY16" fmla="*/ 77787 h 250825"/>
              <a:gd name="connsiteX17" fmla="*/ 180805 w 338138"/>
              <a:gd name="connsiteY17" fmla="*/ 77787 h 250825"/>
              <a:gd name="connsiteX18" fmla="*/ 187325 w 338138"/>
              <a:gd name="connsiteY18" fmla="*/ 84441 h 250825"/>
              <a:gd name="connsiteX19" fmla="*/ 187325 w 338138"/>
              <a:gd name="connsiteY19" fmla="*/ 161622 h 250825"/>
              <a:gd name="connsiteX20" fmla="*/ 180805 w 338138"/>
              <a:gd name="connsiteY20" fmla="*/ 168275 h 250825"/>
              <a:gd name="connsiteX21" fmla="*/ 157332 w 338138"/>
              <a:gd name="connsiteY21" fmla="*/ 168275 h 250825"/>
              <a:gd name="connsiteX22" fmla="*/ 150812 w 338138"/>
              <a:gd name="connsiteY22" fmla="*/ 161622 h 250825"/>
              <a:gd name="connsiteX23" fmla="*/ 150812 w 338138"/>
              <a:gd name="connsiteY23" fmla="*/ 84441 h 250825"/>
              <a:gd name="connsiteX24" fmla="*/ 157332 w 338138"/>
              <a:gd name="connsiteY24" fmla="*/ 77787 h 250825"/>
              <a:gd name="connsiteX25" fmla="*/ 216070 w 338138"/>
              <a:gd name="connsiteY25" fmla="*/ 49212 h 250825"/>
              <a:gd name="connsiteX26" fmla="*/ 239543 w 338138"/>
              <a:gd name="connsiteY26" fmla="*/ 49212 h 250825"/>
              <a:gd name="connsiteX27" fmla="*/ 246063 w 338138"/>
              <a:gd name="connsiteY27" fmla="*/ 55827 h 250825"/>
              <a:gd name="connsiteX28" fmla="*/ 246063 w 338138"/>
              <a:gd name="connsiteY28" fmla="*/ 161661 h 250825"/>
              <a:gd name="connsiteX29" fmla="*/ 239543 w 338138"/>
              <a:gd name="connsiteY29" fmla="*/ 168275 h 250825"/>
              <a:gd name="connsiteX30" fmla="*/ 216070 w 338138"/>
              <a:gd name="connsiteY30" fmla="*/ 168275 h 250825"/>
              <a:gd name="connsiteX31" fmla="*/ 209550 w 338138"/>
              <a:gd name="connsiteY31" fmla="*/ 161661 h 250825"/>
              <a:gd name="connsiteX32" fmla="*/ 209550 w 338138"/>
              <a:gd name="connsiteY32" fmla="*/ 55827 h 250825"/>
              <a:gd name="connsiteX33" fmla="*/ 216070 w 338138"/>
              <a:gd name="connsiteY33" fmla="*/ 49212 h 250825"/>
              <a:gd name="connsiteX34" fmla="*/ 53428 w 338138"/>
              <a:gd name="connsiteY34" fmla="*/ 22225 h 250825"/>
              <a:gd name="connsiteX35" fmla="*/ 50800 w 338138"/>
              <a:gd name="connsiteY35" fmla="*/ 24858 h 250825"/>
              <a:gd name="connsiteX36" fmla="*/ 50800 w 338138"/>
              <a:gd name="connsiteY36" fmla="*/ 182834 h 250825"/>
              <a:gd name="connsiteX37" fmla="*/ 53428 w 338138"/>
              <a:gd name="connsiteY37" fmla="*/ 184150 h 250825"/>
              <a:gd name="connsiteX38" fmla="*/ 284710 w 338138"/>
              <a:gd name="connsiteY38" fmla="*/ 184150 h 250825"/>
              <a:gd name="connsiteX39" fmla="*/ 287338 w 338138"/>
              <a:gd name="connsiteY39" fmla="*/ 182834 h 250825"/>
              <a:gd name="connsiteX40" fmla="*/ 287338 w 338138"/>
              <a:gd name="connsiteY40" fmla="*/ 24858 h 250825"/>
              <a:gd name="connsiteX41" fmla="*/ 284710 w 338138"/>
              <a:gd name="connsiteY41" fmla="*/ 22225 h 250825"/>
              <a:gd name="connsiteX42" fmla="*/ 53428 w 338138"/>
              <a:gd name="connsiteY42" fmla="*/ 22225 h 250825"/>
              <a:gd name="connsiteX43" fmla="*/ 53663 w 338138"/>
              <a:gd name="connsiteY43" fmla="*/ 0 h 250825"/>
              <a:gd name="connsiteX44" fmla="*/ 286062 w 338138"/>
              <a:gd name="connsiteY44" fmla="*/ 0 h 250825"/>
              <a:gd name="connsiteX45" fmla="*/ 311150 w 338138"/>
              <a:gd name="connsiteY45" fmla="*/ 25008 h 250825"/>
              <a:gd name="connsiteX46" fmla="*/ 311150 w 338138"/>
              <a:gd name="connsiteY46" fmla="*/ 182955 h 250825"/>
              <a:gd name="connsiteX47" fmla="*/ 286062 w 338138"/>
              <a:gd name="connsiteY47" fmla="*/ 207963 h 250825"/>
              <a:gd name="connsiteX48" fmla="*/ 53663 w 338138"/>
              <a:gd name="connsiteY48" fmla="*/ 207963 h 250825"/>
              <a:gd name="connsiteX49" fmla="*/ 28575 w 338138"/>
              <a:gd name="connsiteY49" fmla="*/ 182955 h 250825"/>
              <a:gd name="connsiteX50" fmla="*/ 28575 w 338138"/>
              <a:gd name="connsiteY50" fmla="*/ 25008 h 250825"/>
              <a:gd name="connsiteX51" fmla="*/ 53663 w 338138"/>
              <a:gd name="connsiteY51" fmla="*/ 0 h 25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8138" h="250825">
                <a:moveTo>
                  <a:pt x="9246" y="217487"/>
                </a:moveTo>
                <a:cubicBezTo>
                  <a:pt x="9246" y="217487"/>
                  <a:pt x="9246" y="217487"/>
                  <a:pt x="328892" y="217487"/>
                </a:cubicBezTo>
                <a:cubicBezTo>
                  <a:pt x="334176" y="217487"/>
                  <a:pt x="338138" y="221488"/>
                  <a:pt x="338138" y="226822"/>
                </a:cubicBezTo>
                <a:cubicBezTo>
                  <a:pt x="338138" y="240157"/>
                  <a:pt x="327571" y="250825"/>
                  <a:pt x="314363" y="250825"/>
                </a:cubicBezTo>
                <a:cubicBezTo>
                  <a:pt x="314363" y="250825"/>
                  <a:pt x="314363" y="250825"/>
                  <a:pt x="23775" y="250825"/>
                </a:cubicBezTo>
                <a:cubicBezTo>
                  <a:pt x="10567" y="250825"/>
                  <a:pt x="0" y="240157"/>
                  <a:pt x="0" y="226822"/>
                </a:cubicBezTo>
                <a:cubicBezTo>
                  <a:pt x="0" y="221488"/>
                  <a:pt x="3962" y="217487"/>
                  <a:pt x="9246" y="217487"/>
                </a:cubicBezTo>
                <a:close/>
                <a:moveTo>
                  <a:pt x="100182" y="100012"/>
                </a:moveTo>
                <a:cubicBezTo>
                  <a:pt x="100182" y="100012"/>
                  <a:pt x="100182" y="100012"/>
                  <a:pt x="123655" y="100012"/>
                </a:cubicBezTo>
                <a:cubicBezTo>
                  <a:pt x="127567" y="100012"/>
                  <a:pt x="130175" y="102689"/>
                  <a:pt x="130175" y="106705"/>
                </a:cubicBezTo>
                <a:cubicBezTo>
                  <a:pt x="130175" y="106705"/>
                  <a:pt x="130175" y="106705"/>
                  <a:pt x="130175" y="161583"/>
                </a:cubicBezTo>
                <a:cubicBezTo>
                  <a:pt x="130175" y="165598"/>
                  <a:pt x="127567" y="168275"/>
                  <a:pt x="123655" y="168275"/>
                </a:cubicBezTo>
                <a:cubicBezTo>
                  <a:pt x="123655" y="168275"/>
                  <a:pt x="123655" y="168275"/>
                  <a:pt x="100182" y="168275"/>
                </a:cubicBezTo>
                <a:cubicBezTo>
                  <a:pt x="96270" y="168275"/>
                  <a:pt x="93662" y="165598"/>
                  <a:pt x="93662" y="161583"/>
                </a:cubicBezTo>
                <a:cubicBezTo>
                  <a:pt x="93662" y="161583"/>
                  <a:pt x="93662" y="161583"/>
                  <a:pt x="93662" y="106705"/>
                </a:cubicBezTo>
                <a:cubicBezTo>
                  <a:pt x="93662" y="102689"/>
                  <a:pt x="96270" y="100012"/>
                  <a:pt x="100182" y="100012"/>
                </a:cubicBezTo>
                <a:close/>
                <a:moveTo>
                  <a:pt x="157332" y="77787"/>
                </a:moveTo>
                <a:cubicBezTo>
                  <a:pt x="157332" y="77787"/>
                  <a:pt x="157332" y="77787"/>
                  <a:pt x="180805" y="77787"/>
                </a:cubicBezTo>
                <a:cubicBezTo>
                  <a:pt x="184717" y="77787"/>
                  <a:pt x="187325" y="81779"/>
                  <a:pt x="187325" y="84441"/>
                </a:cubicBezTo>
                <a:cubicBezTo>
                  <a:pt x="187325" y="84441"/>
                  <a:pt x="187325" y="84441"/>
                  <a:pt x="187325" y="161622"/>
                </a:cubicBezTo>
                <a:cubicBezTo>
                  <a:pt x="187325" y="165614"/>
                  <a:pt x="184717" y="168275"/>
                  <a:pt x="180805" y="168275"/>
                </a:cubicBezTo>
                <a:cubicBezTo>
                  <a:pt x="180805" y="168275"/>
                  <a:pt x="180805" y="168275"/>
                  <a:pt x="157332" y="168275"/>
                </a:cubicBezTo>
                <a:cubicBezTo>
                  <a:pt x="153420" y="168275"/>
                  <a:pt x="150812" y="165614"/>
                  <a:pt x="150812" y="161622"/>
                </a:cubicBezTo>
                <a:cubicBezTo>
                  <a:pt x="150812" y="161622"/>
                  <a:pt x="150812" y="161622"/>
                  <a:pt x="150812" y="84441"/>
                </a:cubicBezTo>
                <a:cubicBezTo>
                  <a:pt x="150812" y="81779"/>
                  <a:pt x="153420" y="77787"/>
                  <a:pt x="157332" y="77787"/>
                </a:cubicBezTo>
                <a:close/>
                <a:moveTo>
                  <a:pt x="216070" y="49212"/>
                </a:moveTo>
                <a:cubicBezTo>
                  <a:pt x="216070" y="49212"/>
                  <a:pt x="216070" y="49212"/>
                  <a:pt x="239543" y="49212"/>
                </a:cubicBezTo>
                <a:cubicBezTo>
                  <a:pt x="243455" y="49212"/>
                  <a:pt x="246063" y="51858"/>
                  <a:pt x="246063" y="55827"/>
                </a:cubicBezTo>
                <a:cubicBezTo>
                  <a:pt x="246063" y="55827"/>
                  <a:pt x="246063" y="55827"/>
                  <a:pt x="246063" y="161661"/>
                </a:cubicBezTo>
                <a:cubicBezTo>
                  <a:pt x="246063" y="165629"/>
                  <a:pt x="243455" y="168275"/>
                  <a:pt x="239543" y="168275"/>
                </a:cubicBezTo>
                <a:cubicBezTo>
                  <a:pt x="239543" y="168275"/>
                  <a:pt x="239543" y="168275"/>
                  <a:pt x="216070" y="168275"/>
                </a:cubicBezTo>
                <a:cubicBezTo>
                  <a:pt x="212158" y="168275"/>
                  <a:pt x="209550" y="165629"/>
                  <a:pt x="209550" y="161661"/>
                </a:cubicBezTo>
                <a:cubicBezTo>
                  <a:pt x="209550" y="161661"/>
                  <a:pt x="209550" y="161661"/>
                  <a:pt x="209550" y="55827"/>
                </a:cubicBezTo>
                <a:cubicBezTo>
                  <a:pt x="209550" y="51858"/>
                  <a:pt x="212158" y="49212"/>
                  <a:pt x="216070" y="49212"/>
                </a:cubicBezTo>
                <a:close/>
                <a:moveTo>
                  <a:pt x="53428" y="22225"/>
                </a:moveTo>
                <a:cubicBezTo>
                  <a:pt x="52114" y="22225"/>
                  <a:pt x="50800" y="23541"/>
                  <a:pt x="50800" y="24858"/>
                </a:cubicBezTo>
                <a:lnTo>
                  <a:pt x="50800" y="182834"/>
                </a:lnTo>
                <a:cubicBezTo>
                  <a:pt x="50800" y="184150"/>
                  <a:pt x="52114" y="184150"/>
                  <a:pt x="53428" y="184150"/>
                </a:cubicBezTo>
                <a:cubicBezTo>
                  <a:pt x="53428" y="184150"/>
                  <a:pt x="53428" y="184150"/>
                  <a:pt x="284710" y="184150"/>
                </a:cubicBezTo>
                <a:cubicBezTo>
                  <a:pt x="286024" y="184150"/>
                  <a:pt x="287338" y="184150"/>
                  <a:pt x="287338" y="182834"/>
                </a:cubicBezTo>
                <a:cubicBezTo>
                  <a:pt x="287338" y="182834"/>
                  <a:pt x="287338" y="182834"/>
                  <a:pt x="287338" y="24858"/>
                </a:cubicBezTo>
                <a:cubicBezTo>
                  <a:pt x="287338" y="23541"/>
                  <a:pt x="286024" y="22225"/>
                  <a:pt x="284710" y="22225"/>
                </a:cubicBezTo>
                <a:cubicBezTo>
                  <a:pt x="284710" y="22225"/>
                  <a:pt x="284710" y="22225"/>
                  <a:pt x="53428" y="22225"/>
                </a:cubicBezTo>
                <a:close/>
                <a:moveTo>
                  <a:pt x="53663" y="0"/>
                </a:moveTo>
                <a:cubicBezTo>
                  <a:pt x="53663" y="0"/>
                  <a:pt x="53663" y="0"/>
                  <a:pt x="286062" y="0"/>
                </a:cubicBezTo>
                <a:cubicBezTo>
                  <a:pt x="300587" y="0"/>
                  <a:pt x="311150" y="10530"/>
                  <a:pt x="311150" y="25008"/>
                </a:cubicBezTo>
                <a:cubicBezTo>
                  <a:pt x="311150" y="25008"/>
                  <a:pt x="311150" y="25008"/>
                  <a:pt x="311150" y="182955"/>
                </a:cubicBezTo>
                <a:cubicBezTo>
                  <a:pt x="311150" y="196117"/>
                  <a:pt x="300587" y="207963"/>
                  <a:pt x="286062" y="207963"/>
                </a:cubicBezTo>
                <a:cubicBezTo>
                  <a:pt x="286062" y="207963"/>
                  <a:pt x="286062" y="207963"/>
                  <a:pt x="53663" y="207963"/>
                </a:cubicBezTo>
                <a:cubicBezTo>
                  <a:pt x="39138" y="207963"/>
                  <a:pt x="28575" y="196117"/>
                  <a:pt x="28575" y="182955"/>
                </a:cubicBezTo>
                <a:cubicBezTo>
                  <a:pt x="28575" y="182955"/>
                  <a:pt x="28575" y="182955"/>
                  <a:pt x="28575" y="25008"/>
                </a:cubicBezTo>
                <a:cubicBezTo>
                  <a:pt x="28575" y="10530"/>
                  <a:pt x="39138" y="0"/>
                  <a:pt x="5366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20000"/>
              </a:lnSpc>
            </a:pPr>
            <a:endParaRPr>
              <a:cs typeface="+mn-ea"/>
              <a:sym typeface="+mn-lt"/>
            </a:endParaRPr>
          </a:p>
        </p:txBody>
      </p:sp>
      <p:sp>
        <p:nvSpPr>
          <p:cNvPr id="378" name="íşḷiḋe"/>
          <p:cNvSpPr txBox="1"/>
          <p:nvPr/>
        </p:nvSpPr>
        <p:spPr>
          <a:xfrm>
            <a:off x="4949965" y="3229386"/>
            <a:ext cx="232116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b="1" dirty="0"/>
              <a:t>职场达人的</a:t>
            </a:r>
            <a:r>
              <a:rPr lang="zh-CN" altLang="en-US" b="1" dirty="0" smtClean="0"/>
              <a:t>剩余价值无法发挥</a:t>
            </a:r>
            <a:endParaRPr lang="zh-CN" altLang="en-US" b="1" dirty="0"/>
          </a:p>
        </p:txBody>
      </p:sp>
      <p:cxnSp>
        <p:nvCxnSpPr>
          <p:cNvPr id="47" name="直接连接符 46"/>
          <p:cNvCxnSpPr/>
          <p:nvPr/>
        </p:nvCxnSpPr>
        <p:spPr>
          <a:xfrm>
            <a:off x="1060044" y="3092377"/>
            <a:ext cx="3259337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矩形 4"/>
          <p:cNvSpPr/>
          <p:nvPr/>
        </p:nvSpPr>
        <p:spPr>
          <a:xfrm>
            <a:off x="4742488" y="3884802"/>
            <a:ext cx="278634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100" dirty="0">
                <a:solidFill>
                  <a:schemeClr val="bg2">
                    <a:lumMod val="50000"/>
                  </a:schemeClr>
                </a:solidFill>
              </a:rPr>
              <a:t>（在某一类岗位工作</a:t>
            </a:r>
            <a:r>
              <a:rPr lang="en-US" altLang="zh-CN" sz="1100" dirty="0">
                <a:solidFill>
                  <a:schemeClr val="bg2">
                    <a:lumMod val="50000"/>
                  </a:schemeClr>
                </a:solidFill>
              </a:rPr>
              <a:t>3-5</a:t>
            </a:r>
            <a:r>
              <a:rPr lang="zh-CN" altLang="en-US" sz="1100" dirty="0">
                <a:solidFill>
                  <a:schemeClr val="bg2">
                    <a:lumMod val="50000"/>
                  </a:schemeClr>
                </a:solidFill>
              </a:rPr>
              <a:t>年及以上的员工）</a:t>
            </a:r>
            <a:endParaRPr lang="zh-CN" altLang="en-US" sz="11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8" name="îs1îďè"/>
          <p:cNvSpPr txBox="1"/>
          <p:nvPr/>
        </p:nvSpPr>
        <p:spPr>
          <a:xfrm flipH="1">
            <a:off x="1194328" y="2163682"/>
            <a:ext cx="3463648" cy="922838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对于长时间处于本质工作的职场熟练工，已经对自己的价值感到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“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麻木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”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。但是对于想要去这个岗位的新人，是宝贵的财富。</a:t>
            </a:r>
            <a:endParaRPr lang="en-US" altLang="zh-CN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9" name="íṣlîḑe"/>
          <p:cNvSpPr/>
          <p:nvPr/>
        </p:nvSpPr>
        <p:spPr>
          <a:xfrm flipH="1">
            <a:off x="2926152" y="1756348"/>
            <a:ext cx="1833762" cy="357534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b="1" dirty="0"/>
              <a:t> </a:t>
            </a:r>
            <a:r>
              <a:rPr lang="zh-CN" altLang="en-US" b="1" dirty="0"/>
              <a:t>工作经验变现</a:t>
            </a:r>
            <a:endParaRPr lang="zh-CN" altLang="en-US" b="1" dirty="0"/>
          </a:p>
        </p:txBody>
      </p:sp>
      <p:sp>
        <p:nvSpPr>
          <p:cNvPr id="60" name="ïşļíḓê"/>
          <p:cNvSpPr/>
          <p:nvPr/>
        </p:nvSpPr>
        <p:spPr>
          <a:xfrm flipH="1">
            <a:off x="2668933" y="4357606"/>
            <a:ext cx="2679699" cy="357534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b="1" dirty="0">
                <a:solidFill>
                  <a:srgbClr val="FFC000"/>
                </a:solidFill>
              </a:rPr>
              <a:t>增加职业成就感</a:t>
            </a:r>
            <a:endParaRPr lang="zh-CN" altLang="en-US" b="1" dirty="0">
              <a:solidFill>
                <a:srgbClr val="FFC000"/>
              </a:solidFill>
            </a:endParaRPr>
          </a:p>
        </p:txBody>
      </p:sp>
      <p:sp>
        <p:nvSpPr>
          <p:cNvPr id="61" name="ïṩḻíḋé"/>
          <p:cNvSpPr txBox="1"/>
          <p:nvPr/>
        </p:nvSpPr>
        <p:spPr>
          <a:xfrm flipH="1">
            <a:off x="1194327" y="4718851"/>
            <a:ext cx="3351221" cy="973872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zh-CN" altLang="en-US" sz="1200" dirty="0">
                <a:solidFill>
                  <a:srgbClr val="E1A902"/>
                </a:solidFill>
              </a:rPr>
              <a:t>重复枯燥的劳动会使得自我认可感降低，如果有徒弟的鼓励和认可会大大的增强职业成就感。</a:t>
            </a:r>
            <a:endParaRPr lang="zh-CN" altLang="en-US" sz="1200" dirty="0">
              <a:solidFill>
                <a:srgbClr val="E1A902"/>
              </a:solidFill>
            </a:endParaRPr>
          </a:p>
        </p:txBody>
      </p:sp>
      <p:sp>
        <p:nvSpPr>
          <p:cNvPr id="62" name="ïṩḻíḋé"/>
          <p:cNvSpPr txBox="1"/>
          <p:nvPr/>
        </p:nvSpPr>
        <p:spPr>
          <a:xfrm flipH="1">
            <a:off x="7822635" y="4686564"/>
            <a:ext cx="3129997" cy="973872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030157"/>
                </a:solidFill>
              </a:rPr>
              <a:t>积累学徒、就是积累资源。将来是自己拓宽事业的基石。</a:t>
            </a:r>
            <a:endParaRPr lang="zh-CN" altLang="en-US" sz="1200" dirty="0">
              <a:solidFill>
                <a:srgbClr val="030157"/>
              </a:solidFill>
            </a:endParaRPr>
          </a:p>
        </p:txBody>
      </p:sp>
      <p:sp>
        <p:nvSpPr>
          <p:cNvPr id="63" name="íşľiḑe"/>
          <p:cNvSpPr/>
          <p:nvPr/>
        </p:nvSpPr>
        <p:spPr>
          <a:xfrm flipH="1">
            <a:off x="7822663" y="4329030"/>
            <a:ext cx="2679699" cy="357534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b="1" dirty="0">
                <a:solidFill>
                  <a:srgbClr val="1C24AA"/>
                </a:solidFill>
              </a:rPr>
              <a:t>建立自己的圈子</a:t>
            </a:r>
            <a:endParaRPr lang="zh-CN" altLang="en-US" b="1" dirty="0">
              <a:solidFill>
                <a:srgbClr val="1C24AA"/>
              </a:solidFill>
            </a:endParaRPr>
          </a:p>
        </p:txBody>
      </p:sp>
      <p:sp>
        <p:nvSpPr>
          <p:cNvPr id="64" name="íŝļidê"/>
          <p:cNvSpPr txBox="1"/>
          <p:nvPr/>
        </p:nvSpPr>
        <p:spPr>
          <a:xfrm flipH="1">
            <a:off x="7663121" y="2200396"/>
            <a:ext cx="2796185" cy="973872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DC6140"/>
                </a:solidFill>
              </a:rPr>
              <a:t>不用付出太多的劳动力，就能获取超越工作本身工资的回报。</a:t>
            </a:r>
            <a:endParaRPr lang="zh-CN" altLang="en-US" sz="1200" dirty="0">
              <a:solidFill>
                <a:srgbClr val="DC6140"/>
              </a:solidFill>
            </a:endParaRPr>
          </a:p>
        </p:txBody>
      </p:sp>
      <p:sp>
        <p:nvSpPr>
          <p:cNvPr id="65" name="iśľïďe"/>
          <p:cNvSpPr/>
          <p:nvPr/>
        </p:nvSpPr>
        <p:spPr>
          <a:xfrm flipH="1">
            <a:off x="7663123" y="1842861"/>
            <a:ext cx="2679700" cy="357534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b="1" dirty="0">
                <a:solidFill>
                  <a:srgbClr val="DC6140"/>
                </a:solidFill>
              </a:rPr>
              <a:t>业余时间充分利用</a:t>
            </a:r>
            <a:endParaRPr lang="zh-CN" altLang="en-US" b="1" dirty="0">
              <a:solidFill>
                <a:srgbClr val="DC6140"/>
              </a:solidFill>
            </a:endParaRPr>
          </a:p>
        </p:txBody>
      </p:sp>
      <p:cxnSp>
        <p:nvCxnSpPr>
          <p:cNvPr id="24" name="直接连接符 338"/>
          <p:cNvCxnSpPr/>
          <p:nvPr/>
        </p:nvCxnSpPr>
        <p:spPr>
          <a:xfrm>
            <a:off x="7897753" y="5351419"/>
            <a:ext cx="3259073" cy="16823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46"/>
          <p:cNvCxnSpPr/>
          <p:nvPr/>
        </p:nvCxnSpPr>
        <p:spPr>
          <a:xfrm>
            <a:off x="1194327" y="5370089"/>
            <a:ext cx="3259337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18346" y="-18826"/>
            <a:ext cx="10850563" cy="1028699"/>
          </a:xfrm>
        </p:spPr>
        <p:txBody>
          <a:bodyPr/>
          <a:lstStyle/>
          <a:p>
            <a:r>
              <a:rPr lang="zh-CN" altLang="en-US" dirty="0" smtClean="0"/>
              <a:t>市场痛点</a:t>
            </a:r>
            <a:endParaRPr lang="zh-CN" altLang="en-US" dirty="0"/>
          </a:p>
        </p:txBody>
      </p:sp>
      <p:grpSp>
        <p:nvGrpSpPr>
          <p:cNvPr id="5" name="27768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21463" y="1981812"/>
            <a:ext cx="10850563" cy="3657600"/>
            <a:chOff x="721463" y="1981812"/>
            <a:chExt cx="10850563" cy="3657600"/>
          </a:xfrm>
        </p:grpSpPr>
        <p:cxnSp>
          <p:nvCxnSpPr>
            <p:cNvPr id="6" name="直接连接符 5"/>
            <p:cNvCxnSpPr/>
            <p:nvPr/>
          </p:nvCxnSpPr>
          <p:spPr>
            <a:xfrm>
              <a:off x="721463" y="3204556"/>
              <a:ext cx="34734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ïŝlíḑe"/>
            <p:cNvSpPr/>
            <p:nvPr/>
          </p:nvSpPr>
          <p:spPr>
            <a:xfrm>
              <a:off x="4267200" y="1981812"/>
              <a:ext cx="1828800" cy="1828800"/>
            </a:xfrm>
            <a:custGeom>
              <a:avLst/>
              <a:gdLst>
                <a:gd name="connsiteX0" fmla="*/ 1828800 w 1828800"/>
                <a:gd name="connsiteY0" fmla="*/ 0 h 1828800"/>
                <a:gd name="connsiteX1" fmla="*/ 1828800 w 1828800"/>
                <a:gd name="connsiteY1" fmla="*/ 828410 h 1828800"/>
                <a:gd name="connsiteX2" fmla="*/ 828410 w 1828800"/>
                <a:gd name="connsiteY2" fmla="*/ 1828800 h 1828800"/>
                <a:gd name="connsiteX3" fmla="*/ 0 w 1828800"/>
                <a:gd name="connsiteY3" fmla="*/ 1828800 h 1828800"/>
                <a:gd name="connsiteX4" fmla="*/ 1828800 w 1828800"/>
                <a:gd name="connsiteY4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8800" h="1828800">
                  <a:moveTo>
                    <a:pt x="1828800" y="0"/>
                  </a:moveTo>
                  <a:lnTo>
                    <a:pt x="1828800" y="828410"/>
                  </a:lnTo>
                  <a:cubicBezTo>
                    <a:pt x="1276300" y="828410"/>
                    <a:pt x="828410" y="1276300"/>
                    <a:pt x="828410" y="1828800"/>
                  </a:cubicBezTo>
                  <a:lnTo>
                    <a:pt x="0" y="1828800"/>
                  </a:lnTo>
                  <a:cubicBezTo>
                    <a:pt x="0" y="818782"/>
                    <a:pt x="818782" y="0"/>
                    <a:pt x="182880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8" name="ïş1ïḍe"/>
            <p:cNvSpPr/>
            <p:nvPr/>
          </p:nvSpPr>
          <p:spPr>
            <a:xfrm>
              <a:off x="6096000" y="1981812"/>
              <a:ext cx="1828800" cy="1828800"/>
            </a:xfrm>
            <a:custGeom>
              <a:avLst/>
              <a:gdLst>
                <a:gd name="connsiteX0" fmla="*/ 0 w 1828800"/>
                <a:gd name="connsiteY0" fmla="*/ 0 h 1828800"/>
                <a:gd name="connsiteX1" fmla="*/ 1828800 w 1828800"/>
                <a:gd name="connsiteY1" fmla="*/ 1828800 h 1828800"/>
                <a:gd name="connsiteX2" fmla="*/ 1000390 w 1828800"/>
                <a:gd name="connsiteY2" fmla="*/ 1828800 h 1828800"/>
                <a:gd name="connsiteX3" fmla="*/ 0 w 1828800"/>
                <a:gd name="connsiteY3" fmla="*/ 82841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1828800">
                  <a:moveTo>
                    <a:pt x="0" y="0"/>
                  </a:moveTo>
                  <a:cubicBezTo>
                    <a:pt x="1010018" y="0"/>
                    <a:pt x="1828800" y="818782"/>
                    <a:pt x="1828800" y="1828800"/>
                  </a:cubicBezTo>
                  <a:lnTo>
                    <a:pt x="1000390" y="1828800"/>
                  </a:lnTo>
                  <a:cubicBezTo>
                    <a:pt x="1000390" y="1276300"/>
                    <a:pt x="552500" y="828410"/>
                    <a:pt x="0" y="82841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9" name="i$ḷiḑè"/>
            <p:cNvSpPr/>
            <p:nvPr/>
          </p:nvSpPr>
          <p:spPr>
            <a:xfrm>
              <a:off x="4267200" y="3810612"/>
              <a:ext cx="1828800" cy="1828800"/>
            </a:xfrm>
            <a:custGeom>
              <a:avLst/>
              <a:gdLst>
                <a:gd name="connsiteX0" fmla="*/ 0 w 1828800"/>
                <a:gd name="connsiteY0" fmla="*/ 0 h 1828800"/>
                <a:gd name="connsiteX1" fmla="*/ 828410 w 1828800"/>
                <a:gd name="connsiteY1" fmla="*/ 0 h 1828800"/>
                <a:gd name="connsiteX2" fmla="*/ 1828800 w 1828800"/>
                <a:gd name="connsiteY2" fmla="*/ 1000390 h 1828800"/>
                <a:gd name="connsiteX3" fmla="*/ 1828800 w 1828800"/>
                <a:gd name="connsiteY3" fmla="*/ 1828800 h 1828800"/>
                <a:gd name="connsiteX4" fmla="*/ 0 w 1828800"/>
                <a:gd name="connsiteY4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8800" h="1828800">
                  <a:moveTo>
                    <a:pt x="0" y="0"/>
                  </a:moveTo>
                  <a:lnTo>
                    <a:pt x="828410" y="0"/>
                  </a:lnTo>
                  <a:cubicBezTo>
                    <a:pt x="828410" y="552500"/>
                    <a:pt x="1276300" y="1000390"/>
                    <a:pt x="1828800" y="1000390"/>
                  </a:cubicBezTo>
                  <a:lnTo>
                    <a:pt x="1828800" y="1828800"/>
                  </a:lnTo>
                  <a:cubicBezTo>
                    <a:pt x="818782" y="1828800"/>
                    <a:pt x="0" y="1010018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10" name="i$ľîḑé"/>
            <p:cNvSpPr/>
            <p:nvPr/>
          </p:nvSpPr>
          <p:spPr>
            <a:xfrm>
              <a:off x="6096000" y="3810612"/>
              <a:ext cx="1828800" cy="1828800"/>
            </a:xfrm>
            <a:custGeom>
              <a:avLst/>
              <a:gdLst>
                <a:gd name="connsiteX0" fmla="*/ 1000390 w 1828800"/>
                <a:gd name="connsiteY0" fmla="*/ 0 h 1828800"/>
                <a:gd name="connsiteX1" fmla="*/ 1828800 w 1828800"/>
                <a:gd name="connsiteY1" fmla="*/ 0 h 1828800"/>
                <a:gd name="connsiteX2" fmla="*/ 0 w 1828800"/>
                <a:gd name="connsiteY2" fmla="*/ 1828800 h 1828800"/>
                <a:gd name="connsiteX3" fmla="*/ 0 w 1828800"/>
                <a:gd name="connsiteY3" fmla="*/ 1000390 h 1828800"/>
                <a:gd name="connsiteX4" fmla="*/ 1000390 w 1828800"/>
                <a:gd name="connsiteY4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8800" h="1828800">
                  <a:moveTo>
                    <a:pt x="1000390" y="0"/>
                  </a:moveTo>
                  <a:lnTo>
                    <a:pt x="1828800" y="0"/>
                  </a:lnTo>
                  <a:cubicBezTo>
                    <a:pt x="1828800" y="1010018"/>
                    <a:pt x="1010018" y="1828800"/>
                    <a:pt x="0" y="1828800"/>
                  </a:cubicBezTo>
                  <a:lnTo>
                    <a:pt x="0" y="1000390"/>
                  </a:lnTo>
                  <a:cubicBezTo>
                    <a:pt x="552500" y="1000390"/>
                    <a:pt x="1000390" y="552500"/>
                    <a:pt x="100039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12" name="isľíde"/>
            <p:cNvSpPr txBox="1"/>
            <p:nvPr/>
          </p:nvSpPr>
          <p:spPr>
            <a:xfrm>
              <a:off x="5210174" y="3861937"/>
              <a:ext cx="1828799" cy="493809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  <a:spcBef>
                  <a:spcPct val="0"/>
                </a:spcBef>
              </a:pPr>
              <a:r>
                <a:rPr lang="zh-CN" altLang="en-US" sz="4400" dirty="0">
                  <a:solidFill>
                    <a:schemeClr val="bg2">
                      <a:lumMod val="50000"/>
                    </a:schemeClr>
                  </a:solidFill>
                </a:rPr>
                <a:t>（尚未毕业的实习生及毕业</a:t>
              </a:r>
              <a:r>
                <a:rPr lang="en-US" altLang="zh-CN" sz="4400" dirty="0">
                  <a:solidFill>
                    <a:schemeClr val="bg2">
                      <a:lumMod val="50000"/>
                    </a:schemeClr>
                  </a:solidFill>
                </a:rPr>
                <a:t>2</a:t>
              </a:r>
              <a:r>
                <a:rPr lang="zh-CN" altLang="en-US" sz="4400" dirty="0">
                  <a:solidFill>
                    <a:schemeClr val="bg2">
                      <a:lumMod val="50000"/>
                    </a:schemeClr>
                  </a:solidFill>
                </a:rPr>
                <a:t>年内的职场新血液）</a:t>
              </a:r>
              <a:endParaRPr lang="zh-CN" altLang="en-US" sz="4400" dirty="0">
                <a:solidFill>
                  <a:schemeClr val="bg2">
                    <a:lumMod val="50000"/>
                  </a:schemeClr>
                </a:solidFill>
              </a:endParaRPr>
            </a:p>
            <a:p>
              <a:pPr algn="ctr">
                <a:lnSpc>
                  <a:spcPct val="120000"/>
                </a:lnSpc>
                <a:spcBef>
                  <a:spcPct val="0"/>
                </a:spcBef>
              </a:pPr>
              <a:endParaRPr lang="en-US" altLang="zh-CN" sz="1200" dirty="0"/>
            </a:p>
          </p:txBody>
        </p:sp>
        <p:sp>
          <p:nvSpPr>
            <p:cNvPr id="13" name="išlíḑe"/>
            <p:cNvSpPr/>
            <p:nvPr/>
          </p:nvSpPr>
          <p:spPr>
            <a:xfrm>
              <a:off x="5229228" y="3391770"/>
              <a:ext cx="1828800" cy="523006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sz="1600" b="1" dirty="0"/>
                <a:t>应届生找不到工作</a:t>
              </a:r>
              <a:endParaRPr lang="zh-CN" altLang="en-US" sz="1600" b="1" dirty="0"/>
            </a:p>
          </p:txBody>
        </p:sp>
        <p:grpSp>
          <p:nvGrpSpPr>
            <p:cNvPr id="14" name="íslïḋé"/>
            <p:cNvGrpSpPr/>
            <p:nvPr/>
          </p:nvGrpSpPr>
          <p:grpSpPr>
            <a:xfrm>
              <a:off x="4456743" y="2360898"/>
              <a:ext cx="636450" cy="636450"/>
              <a:chOff x="1781542" y="2092055"/>
              <a:chExt cx="1153768" cy="1153768"/>
            </a:xfrm>
          </p:grpSpPr>
          <p:sp>
            <p:nvSpPr>
              <p:cNvPr id="37" name="ïŝḻïďe"/>
              <p:cNvSpPr/>
              <p:nvPr/>
            </p:nvSpPr>
            <p:spPr>
              <a:xfrm>
                <a:off x="1781542" y="2092055"/>
                <a:ext cx="1153768" cy="1153768"/>
              </a:xfrm>
              <a:prstGeom prst="ellipse">
                <a:avLst/>
              </a:prstGeom>
              <a:solidFill>
                <a:schemeClr val="accent1"/>
              </a:solidFill>
              <a:ln w="38100" cap="rnd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3765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ïṣḷîďè"/>
              <p:cNvSpPr/>
              <p:nvPr/>
            </p:nvSpPr>
            <p:spPr>
              <a:xfrm>
                <a:off x="2096566" y="2379192"/>
                <a:ext cx="523720" cy="579494"/>
              </a:xfrm>
              <a:custGeom>
                <a:avLst/>
                <a:gdLst>
                  <a:gd name="connsiteX0" fmla="*/ 481589 w 546670"/>
                  <a:gd name="connsiteY0" fmla="*/ 391913 h 604887"/>
                  <a:gd name="connsiteX1" fmla="*/ 451551 w 546670"/>
                  <a:gd name="connsiteY1" fmla="*/ 406688 h 604887"/>
                  <a:gd name="connsiteX2" fmla="*/ 375678 w 546670"/>
                  <a:gd name="connsiteY2" fmla="*/ 429906 h 604887"/>
                  <a:gd name="connsiteX3" fmla="*/ 352427 w 546670"/>
                  <a:gd name="connsiteY3" fmla="*/ 505670 h 604887"/>
                  <a:gd name="connsiteX4" fmla="*/ 337631 w 546670"/>
                  <a:gd name="connsiteY4" fmla="*/ 535554 h 604887"/>
                  <a:gd name="connsiteX5" fmla="*/ 481589 w 546670"/>
                  <a:gd name="connsiteY5" fmla="*/ 391913 h 604887"/>
                  <a:gd name="connsiteX6" fmla="*/ 384133 w 546670"/>
                  <a:gd name="connsiteY6" fmla="*/ 226609 h 604887"/>
                  <a:gd name="connsiteX7" fmla="*/ 388361 w 546670"/>
                  <a:gd name="connsiteY7" fmla="*/ 302373 h 604887"/>
                  <a:gd name="connsiteX8" fmla="*/ 384133 w 546670"/>
                  <a:gd name="connsiteY8" fmla="*/ 378137 h 604887"/>
                  <a:gd name="connsiteX9" fmla="*/ 432639 w 546670"/>
                  <a:gd name="connsiteY9" fmla="*/ 362029 h 604887"/>
                  <a:gd name="connsiteX10" fmla="*/ 498165 w 546670"/>
                  <a:gd name="connsiteY10" fmla="*/ 302373 h 604887"/>
                  <a:gd name="connsiteX11" fmla="*/ 432639 w 546670"/>
                  <a:gd name="connsiteY11" fmla="*/ 242717 h 604887"/>
                  <a:gd name="connsiteX12" fmla="*/ 384133 w 546670"/>
                  <a:gd name="connsiteY12" fmla="*/ 226609 h 604887"/>
                  <a:gd name="connsiteX13" fmla="*/ 135706 w 546670"/>
                  <a:gd name="connsiteY13" fmla="*/ 175523 h 604887"/>
                  <a:gd name="connsiteX14" fmla="*/ 126473 w 546670"/>
                  <a:gd name="connsiteY14" fmla="*/ 178856 h 604887"/>
                  <a:gd name="connsiteX15" fmla="*/ 123248 w 546670"/>
                  <a:gd name="connsiteY15" fmla="*/ 182633 h 604887"/>
                  <a:gd name="connsiteX16" fmla="*/ 123248 w 546670"/>
                  <a:gd name="connsiteY16" fmla="*/ 192075 h 604887"/>
                  <a:gd name="connsiteX17" fmla="*/ 121801 w 546670"/>
                  <a:gd name="connsiteY17" fmla="*/ 193075 h 604887"/>
                  <a:gd name="connsiteX18" fmla="*/ 120912 w 546670"/>
                  <a:gd name="connsiteY18" fmla="*/ 196075 h 604887"/>
                  <a:gd name="connsiteX19" fmla="*/ 122914 w 546670"/>
                  <a:gd name="connsiteY19" fmla="*/ 216404 h 604887"/>
                  <a:gd name="connsiteX20" fmla="*/ 125695 w 546670"/>
                  <a:gd name="connsiteY20" fmla="*/ 219737 h 604887"/>
                  <a:gd name="connsiteX21" fmla="*/ 126807 w 546670"/>
                  <a:gd name="connsiteY21" fmla="*/ 219848 h 604887"/>
                  <a:gd name="connsiteX22" fmla="*/ 129810 w 546670"/>
                  <a:gd name="connsiteY22" fmla="*/ 218293 h 604887"/>
                  <a:gd name="connsiteX23" fmla="*/ 140600 w 546670"/>
                  <a:gd name="connsiteY23" fmla="*/ 204073 h 604887"/>
                  <a:gd name="connsiteX24" fmla="*/ 141379 w 546670"/>
                  <a:gd name="connsiteY24" fmla="*/ 201740 h 604887"/>
                  <a:gd name="connsiteX25" fmla="*/ 141379 w 546670"/>
                  <a:gd name="connsiteY25" fmla="*/ 178856 h 604887"/>
                  <a:gd name="connsiteX26" fmla="*/ 139488 w 546670"/>
                  <a:gd name="connsiteY26" fmla="*/ 175634 h 604887"/>
                  <a:gd name="connsiteX27" fmla="*/ 135706 w 546670"/>
                  <a:gd name="connsiteY27" fmla="*/ 175523 h 604887"/>
                  <a:gd name="connsiteX28" fmla="*/ 87208 w 546670"/>
                  <a:gd name="connsiteY28" fmla="*/ 175523 h 604887"/>
                  <a:gd name="connsiteX29" fmla="*/ 83537 w 546670"/>
                  <a:gd name="connsiteY29" fmla="*/ 175634 h 604887"/>
                  <a:gd name="connsiteX30" fmla="*/ 81646 w 546670"/>
                  <a:gd name="connsiteY30" fmla="*/ 178856 h 604887"/>
                  <a:gd name="connsiteX31" fmla="*/ 81646 w 546670"/>
                  <a:gd name="connsiteY31" fmla="*/ 201740 h 604887"/>
                  <a:gd name="connsiteX32" fmla="*/ 82425 w 546670"/>
                  <a:gd name="connsiteY32" fmla="*/ 204073 h 604887"/>
                  <a:gd name="connsiteX33" fmla="*/ 93103 w 546670"/>
                  <a:gd name="connsiteY33" fmla="*/ 218293 h 604887"/>
                  <a:gd name="connsiteX34" fmla="*/ 96218 w 546670"/>
                  <a:gd name="connsiteY34" fmla="*/ 219848 h 604887"/>
                  <a:gd name="connsiteX35" fmla="*/ 97219 w 546670"/>
                  <a:gd name="connsiteY35" fmla="*/ 219737 h 604887"/>
                  <a:gd name="connsiteX36" fmla="*/ 100000 w 546670"/>
                  <a:gd name="connsiteY36" fmla="*/ 216404 h 604887"/>
                  <a:gd name="connsiteX37" fmla="*/ 102113 w 546670"/>
                  <a:gd name="connsiteY37" fmla="*/ 196075 h 604887"/>
                  <a:gd name="connsiteX38" fmla="*/ 101112 w 546670"/>
                  <a:gd name="connsiteY38" fmla="*/ 193075 h 604887"/>
                  <a:gd name="connsiteX39" fmla="*/ 99666 w 546670"/>
                  <a:gd name="connsiteY39" fmla="*/ 192075 h 604887"/>
                  <a:gd name="connsiteX40" fmla="*/ 99666 w 546670"/>
                  <a:gd name="connsiteY40" fmla="*/ 182633 h 604887"/>
                  <a:gd name="connsiteX41" fmla="*/ 96551 w 546670"/>
                  <a:gd name="connsiteY41" fmla="*/ 178856 h 604887"/>
                  <a:gd name="connsiteX42" fmla="*/ 87208 w 546670"/>
                  <a:gd name="connsiteY42" fmla="*/ 175523 h 604887"/>
                  <a:gd name="connsiteX43" fmla="*/ 93214 w 546670"/>
                  <a:gd name="connsiteY43" fmla="*/ 72653 h 604887"/>
                  <a:gd name="connsiteX44" fmla="*/ 66629 w 546670"/>
                  <a:gd name="connsiteY44" fmla="*/ 79652 h 604887"/>
                  <a:gd name="connsiteX45" fmla="*/ 64516 w 546670"/>
                  <a:gd name="connsiteY45" fmla="*/ 83096 h 604887"/>
                  <a:gd name="connsiteX46" fmla="*/ 64516 w 546670"/>
                  <a:gd name="connsiteY46" fmla="*/ 89872 h 604887"/>
                  <a:gd name="connsiteX47" fmla="*/ 62959 w 546670"/>
                  <a:gd name="connsiteY47" fmla="*/ 89872 h 604887"/>
                  <a:gd name="connsiteX48" fmla="*/ 59065 w 546670"/>
                  <a:gd name="connsiteY48" fmla="*/ 93761 h 604887"/>
                  <a:gd name="connsiteX49" fmla="*/ 59065 w 546670"/>
                  <a:gd name="connsiteY49" fmla="*/ 99982 h 604887"/>
                  <a:gd name="connsiteX50" fmla="*/ 60845 w 546670"/>
                  <a:gd name="connsiteY50" fmla="*/ 103203 h 604887"/>
                  <a:gd name="connsiteX51" fmla="*/ 64516 w 546670"/>
                  <a:gd name="connsiteY51" fmla="*/ 105647 h 604887"/>
                  <a:gd name="connsiteX52" fmla="*/ 64738 w 546670"/>
                  <a:gd name="connsiteY52" fmla="*/ 107202 h 604887"/>
                  <a:gd name="connsiteX53" fmla="*/ 78531 w 546670"/>
                  <a:gd name="connsiteY53" fmla="*/ 138974 h 604887"/>
                  <a:gd name="connsiteX54" fmla="*/ 101223 w 546670"/>
                  <a:gd name="connsiteY54" fmla="*/ 158526 h 604887"/>
                  <a:gd name="connsiteX55" fmla="*/ 121801 w 546670"/>
                  <a:gd name="connsiteY55" fmla="*/ 158526 h 604887"/>
                  <a:gd name="connsiteX56" fmla="*/ 144493 w 546670"/>
                  <a:gd name="connsiteY56" fmla="*/ 138974 h 604887"/>
                  <a:gd name="connsiteX57" fmla="*/ 158175 w 546670"/>
                  <a:gd name="connsiteY57" fmla="*/ 107202 h 604887"/>
                  <a:gd name="connsiteX58" fmla="*/ 158398 w 546670"/>
                  <a:gd name="connsiteY58" fmla="*/ 105647 h 604887"/>
                  <a:gd name="connsiteX59" fmla="*/ 162179 w 546670"/>
                  <a:gd name="connsiteY59" fmla="*/ 103203 h 604887"/>
                  <a:gd name="connsiteX60" fmla="*/ 163848 w 546670"/>
                  <a:gd name="connsiteY60" fmla="*/ 100093 h 604887"/>
                  <a:gd name="connsiteX61" fmla="*/ 163848 w 546670"/>
                  <a:gd name="connsiteY61" fmla="*/ 93761 h 604887"/>
                  <a:gd name="connsiteX62" fmla="*/ 160066 w 546670"/>
                  <a:gd name="connsiteY62" fmla="*/ 89872 h 604887"/>
                  <a:gd name="connsiteX63" fmla="*/ 157953 w 546670"/>
                  <a:gd name="connsiteY63" fmla="*/ 89872 h 604887"/>
                  <a:gd name="connsiteX64" fmla="*/ 156729 w 546670"/>
                  <a:gd name="connsiteY64" fmla="*/ 88650 h 604887"/>
                  <a:gd name="connsiteX65" fmla="*/ 153058 w 546670"/>
                  <a:gd name="connsiteY65" fmla="*/ 88317 h 604887"/>
                  <a:gd name="connsiteX66" fmla="*/ 137930 w 546670"/>
                  <a:gd name="connsiteY66" fmla="*/ 91761 h 604887"/>
                  <a:gd name="connsiteX67" fmla="*/ 114460 w 546670"/>
                  <a:gd name="connsiteY67" fmla="*/ 81207 h 604887"/>
                  <a:gd name="connsiteX68" fmla="*/ 93214 w 546670"/>
                  <a:gd name="connsiteY68" fmla="*/ 72653 h 604887"/>
                  <a:gd name="connsiteX69" fmla="*/ 337631 w 546670"/>
                  <a:gd name="connsiteY69" fmla="*/ 69193 h 604887"/>
                  <a:gd name="connsiteX70" fmla="*/ 352427 w 546670"/>
                  <a:gd name="connsiteY70" fmla="*/ 99187 h 604887"/>
                  <a:gd name="connsiteX71" fmla="*/ 375678 w 546670"/>
                  <a:gd name="connsiteY71" fmla="*/ 174952 h 604887"/>
                  <a:gd name="connsiteX72" fmla="*/ 451551 w 546670"/>
                  <a:gd name="connsiteY72" fmla="*/ 198059 h 604887"/>
                  <a:gd name="connsiteX73" fmla="*/ 481589 w 546670"/>
                  <a:gd name="connsiteY73" fmla="*/ 212945 h 604887"/>
                  <a:gd name="connsiteX74" fmla="*/ 337631 w 546670"/>
                  <a:gd name="connsiteY74" fmla="*/ 69193 h 604887"/>
                  <a:gd name="connsiteX75" fmla="*/ 247963 w 546670"/>
                  <a:gd name="connsiteY75" fmla="*/ 4093 h 604887"/>
                  <a:gd name="connsiteX76" fmla="*/ 546670 w 546670"/>
                  <a:gd name="connsiteY76" fmla="*/ 302373 h 604887"/>
                  <a:gd name="connsiteX77" fmla="*/ 247963 w 546670"/>
                  <a:gd name="connsiteY77" fmla="*/ 600653 h 604887"/>
                  <a:gd name="connsiteX78" fmla="*/ 242957 w 546670"/>
                  <a:gd name="connsiteY78" fmla="*/ 600653 h 604887"/>
                  <a:gd name="connsiteX79" fmla="*/ 242957 w 546670"/>
                  <a:gd name="connsiteY79" fmla="*/ 551662 h 604887"/>
                  <a:gd name="connsiteX80" fmla="*/ 247963 w 546670"/>
                  <a:gd name="connsiteY80" fmla="*/ 552217 h 604887"/>
                  <a:gd name="connsiteX81" fmla="*/ 307705 w 546670"/>
                  <a:gd name="connsiteY81" fmla="*/ 486674 h 604887"/>
                  <a:gd name="connsiteX82" fmla="*/ 323836 w 546670"/>
                  <a:gd name="connsiteY82" fmla="*/ 438238 h 604887"/>
                  <a:gd name="connsiteX83" fmla="*/ 247963 w 546670"/>
                  <a:gd name="connsiteY83" fmla="*/ 442570 h 604887"/>
                  <a:gd name="connsiteX84" fmla="*/ 242957 w 546670"/>
                  <a:gd name="connsiteY84" fmla="*/ 442570 h 604887"/>
                  <a:gd name="connsiteX85" fmla="*/ 242957 w 546670"/>
                  <a:gd name="connsiteY85" fmla="*/ 394024 h 604887"/>
                  <a:gd name="connsiteX86" fmla="*/ 247963 w 546670"/>
                  <a:gd name="connsiteY86" fmla="*/ 394135 h 604887"/>
                  <a:gd name="connsiteX87" fmla="*/ 333848 w 546670"/>
                  <a:gd name="connsiteY87" fmla="*/ 388136 h 604887"/>
                  <a:gd name="connsiteX88" fmla="*/ 339856 w 546670"/>
                  <a:gd name="connsiteY88" fmla="*/ 302373 h 604887"/>
                  <a:gd name="connsiteX89" fmla="*/ 333848 w 546670"/>
                  <a:gd name="connsiteY89" fmla="*/ 216722 h 604887"/>
                  <a:gd name="connsiteX90" fmla="*/ 247963 w 546670"/>
                  <a:gd name="connsiteY90" fmla="*/ 210723 h 604887"/>
                  <a:gd name="connsiteX91" fmla="*/ 242957 w 546670"/>
                  <a:gd name="connsiteY91" fmla="*/ 210723 h 604887"/>
                  <a:gd name="connsiteX92" fmla="*/ 242957 w 546670"/>
                  <a:gd name="connsiteY92" fmla="*/ 162287 h 604887"/>
                  <a:gd name="connsiteX93" fmla="*/ 247963 w 546670"/>
                  <a:gd name="connsiteY93" fmla="*/ 162176 h 604887"/>
                  <a:gd name="connsiteX94" fmla="*/ 323836 w 546670"/>
                  <a:gd name="connsiteY94" fmla="*/ 166509 h 604887"/>
                  <a:gd name="connsiteX95" fmla="*/ 307705 w 546670"/>
                  <a:gd name="connsiteY95" fmla="*/ 118073 h 604887"/>
                  <a:gd name="connsiteX96" fmla="*/ 247963 w 546670"/>
                  <a:gd name="connsiteY96" fmla="*/ 52640 h 604887"/>
                  <a:gd name="connsiteX97" fmla="*/ 242957 w 546670"/>
                  <a:gd name="connsiteY97" fmla="*/ 53196 h 604887"/>
                  <a:gd name="connsiteX98" fmla="*/ 242957 w 546670"/>
                  <a:gd name="connsiteY98" fmla="*/ 4204 h 604887"/>
                  <a:gd name="connsiteX99" fmla="*/ 247963 w 546670"/>
                  <a:gd name="connsiteY99" fmla="*/ 4093 h 604887"/>
                  <a:gd name="connsiteX100" fmla="*/ 101779 w 546670"/>
                  <a:gd name="connsiteY100" fmla="*/ 0 h 604887"/>
                  <a:gd name="connsiteX101" fmla="*/ 121134 w 546670"/>
                  <a:gd name="connsiteY101" fmla="*/ 0 h 604887"/>
                  <a:gd name="connsiteX102" fmla="*/ 180978 w 546670"/>
                  <a:gd name="connsiteY102" fmla="*/ 59656 h 604887"/>
                  <a:gd name="connsiteX103" fmla="*/ 180978 w 546670"/>
                  <a:gd name="connsiteY103" fmla="*/ 78430 h 604887"/>
                  <a:gd name="connsiteX104" fmla="*/ 184315 w 546670"/>
                  <a:gd name="connsiteY104" fmla="*/ 89095 h 604887"/>
                  <a:gd name="connsiteX105" fmla="*/ 184315 w 546670"/>
                  <a:gd name="connsiteY105" fmla="*/ 102426 h 604887"/>
                  <a:gd name="connsiteX106" fmla="*/ 177752 w 546670"/>
                  <a:gd name="connsiteY106" fmla="*/ 116534 h 604887"/>
                  <a:gd name="connsiteX107" fmla="*/ 173859 w 546670"/>
                  <a:gd name="connsiteY107" fmla="*/ 126643 h 604887"/>
                  <a:gd name="connsiteX108" fmla="*/ 161067 w 546670"/>
                  <a:gd name="connsiteY108" fmla="*/ 150861 h 604887"/>
                  <a:gd name="connsiteX109" fmla="*/ 152502 w 546670"/>
                  <a:gd name="connsiteY109" fmla="*/ 161748 h 604887"/>
                  <a:gd name="connsiteX110" fmla="*/ 160400 w 546670"/>
                  <a:gd name="connsiteY110" fmla="*/ 167747 h 604887"/>
                  <a:gd name="connsiteX111" fmla="*/ 204115 w 546670"/>
                  <a:gd name="connsiteY111" fmla="*/ 176412 h 604887"/>
                  <a:gd name="connsiteX112" fmla="*/ 223692 w 546670"/>
                  <a:gd name="connsiteY112" fmla="*/ 200407 h 604887"/>
                  <a:gd name="connsiteX113" fmla="*/ 223692 w 546670"/>
                  <a:gd name="connsiteY113" fmla="*/ 358044 h 604887"/>
                  <a:gd name="connsiteX114" fmla="*/ 221467 w 546670"/>
                  <a:gd name="connsiteY114" fmla="*/ 368265 h 604887"/>
                  <a:gd name="connsiteX115" fmla="*/ 221467 w 546670"/>
                  <a:gd name="connsiteY115" fmla="*/ 385484 h 604887"/>
                  <a:gd name="connsiteX116" fmla="*/ 200110 w 546670"/>
                  <a:gd name="connsiteY116" fmla="*/ 406813 h 604887"/>
                  <a:gd name="connsiteX117" fmla="*/ 188431 w 546670"/>
                  <a:gd name="connsiteY117" fmla="*/ 403369 h 604887"/>
                  <a:gd name="connsiteX118" fmla="*/ 188431 w 546670"/>
                  <a:gd name="connsiteY118" fmla="*/ 566561 h 604887"/>
                  <a:gd name="connsiteX119" fmla="*/ 150166 w 546670"/>
                  <a:gd name="connsiteY119" fmla="*/ 604887 h 604887"/>
                  <a:gd name="connsiteX120" fmla="*/ 111902 w 546670"/>
                  <a:gd name="connsiteY120" fmla="*/ 566561 h 604887"/>
                  <a:gd name="connsiteX121" fmla="*/ 73526 w 546670"/>
                  <a:gd name="connsiteY121" fmla="*/ 604887 h 604887"/>
                  <a:gd name="connsiteX122" fmla="*/ 35261 w 546670"/>
                  <a:gd name="connsiteY122" fmla="*/ 566561 h 604887"/>
                  <a:gd name="connsiteX123" fmla="*/ 35261 w 546670"/>
                  <a:gd name="connsiteY123" fmla="*/ 403369 h 604887"/>
                  <a:gd name="connsiteX124" fmla="*/ 23582 w 546670"/>
                  <a:gd name="connsiteY124" fmla="*/ 406813 h 604887"/>
                  <a:gd name="connsiteX125" fmla="*/ 2225 w 546670"/>
                  <a:gd name="connsiteY125" fmla="*/ 385484 h 604887"/>
                  <a:gd name="connsiteX126" fmla="*/ 2225 w 546670"/>
                  <a:gd name="connsiteY126" fmla="*/ 368265 h 604887"/>
                  <a:gd name="connsiteX127" fmla="*/ 0 w 546670"/>
                  <a:gd name="connsiteY127" fmla="*/ 358044 h 604887"/>
                  <a:gd name="connsiteX128" fmla="*/ 0 w 546670"/>
                  <a:gd name="connsiteY128" fmla="*/ 200296 h 604887"/>
                  <a:gd name="connsiteX129" fmla="*/ 19577 w 546670"/>
                  <a:gd name="connsiteY129" fmla="*/ 176412 h 604887"/>
                  <a:gd name="connsiteX130" fmla="*/ 62625 w 546670"/>
                  <a:gd name="connsiteY130" fmla="*/ 167747 h 604887"/>
                  <a:gd name="connsiteX131" fmla="*/ 70522 w 546670"/>
                  <a:gd name="connsiteY131" fmla="*/ 161748 h 604887"/>
                  <a:gd name="connsiteX132" fmla="*/ 61957 w 546670"/>
                  <a:gd name="connsiteY132" fmla="*/ 150861 h 604887"/>
                  <a:gd name="connsiteX133" fmla="*/ 49054 w 546670"/>
                  <a:gd name="connsiteY133" fmla="*/ 126643 h 604887"/>
                  <a:gd name="connsiteX134" fmla="*/ 45161 w 546670"/>
                  <a:gd name="connsiteY134" fmla="*/ 116534 h 604887"/>
                  <a:gd name="connsiteX135" fmla="*/ 38598 w 546670"/>
                  <a:gd name="connsiteY135" fmla="*/ 102426 h 604887"/>
                  <a:gd name="connsiteX136" fmla="*/ 38598 w 546670"/>
                  <a:gd name="connsiteY136" fmla="*/ 89095 h 604887"/>
                  <a:gd name="connsiteX137" fmla="*/ 42047 w 546670"/>
                  <a:gd name="connsiteY137" fmla="*/ 78430 h 604887"/>
                  <a:gd name="connsiteX138" fmla="*/ 42047 w 546670"/>
                  <a:gd name="connsiteY138" fmla="*/ 59656 h 604887"/>
                  <a:gd name="connsiteX139" fmla="*/ 101779 w 546670"/>
                  <a:gd name="connsiteY139" fmla="*/ 0 h 6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</a:cxnLst>
                <a:rect l="l" t="t" r="r" b="b"/>
                <a:pathLst>
                  <a:path w="546670" h="604887">
                    <a:moveTo>
                      <a:pt x="481589" y="391913"/>
                    </a:moveTo>
                    <a:cubicBezTo>
                      <a:pt x="472466" y="397134"/>
                      <a:pt x="462454" y="402133"/>
                      <a:pt x="451551" y="406688"/>
                    </a:cubicBezTo>
                    <a:cubicBezTo>
                      <a:pt x="428967" y="416242"/>
                      <a:pt x="403269" y="424018"/>
                      <a:pt x="375678" y="429906"/>
                    </a:cubicBezTo>
                    <a:cubicBezTo>
                      <a:pt x="369782" y="457457"/>
                      <a:pt x="361995" y="483008"/>
                      <a:pt x="352427" y="505670"/>
                    </a:cubicBezTo>
                    <a:cubicBezTo>
                      <a:pt x="347866" y="516446"/>
                      <a:pt x="342860" y="526444"/>
                      <a:pt x="337631" y="535554"/>
                    </a:cubicBezTo>
                    <a:cubicBezTo>
                      <a:pt x="403602" y="510225"/>
                      <a:pt x="456112" y="457790"/>
                      <a:pt x="481589" y="391913"/>
                    </a:cubicBezTo>
                    <a:close/>
                    <a:moveTo>
                      <a:pt x="384133" y="226609"/>
                    </a:moveTo>
                    <a:cubicBezTo>
                      <a:pt x="386915" y="251049"/>
                      <a:pt x="388361" y="276489"/>
                      <a:pt x="388361" y="302373"/>
                    </a:cubicBezTo>
                    <a:cubicBezTo>
                      <a:pt x="388361" y="328369"/>
                      <a:pt x="386915" y="353697"/>
                      <a:pt x="384133" y="378137"/>
                    </a:cubicBezTo>
                    <a:cubicBezTo>
                      <a:pt x="401600" y="373694"/>
                      <a:pt x="417842" y="368250"/>
                      <a:pt x="432639" y="362029"/>
                    </a:cubicBezTo>
                    <a:cubicBezTo>
                      <a:pt x="473690" y="344699"/>
                      <a:pt x="498165" y="322370"/>
                      <a:pt x="498165" y="302373"/>
                    </a:cubicBezTo>
                    <a:cubicBezTo>
                      <a:pt x="498165" y="282377"/>
                      <a:pt x="473690" y="260047"/>
                      <a:pt x="432639" y="242717"/>
                    </a:cubicBezTo>
                    <a:cubicBezTo>
                      <a:pt x="417842" y="236496"/>
                      <a:pt x="401600" y="231164"/>
                      <a:pt x="384133" y="226609"/>
                    </a:cubicBezTo>
                    <a:close/>
                    <a:moveTo>
                      <a:pt x="135706" y="175523"/>
                    </a:moveTo>
                    <a:cubicBezTo>
                      <a:pt x="132591" y="177189"/>
                      <a:pt x="129477" y="178300"/>
                      <a:pt x="126473" y="178856"/>
                    </a:cubicBezTo>
                    <a:cubicBezTo>
                      <a:pt x="124582" y="179189"/>
                      <a:pt x="123248" y="180744"/>
                      <a:pt x="123248" y="182633"/>
                    </a:cubicBezTo>
                    <a:lnTo>
                      <a:pt x="123248" y="192075"/>
                    </a:lnTo>
                    <a:cubicBezTo>
                      <a:pt x="122691" y="192298"/>
                      <a:pt x="122246" y="192631"/>
                      <a:pt x="121801" y="193075"/>
                    </a:cubicBezTo>
                    <a:cubicBezTo>
                      <a:pt x="121134" y="193964"/>
                      <a:pt x="120689" y="194964"/>
                      <a:pt x="120912" y="196075"/>
                    </a:cubicBezTo>
                    <a:lnTo>
                      <a:pt x="122914" y="216404"/>
                    </a:lnTo>
                    <a:cubicBezTo>
                      <a:pt x="123136" y="217960"/>
                      <a:pt x="124249" y="219293"/>
                      <a:pt x="125695" y="219737"/>
                    </a:cubicBezTo>
                    <a:cubicBezTo>
                      <a:pt x="126028" y="219737"/>
                      <a:pt x="126473" y="219848"/>
                      <a:pt x="126807" y="219848"/>
                    </a:cubicBezTo>
                    <a:cubicBezTo>
                      <a:pt x="127919" y="219848"/>
                      <a:pt x="129032" y="219293"/>
                      <a:pt x="129810" y="218293"/>
                    </a:cubicBezTo>
                    <a:lnTo>
                      <a:pt x="140600" y="204073"/>
                    </a:lnTo>
                    <a:cubicBezTo>
                      <a:pt x="141045" y="203407"/>
                      <a:pt x="141379" y="202629"/>
                      <a:pt x="141379" y="201740"/>
                    </a:cubicBezTo>
                    <a:lnTo>
                      <a:pt x="141379" y="178856"/>
                    </a:lnTo>
                    <a:cubicBezTo>
                      <a:pt x="141379" y="177523"/>
                      <a:pt x="140600" y="176301"/>
                      <a:pt x="139488" y="175634"/>
                    </a:cubicBezTo>
                    <a:cubicBezTo>
                      <a:pt x="138375" y="174968"/>
                      <a:pt x="136929" y="174856"/>
                      <a:pt x="135706" y="175523"/>
                    </a:cubicBezTo>
                    <a:close/>
                    <a:moveTo>
                      <a:pt x="87208" y="175523"/>
                    </a:moveTo>
                    <a:cubicBezTo>
                      <a:pt x="86095" y="174856"/>
                      <a:pt x="84649" y="174968"/>
                      <a:pt x="83537" y="175634"/>
                    </a:cubicBezTo>
                    <a:cubicBezTo>
                      <a:pt x="82313" y="176301"/>
                      <a:pt x="81646" y="177523"/>
                      <a:pt x="81646" y="178856"/>
                    </a:cubicBezTo>
                    <a:lnTo>
                      <a:pt x="81646" y="201740"/>
                    </a:lnTo>
                    <a:cubicBezTo>
                      <a:pt x="81646" y="202629"/>
                      <a:pt x="81868" y="203407"/>
                      <a:pt x="82425" y="204073"/>
                    </a:cubicBezTo>
                    <a:lnTo>
                      <a:pt x="93103" y="218293"/>
                    </a:lnTo>
                    <a:cubicBezTo>
                      <a:pt x="93882" y="219293"/>
                      <a:pt x="94994" y="219848"/>
                      <a:pt x="96218" y="219848"/>
                    </a:cubicBezTo>
                    <a:cubicBezTo>
                      <a:pt x="96551" y="219848"/>
                      <a:pt x="96885" y="219848"/>
                      <a:pt x="97219" y="219737"/>
                    </a:cubicBezTo>
                    <a:cubicBezTo>
                      <a:pt x="98776" y="219293"/>
                      <a:pt x="99888" y="217960"/>
                      <a:pt x="100000" y="216404"/>
                    </a:cubicBezTo>
                    <a:lnTo>
                      <a:pt x="102113" y="196075"/>
                    </a:lnTo>
                    <a:cubicBezTo>
                      <a:pt x="102224" y="194964"/>
                      <a:pt x="101891" y="193964"/>
                      <a:pt x="101112" y="193075"/>
                    </a:cubicBezTo>
                    <a:cubicBezTo>
                      <a:pt x="100778" y="192631"/>
                      <a:pt x="100222" y="192298"/>
                      <a:pt x="99666" y="192075"/>
                    </a:cubicBezTo>
                    <a:lnTo>
                      <a:pt x="99666" y="182633"/>
                    </a:lnTo>
                    <a:cubicBezTo>
                      <a:pt x="99666" y="180744"/>
                      <a:pt x="98331" y="179189"/>
                      <a:pt x="96551" y="178856"/>
                    </a:cubicBezTo>
                    <a:cubicBezTo>
                      <a:pt x="93548" y="178300"/>
                      <a:pt x="90433" y="177189"/>
                      <a:pt x="87208" y="175523"/>
                    </a:cubicBezTo>
                    <a:close/>
                    <a:moveTo>
                      <a:pt x="93214" y="72653"/>
                    </a:moveTo>
                    <a:cubicBezTo>
                      <a:pt x="82313" y="72653"/>
                      <a:pt x="71857" y="77097"/>
                      <a:pt x="66629" y="79652"/>
                    </a:cubicBezTo>
                    <a:cubicBezTo>
                      <a:pt x="65294" y="80319"/>
                      <a:pt x="64516" y="81652"/>
                      <a:pt x="64516" y="83096"/>
                    </a:cubicBezTo>
                    <a:lnTo>
                      <a:pt x="64516" y="89872"/>
                    </a:lnTo>
                    <a:lnTo>
                      <a:pt x="62959" y="89872"/>
                    </a:lnTo>
                    <a:cubicBezTo>
                      <a:pt x="60845" y="89872"/>
                      <a:pt x="59065" y="91650"/>
                      <a:pt x="59065" y="93761"/>
                    </a:cubicBezTo>
                    <a:lnTo>
                      <a:pt x="59065" y="99982"/>
                    </a:lnTo>
                    <a:cubicBezTo>
                      <a:pt x="59065" y="101315"/>
                      <a:pt x="59733" y="102537"/>
                      <a:pt x="60845" y="103203"/>
                    </a:cubicBezTo>
                    <a:lnTo>
                      <a:pt x="64516" y="105647"/>
                    </a:lnTo>
                    <a:lnTo>
                      <a:pt x="64738" y="107202"/>
                    </a:lnTo>
                    <a:cubicBezTo>
                      <a:pt x="65962" y="116423"/>
                      <a:pt x="71079" y="128199"/>
                      <a:pt x="78531" y="138974"/>
                    </a:cubicBezTo>
                    <a:cubicBezTo>
                      <a:pt x="87875" y="152527"/>
                      <a:pt x="96663" y="158526"/>
                      <a:pt x="101223" y="158526"/>
                    </a:cubicBezTo>
                    <a:lnTo>
                      <a:pt x="121801" y="158526"/>
                    </a:lnTo>
                    <a:cubicBezTo>
                      <a:pt x="126362" y="158526"/>
                      <a:pt x="135150" y="152527"/>
                      <a:pt x="144493" y="138974"/>
                    </a:cubicBezTo>
                    <a:cubicBezTo>
                      <a:pt x="151835" y="128199"/>
                      <a:pt x="156951" y="116423"/>
                      <a:pt x="158175" y="107202"/>
                    </a:cubicBezTo>
                    <a:lnTo>
                      <a:pt x="158398" y="105647"/>
                    </a:lnTo>
                    <a:lnTo>
                      <a:pt x="162179" y="103203"/>
                    </a:lnTo>
                    <a:cubicBezTo>
                      <a:pt x="163181" y="102537"/>
                      <a:pt x="163848" y="101315"/>
                      <a:pt x="163848" y="100093"/>
                    </a:cubicBezTo>
                    <a:lnTo>
                      <a:pt x="163848" y="93761"/>
                    </a:lnTo>
                    <a:cubicBezTo>
                      <a:pt x="163848" y="91650"/>
                      <a:pt x="162179" y="89872"/>
                      <a:pt x="160066" y="89872"/>
                    </a:cubicBezTo>
                    <a:lnTo>
                      <a:pt x="157953" y="89872"/>
                    </a:lnTo>
                    <a:cubicBezTo>
                      <a:pt x="157619" y="89428"/>
                      <a:pt x="157285" y="88984"/>
                      <a:pt x="156729" y="88650"/>
                    </a:cubicBezTo>
                    <a:cubicBezTo>
                      <a:pt x="155617" y="87984"/>
                      <a:pt x="154282" y="87873"/>
                      <a:pt x="153058" y="88317"/>
                    </a:cubicBezTo>
                    <a:cubicBezTo>
                      <a:pt x="147942" y="90650"/>
                      <a:pt x="142825" y="91761"/>
                      <a:pt x="137930" y="91761"/>
                    </a:cubicBezTo>
                    <a:cubicBezTo>
                      <a:pt x="129254" y="91761"/>
                      <a:pt x="121357" y="88206"/>
                      <a:pt x="114460" y="81207"/>
                    </a:cubicBezTo>
                    <a:cubicBezTo>
                      <a:pt x="109010" y="75542"/>
                      <a:pt x="101779" y="72653"/>
                      <a:pt x="93214" y="72653"/>
                    </a:cubicBezTo>
                    <a:close/>
                    <a:moveTo>
                      <a:pt x="337631" y="69193"/>
                    </a:moveTo>
                    <a:cubicBezTo>
                      <a:pt x="342860" y="78302"/>
                      <a:pt x="347866" y="88300"/>
                      <a:pt x="352427" y="99187"/>
                    </a:cubicBezTo>
                    <a:cubicBezTo>
                      <a:pt x="361995" y="121739"/>
                      <a:pt x="369782" y="147290"/>
                      <a:pt x="375678" y="174952"/>
                    </a:cubicBezTo>
                    <a:cubicBezTo>
                      <a:pt x="403269" y="180728"/>
                      <a:pt x="428967" y="188505"/>
                      <a:pt x="451551" y="198059"/>
                    </a:cubicBezTo>
                    <a:cubicBezTo>
                      <a:pt x="462454" y="202724"/>
                      <a:pt x="472466" y="207612"/>
                      <a:pt x="481589" y="212945"/>
                    </a:cubicBezTo>
                    <a:cubicBezTo>
                      <a:pt x="456112" y="147068"/>
                      <a:pt x="403602" y="94633"/>
                      <a:pt x="337631" y="69193"/>
                    </a:cubicBezTo>
                    <a:close/>
                    <a:moveTo>
                      <a:pt x="247963" y="4093"/>
                    </a:moveTo>
                    <a:cubicBezTo>
                      <a:pt x="412725" y="4093"/>
                      <a:pt x="546670" y="137958"/>
                      <a:pt x="546670" y="302373"/>
                    </a:cubicBezTo>
                    <a:cubicBezTo>
                      <a:pt x="546670" y="466899"/>
                      <a:pt x="412725" y="600653"/>
                      <a:pt x="247963" y="600653"/>
                    </a:cubicBezTo>
                    <a:cubicBezTo>
                      <a:pt x="246295" y="600653"/>
                      <a:pt x="244626" y="600653"/>
                      <a:pt x="242957" y="600653"/>
                    </a:cubicBezTo>
                    <a:lnTo>
                      <a:pt x="242957" y="551662"/>
                    </a:lnTo>
                    <a:cubicBezTo>
                      <a:pt x="244626" y="551995"/>
                      <a:pt x="246295" y="552217"/>
                      <a:pt x="247963" y="552217"/>
                    </a:cubicBezTo>
                    <a:cubicBezTo>
                      <a:pt x="268100" y="552217"/>
                      <a:pt x="290350" y="527666"/>
                      <a:pt x="307705" y="486674"/>
                    </a:cubicBezTo>
                    <a:cubicBezTo>
                      <a:pt x="314046" y="472010"/>
                      <a:pt x="319386" y="455679"/>
                      <a:pt x="323836" y="438238"/>
                    </a:cubicBezTo>
                    <a:cubicBezTo>
                      <a:pt x="299472" y="441126"/>
                      <a:pt x="273996" y="442570"/>
                      <a:pt x="247963" y="442570"/>
                    </a:cubicBezTo>
                    <a:cubicBezTo>
                      <a:pt x="246295" y="442570"/>
                      <a:pt x="244626" y="442570"/>
                      <a:pt x="242957" y="442570"/>
                    </a:cubicBezTo>
                    <a:lnTo>
                      <a:pt x="242957" y="394024"/>
                    </a:lnTo>
                    <a:cubicBezTo>
                      <a:pt x="244626" y="394024"/>
                      <a:pt x="246295" y="394135"/>
                      <a:pt x="247963" y="394135"/>
                    </a:cubicBezTo>
                    <a:cubicBezTo>
                      <a:pt x="277778" y="394135"/>
                      <a:pt x="306703" y="392024"/>
                      <a:pt x="333848" y="388136"/>
                    </a:cubicBezTo>
                    <a:cubicBezTo>
                      <a:pt x="337742" y="361029"/>
                      <a:pt x="339856" y="332146"/>
                      <a:pt x="339856" y="302373"/>
                    </a:cubicBezTo>
                    <a:cubicBezTo>
                      <a:pt x="339856" y="272712"/>
                      <a:pt x="337742" y="243828"/>
                      <a:pt x="333848" y="216722"/>
                    </a:cubicBezTo>
                    <a:cubicBezTo>
                      <a:pt x="306703" y="212723"/>
                      <a:pt x="277778" y="210723"/>
                      <a:pt x="247963" y="210723"/>
                    </a:cubicBezTo>
                    <a:cubicBezTo>
                      <a:pt x="246295" y="210723"/>
                      <a:pt x="244626" y="210723"/>
                      <a:pt x="242957" y="210723"/>
                    </a:cubicBezTo>
                    <a:lnTo>
                      <a:pt x="242957" y="162287"/>
                    </a:lnTo>
                    <a:cubicBezTo>
                      <a:pt x="244626" y="162287"/>
                      <a:pt x="246295" y="162176"/>
                      <a:pt x="247963" y="162176"/>
                    </a:cubicBezTo>
                    <a:cubicBezTo>
                      <a:pt x="273996" y="162176"/>
                      <a:pt x="299472" y="163731"/>
                      <a:pt x="323836" y="166509"/>
                    </a:cubicBezTo>
                    <a:cubicBezTo>
                      <a:pt x="319386" y="149067"/>
                      <a:pt x="314046" y="132848"/>
                      <a:pt x="307705" y="118073"/>
                    </a:cubicBezTo>
                    <a:cubicBezTo>
                      <a:pt x="290350" y="77080"/>
                      <a:pt x="268100" y="52640"/>
                      <a:pt x="247963" y="52640"/>
                    </a:cubicBezTo>
                    <a:cubicBezTo>
                      <a:pt x="246295" y="52640"/>
                      <a:pt x="244626" y="52862"/>
                      <a:pt x="242957" y="53196"/>
                    </a:cubicBezTo>
                    <a:lnTo>
                      <a:pt x="242957" y="4204"/>
                    </a:lnTo>
                    <a:cubicBezTo>
                      <a:pt x="244626" y="4204"/>
                      <a:pt x="246295" y="4093"/>
                      <a:pt x="247963" y="4093"/>
                    </a:cubicBezTo>
                    <a:close/>
                    <a:moveTo>
                      <a:pt x="101779" y="0"/>
                    </a:moveTo>
                    <a:lnTo>
                      <a:pt x="121134" y="0"/>
                    </a:lnTo>
                    <a:cubicBezTo>
                      <a:pt x="154171" y="0"/>
                      <a:pt x="180978" y="26773"/>
                      <a:pt x="180978" y="59656"/>
                    </a:cubicBezTo>
                    <a:lnTo>
                      <a:pt x="180978" y="78430"/>
                    </a:lnTo>
                    <a:cubicBezTo>
                      <a:pt x="183203" y="81541"/>
                      <a:pt x="184315" y="85318"/>
                      <a:pt x="184315" y="89095"/>
                    </a:cubicBezTo>
                    <a:lnTo>
                      <a:pt x="184315" y="102426"/>
                    </a:lnTo>
                    <a:cubicBezTo>
                      <a:pt x="184315" y="107869"/>
                      <a:pt x="181868" y="113090"/>
                      <a:pt x="177752" y="116534"/>
                    </a:cubicBezTo>
                    <a:cubicBezTo>
                      <a:pt x="176751" y="119867"/>
                      <a:pt x="175416" y="123311"/>
                      <a:pt x="173859" y="126643"/>
                    </a:cubicBezTo>
                    <a:cubicBezTo>
                      <a:pt x="170856" y="134753"/>
                      <a:pt x="166406" y="143085"/>
                      <a:pt x="161067" y="150861"/>
                    </a:cubicBezTo>
                    <a:cubicBezTo>
                      <a:pt x="158842" y="154083"/>
                      <a:pt x="155839" y="157860"/>
                      <a:pt x="152502" y="161748"/>
                    </a:cubicBezTo>
                    <a:cubicBezTo>
                      <a:pt x="155505" y="163192"/>
                      <a:pt x="158175" y="165192"/>
                      <a:pt x="160400" y="167747"/>
                    </a:cubicBezTo>
                    <a:lnTo>
                      <a:pt x="204115" y="176412"/>
                    </a:lnTo>
                    <a:cubicBezTo>
                      <a:pt x="215461" y="178745"/>
                      <a:pt x="223692" y="188743"/>
                      <a:pt x="223692" y="200407"/>
                    </a:cubicBezTo>
                    <a:lnTo>
                      <a:pt x="223692" y="358044"/>
                    </a:lnTo>
                    <a:cubicBezTo>
                      <a:pt x="223692" y="361710"/>
                      <a:pt x="222913" y="365154"/>
                      <a:pt x="221467" y="368265"/>
                    </a:cubicBezTo>
                    <a:lnTo>
                      <a:pt x="221467" y="385484"/>
                    </a:lnTo>
                    <a:cubicBezTo>
                      <a:pt x="221467" y="397259"/>
                      <a:pt x="211901" y="406813"/>
                      <a:pt x="200110" y="406813"/>
                    </a:cubicBezTo>
                    <a:cubicBezTo>
                      <a:pt x="195772" y="406813"/>
                      <a:pt x="191879" y="405591"/>
                      <a:pt x="188431" y="403369"/>
                    </a:cubicBezTo>
                    <a:lnTo>
                      <a:pt x="188431" y="566561"/>
                    </a:lnTo>
                    <a:cubicBezTo>
                      <a:pt x="188431" y="587668"/>
                      <a:pt x="171301" y="604887"/>
                      <a:pt x="150166" y="604887"/>
                    </a:cubicBezTo>
                    <a:cubicBezTo>
                      <a:pt x="129032" y="604887"/>
                      <a:pt x="111902" y="587668"/>
                      <a:pt x="111902" y="566561"/>
                    </a:cubicBezTo>
                    <a:cubicBezTo>
                      <a:pt x="111902" y="587668"/>
                      <a:pt x="94772" y="604887"/>
                      <a:pt x="73526" y="604887"/>
                    </a:cubicBezTo>
                    <a:cubicBezTo>
                      <a:pt x="52391" y="604887"/>
                      <a:pt x="35261" y="587668"/>
                      <a:pt x="35261" y="566561"/>
                    </a:cubicBezTo>
                    <a:lnTo>
                      <a:pt x="35261" y="403369"/>
                    </a:lnTo>
                    <a:cubicBezTo>
                      <a:pt x="31924" y="405591"/>
                      <a:pt x="27920" y="406813"/>
                      <a:pt x="23582" y="406813"/>
                    </a:cubicBezTo>
                    <a:cubicBezTo>
                      <a:pt x="11791" y="406813"/>
                      <a:pt x="2225" y="397259"/>
                      <a:pt x="2225" y="385484"/>
                    </a:cubicBezTo>
                    <a:lnTo>
                      <a:pt x="2225" y="368265"/>
                    </a:lnTo>
                    <a:cubicBezTo>
                      <a:pt x="779" y="365154"/>
                      <a:pt x="0" y="361710"/>
                      <a:pt x="0" y="358044"/>
                    </a:cubicBezTo>
                    <a:lnTo>
                      <a:pt x="0" y="200296"/>
                    </a:lnTo>
                    <a:cubicBezTo>
                      <a:pt x="0" y="188743"/>
                      <a:pt x="8231" y="178745"/>
                      <a:pt x="19577" y="176412"/>
                    </a:cubicBezTo>
                    <a:lnTo>
                      <a:pt x="62625" y="167747"/>
                    </a:lnTo>
                    <a:cubicBezTo>
                      <a:pt x="64850" y="165192"/>
                      <a:pt x="67519" y="163192"/>
                      <a:pt x="70522" y="161748"/>
                    </a:cubicBezTo>
                    <a:cubicBezTo>
                      <a:pt x="67074" y="157971"/>
                      <a:pt x="64182" y="154083"/>
                      <a:pt x="61957" y="150861"/>
                    </a:cubicBezTo>
                    <a:cubicBezTo>
                      <a:pt x="56618" y="143085"/>
                      <a:pt x="52169" y="134753"/>
                      <a:pt x="49054" y="126643"/>
                    </a:cubicBezTo>
                    <a:cubicBezTo>
                      <a:pt x="47497" y="123311"/>
                      <a:pt x="46273" y="119867"/>
                      <a:pt x="45161" y="116534"/>
                    </a:cubicBezTo>
                    <a:cubicBezTo>
                      <a:pt x="41045" y="113090"/>
                      <a:pt x="38598" y="107869"/>
                      <a:pt x="38598" y="102426"/>
                    </a:cubicBezTo>
                    <a:lnTo>
                      <a:pt x="38598" y="89095"/>
                    </a:lnTo>
                    <a:cubicBezTo>
                      <a:pt x="38598" y="85318"/>
                      <a:pt x="39822" y="81541"/>
                      <a:pt x="42047" y="78430"/>
                    </a:cubicBezTo>
                    <a:lnTo>
                      <a:pt x="42047" y="59656"/>
                    </a:lnTo>
                    <a:cubicBezTo>
                      <a:pt x="42047" y="26773"/>
                      <a:pt x="68854" y="0"/>
                      <a:pt x="10177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3765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5" name="ïṡļiďé"/>
            <p:cNvGrpSpPr/>
            <p:nvPr/>
          </p:nvGrpSpPr>
          <p:grpSpPr>
            <a:xfrm>
              <a:off x="7111536" y="2360898"/>
              <a:ext cx="636450" cy="636450"/>
              <a:chOff x="1781542" y="2092055"/>
              <a:chExt cx="1153768" cy="1153768"/>
            </a:xfrm>
          </p:grpSpPr>
          <p:sp>
            <p:nvSpPr>
              <p:cNvPr id="35" name="ïṡlîḍé"/>
              <p:cNvSpPr/>
              <p:nvPr/>
            </p:nvSpPr>
            <p:spPr>
              <a:xfrm>
                <a:off x="1781542" y="2092055"/>
                <a:ext cx="1153768" cy="1153768"/>
              </a:xfrm>
              <a:prstGeom prst="ellipse">
                <a:avLst/>
              </a:prstGeom>
              <a:solidFill>
                <a:srgbClr val="DC6140"/>
              </a:solidFill>
              <a:ln w="38100" cap="rnd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3765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îṣliďè"/>
              <p:cNvSpPr/>
              <p:nvPr/>
            </p:nvSpPr>
            <p:spPr>
              <a:xfrm>
                <a:off x="2096566" y="2379192"/>
                <a:ext cx="523720" cy="579494"/>
              </a:xfrm>
              <a:custGeom>
                <a:avLst/>
                <a:gdLst>
                  <a:gd name="connsiteX0" fmla="*/ 481589 w 546670"/>
                  <a:gd name="connsiteY0" fmla="*/ 391913 h 604887"/>
                  <a:gd name="connsiteX1" fmla="*/ 451551 w 546670"/>
                  <a:gd name="connsiteY1" fmla="*/ 406688 h 604887"/>
                  <a:gd name="connsiteX2" fmla="*/ 375678 w 546670"/>
                  <a:gd name="connsiteY2" fmla="*/ 429906 h 604887"/>
                  <a:gd name="connsiteX3" fmla="*/ 352427 w 546670"/>
                  <a:gd name="connsiteY3" fmla="*/ 505670 h 604887"/>
                  <a:gd name="connsiteX4" fmla="*/ 337631 w 546670"/>
                  <a:gd name="connsiteY4" fmla="*/ 535554 h 604887"/>
                  <a:gd name="connsiteX5" fmla="*/ 481589 w 546670"/>
                  <a:gd name="connsiteY5" fmla="*/ 391913 h 604887"/>
                  <a:gd name="connsiteX6" fmla="*/ 384133 w 546670"/>
                  <a:gd name="connsiteY6" fmla="*/ 226609 h 604887"/>
                  <a:gd name="connsiteX7" fmla="*/ 388361 w 546670"/>
                  <a:gd name="connsiteY7" fmla="*/ 302373 h 604887"/>
                  <a:gd name="connsiteX8" fmla="*/ 384133 w 546670"/>
                  <a:gd name="connsiteY8" fmla="*/ 378137 h 604887"/>
                  <a:gd name="connsiteX9" fmla="*/ 432639 w 546670"/>
                  <a:gd name="connsiteY9" fmla="*/ 362029 h 604887"/>
                  <a:gd name="connsiteX10" fmla="*/ 498165 w 546670"/>
                  <a:gd name="connsiteY10" fmla="*/ 302373 h 604887"/>
                  <a:gd name="connsiteX11" fmla="*/ 432639 w 546670"/>
                  <a:gd name="connsiteY11" fmla="*/ 242717 h 604887"/>
                  <a:gd name="connsiteX12" fmla="*/ 384133 w 546670"/>
                  <a:gd name="connsiteY12" fmla="*/ 226609 h 604887"/>
                  <a:gd name="connsiteX13" fmla="*/ 135706 w 546670"/>
                  <a:gd name="connsiteY13" fmla="*/ 175523 h 604887"/>
                  <a:gd name="connsiteX14" fmla="*/ 126473 w 546670"/>
                  <a:gd name="connsiteY14" fmla="*/ 178856 h 604887"/>
                  <a:gd name="connsiteX15" fmla="*/ 123248 w 546670"/>
                  <a:gd name="connsiteY15" fmla="*/ 182633 h 604887"/>
                  <a:gd name="connsiteX16" fmla="*/ 123248 w 546670"/>
                  <a:gd name="connsiteY16" fmla="*/ 192075 h 604887"/>
                  <a:gd name="connsiteX17" fmla="*/ 121801 w 546670"/>
                  <a:gd name="connsiteY17" fmla="*/ 193075 h 604887"/>
                  <a:gd name="connsiteX18" fmla="*/ 120912 w 546670"/>
                  <a:gd name="connsiteY18" fmla="*/ 196075 h 604887"/>
                  <a:gd name="connsiteX19" fmla="*/ 122914 w 546670"/>
                  <a:gd name="connsiteY19" fmla="*/ 216404 h 604887"/>
                  <a:gd name="connsiteX20" fmla="*/ 125695 w 546670"/>
                  <a:gd name="connsiteY20" fmla="*/ 219737 h 604887"/>
                  <a:gd name="connsiteX21" fmla="*/ 126807 w 546670"/>
                  <a:gd name="connsiteY21" fmla="*/ 219848 h 604887"/>
                  <a:gd name="connsiteX22" fmla="*/ 129810 w 546670"/>
                  <a:gd name="connsiteY22" fmla="*/ 218293 h 604887"/>
                  <a:gd name="connsiteX23" fmla="*/ 140600 w 546670"/>
                  <a:gd name="connsiteY23" fmla="*/ 204073 h 604887"/>
                  <a:gd name="connsiteX24" fmla="*/ 141379 w 546670"/>
                  <a:gd name="connsiteY24" fmla="*/ 201740 h 604887"/>
                  <a:gd name="connsiteX25" fmla="*/ 141379 w 546670"/>
                  <a:gd name="connsiteY25" fmla="*/ 178856 h 604887"/>
                  <a:gd name="connsiteX26" fmla="*/ 139488 w 546670"/>
                  <a:gd name="connsiteY26" fmla="*/ 175634 h 604887"/>
                  <a:gd name="connsiteX27" fmla="*/ 135706 w 546670"/>
                  <a:gd name="connsiteY27" fmla="*/ 175523 h 604887"/>
                  <a:gd name="connsiteX28" fmla="*/ 87208 w 546670"/>
                  <a:gd name="connsiteY28" fmla="*/ 175523 h 604887"/>
                  <a:gd name="connsiteX29" fmla="*/ 83537 w 546670"/>
                  <a:gd name="connsiteY29" fmla="*/ 175634 h 604887"/>
                  <a:gd name="connsiteX30" fmla="*/ 81646 w 546670"/>
                  <a:gd name="connsiteY30" fmla="*/ 178856 h 604887"/>
                  <a:gd name="connsiteX31" fmla="*/ 81646 w 546670"/>
                  <a:gd name="connsiteY31" fmla="*/ 201740 h 604887"/>
                  <a:gd name="connsiteX32" fmla="*/ 82425 w 546670"/>
                  <a:gd name="connsiteY32" fmla="*/ 204073 h 604887"/>
                  <a:gd name="connsiteX33" fmla="*/ 93103 w 546670"/>
                  <a:gd name="connsiteY33" fmla="*/ 218293 h 604887"/>
                  <a:gd name="connsiteX34" fmla="*/ 96218 w 546670"/>
                  <a:gd name="connsiteY34" fmla="*/ 219848 h 604887"/>
                  <a:gd name="connsiteX35" fmla="*/ 97219 w 546670"/>
                  <a:gd name="connsiteY35" fmla="*/ 219737 h 604887"/>
                  <a:gd name="connsiteX36" fmla="*/ 100000 w 546670"/>
                  <a:gd name="connsiteY36" fmla="*/ 216404 h 604887"/>
                  <a:gd name="connsiteX37" fmla="*/ 102113 w 546670"/>
                  <a:gd name="connsiteY37" fmla="*/ 196075 h 604887"/>
                  <a:gd name="connsiteX38" fmla="*/ 101112 w 546670"/>
                  <a:gd name="connsiteY38" fmla="*/ 193075 h 604887"/>
                  <a:gd name="connsiteX39" fmla="*/ 99666 w 546670"/>
                  <a:gd name="connsiteY39" fmla="*/ 192075 h 604887"/>
                  <a:gd name="connsiteX40" fmla="*/ 99666 w 546670"/>
                  <a:gd name="connsiteY40" fmla="*/ 182633 h 604887"/>
                  <a:gd name="connsiteX41" fmla="*/ 96551 w 546670"/>
                  <a:gd name="connsiteY41" fmla="*/ 178856 h 604887"/>
                  <a:gd name="connsiteX42" fmla="*/ 87208 w 546670"/>
                  <a:gd name="connsiteY42" fmla="*/ 175523 h 604887"/>
                  <a:gd name="connsiteX43" fmla="*/ 93214 w 546670"/>
                  <a:gd name="connsiteY43" fmla="*/ 72653 h 604887"/>
                  <a:gd name="connsiteX44" fmla="*/ 66629 w 546670"/>
                  <a:gd name="connsiteY44" fmla="*/ 79652 h 604887"/>
                  <a:gd name="connsiteX45" fmla="*/ 64516 w 546670"/>
                  <a:gd name="connsiteY45" fmla="*/ 83096 h 604887"/>
                  <a:gd name="connsiteX46" fmla="*/ 64516 w 546670"/>
                  <a:gd name="connsiteY46" fmla="*/ 89872 h 604887"/>
                  <a:gd name="connsiteX47" fmla="*/ 62959 w 546670"/>
                  <a:gd name="connsiteY47" fmla="*/ 89872 h 604887"/>
                  <a:gd name="connsiteX48" fmla="*/ 59065 w 546670"/>
                  <a:gd name="connsiteY48" fmla="*/ 93761 h 604887"/>
                  <a:gd name="connsiteX49" fmla="*/ 59065 w 546670"/>
                  <a:gd name="connsiteY49" fmla="*/ 99982 h 604887"/>
                  <a:gd name="connsiteX50" fmla="*/ 60845 w 546670"/>
                  <a:gd name="connsiteY50" fmla="*/ 103203 h 604887"/>
                  <a:gd name="connsiteX51" fmla="*/ 64516 w 546670"/>
                  <a:gd name="connsiteY51" fmla="*/ 105647 h 604887"/>
                  <a:gd name="connsiteX52" fmla="*/ 64738 w 546670"/>
                  <a:gd name="connsiteY52" fmla="*/ 107202 h 604887"/>
                  <a:gd name="connsiteX53" fmla="*/ 78531 w 546670"/>
                  <a:gd name="connsiteY53" fmla="*/ 138974 h 604887"/>
                  <a:gd name="connsiteX54" fmla="*/ 101223 w 546670"/>
                  <a:gd name="connsiteY54" fmla="*/ 158526 h 604887"/>
                  <a:gd name="connsiteX55" fmla="*/ 121801 w 546670"/>
                  <a:gd name="connsiteY55" fmla="*/ 158526 h 604887"/>
                  <a:gd name="connsiteX56" fmla="*/ 144493 w 546670"/>
                  <a:gd name="connsiteY56" fmla="*/ 138974 h 604887"/>
                  <a:gd name="connsiteX57" fmla="*/ 158175 w 546670"/>
                  <a:gd name="connsiteY57" fmla="*/ 107202 h 604887"/>
                  <a:gd name="connsiteX58" fmla="*/ 158398 w 546670"/>
                  <a:gd name="connsiteY58" fmla="*/ 105647 h 604887"/>
                  <a:gd name="connsiteX59" fmla="*/ 162179 w 546670"/>
                  <a:gd name="connsiteY59" fmla="*/ 103203 h 604887"/>
                  <a:gd name="connsiteX60" fmla="*/ 163848 w 546670"/>
                  <a:gd name="connsiteY60" fmla="*/ 100093 h 604887"/>
                  <a:gd name="connsiteX61" fmla="*/ 163848 w 546670"/>
                  <a:gd name="connsiteY61" fmla="*/ 93761 h 604887"/>
                  <a:gd name="connsiteX62" fmla="*/ 160066 w 546670"/>
                  <a:gd name="connsiteY62" fmla="*/ 89872 h 604887"/>
                  <a:gd name="connsiteX63" fmla="*/ 157953 w 546670"/>
                  <a:gd name="connsiteY63" fmla="*/ 89872 h 604887"/>
                  <a:gd name="connsiteX64" fmla="*/ 156729 w 546670"/>
                  <a:gd name="connsiteY64" fmla="*/ 88650 h 604887"/>
                  <a:gd name="connsiteX65" fmla="*/ 153058 w 546670"/>
                  <a:gd name="connsiteY65" fmla="*/ 88317 h 604887"/>
                  <a:gd name="connsiteX66" fmla="*/ 137930 w 546670"/>
                  <a:gd name="connsiteY66" fmla="*/ 91761 h 604887"/>
                  <a:gd name="connsiteX67" fmla="*/ 114460 w 546670"/>
                  <a:gd name="connsiteY67" fmla="*/ 81207 h 604887"/>
                  <a:gd name="connsiteX68" fmla="*/ 93214 w 546670"/>
                  <a:gd name="connsiteY68" fmla="*/ 72653 h 604887"/>
                  <a:gd name="connsiteX69" fmla="*/ 337631 w 546670"/>
                  <a:gd name="connsiteY69" fmla="*/ 69193 h 604887"/>
                  <a:gd name="connsiteX70" fmla="*/ 352427 w 546670"/>
                  <a:gd name="connsiteY70" fmla="*/ 99187 h 604887"/>
                  <a:gd name="connsiteX71" fmla="*/ 375678 w 546670"/>
                  <a:gd name="connsiteY71" fmla="*/ 174952 h 604887"/>
                  <a:gd name="connsiteX72" fmla="*/ 451551 w 546670"/>
                  <a:gd name="connsiteY72" fmla="*/ 198059 h 604887"/>
                  <a:gd name="connsiteX73" fmla="*/ 481589 w 546670"/>
                  <a:gd name="connsiteY73" fmla="*/ 212945 h 604887"/>
                  <a:gd name="connsiteX74" fmla="*/ 337631 w 546670"/>
                  <a:gd name="connsiteY74" fmla="*/ 69193 h 604887"/>
                  <a:gd name="connsiteX75" fmla="*/ 247963 w 546670"/>
                  <a:gd name="connsiteY75" fmla="*/ 4093 h 604887"/>
                  <a:gd name="connsiteX76" fmla="*/ 546670 w 546670"/>
                  <a:gd name="connsiteY76" fmla="*/ 302373 h 604887"/>
                  <a:gd name="connsiteX77" fmla="*/ 247963 w 546670"/>
                  <a:gd name="connsiteY77" fmla="*/ 600653 h 604887"/>
                  <a:gd name="connsiteX78" fmla="*/ 242957 w 546670"/>
                  <a:gd name="connsiteY78" fmla="*/ 600653 h 604887"/>
                  <a:gd name="connsiteX79" fmla="*/ 242957 w 546670"/>
                  <a:gd name="connsiteY79" fmla="*/ 551662 h 604887"/>
                  <a:gd name="connsiteX80" fmla="*/ 247963 w 546670"/>
                  <a:gd name="connsiteY80" fmla="*/ 552217 h 604887"/>
                  <a:gd name="connsiteX81" fmla="*/ 307705 w 546670"/>
                  <a:gd name="connsiteY81" fmla="*/ 486674 h 604887"/>
                  <a:gd name="connsiteX82" fmla="*/ 323836 w 546670"/>
                  <a:gd name="connsiteY82" fmla="*/ 438238 h 604887"/>
                  <a:gd name="connsiteX83" fmla="*/ 247963 w 546670"/>
                  <a:gd name="connsiteY83" fmla="*/ 442570 h 604887"/>
                  <a:gd name="connsiteX84" fmla="*/ 242957 w 546670"/>
                  <a:gd name="connsiteY84" fmla="*/ 442570 h 604887"/>
                  <a:gd name="connsiteX85" fmla="*/ 242957 w 546670"/>
                  <a:gd name="connsiteY85" fmla="*/ 394024 h 604887"/>
                  <a:gd name="connsiteX86" fmla="*/ 247963 w 546670"/>
                  <a:gd name="connsiteY86" fmla="*/ 394135 h 604887"/>
                  <a:gd name="connsiteX87" fmla="*/ 333848 w 546670"/>
                  <a:gd name="connsiteY87" fmla="*/ 388136 h 604887"/>
                  <a:gd name="connsiteX88" fmla="*/ 339856 w 546670"/>
                  <a:gd name="connsiteY88" fmla="*/ 302373 h 604887"/>
                  <a:gd name="connsiteX89" fmla="*/ 333848 w 546670"/>
                  <a:gd name="connsiteY89" fmla="*/ 216722 h 604887"/>
                  <a:gd name="connsiteX90" fmla="*/ 247963 w 546670"/>
                  <a:gd name="connsiteY90" fmla="*/ 210723 h 604887"/>
                  <a:gd name="connsiteX91" fmla="*/ 242957 w 546670"/>
                  <a:gd name="connsiteY91" fmla="*/ 210723 h 604887"/>
                  <a:gd name="connsiteX92" fmla="*/ 242957 w 546670"/>
                  <a:gd name="connsiteY92" fmla="*/ 162287 h 604887"/>
                  <a:gd name="connsiteX93" fmla="*/ 247963 w 546670"/>
                  <a:gd name="connsiteY93" fmla="*/ 162176 h 604887"/>
                  <a:gd name="connsiteX94" fmla="*/ 323836 w 546670"/>
                  <a:gd name="connsiteY94" fmla="*/ 166509 h 604887"/>
                  <a:gd name="connsiteX95" fmla="*/ 307705 w 546670"/>
                  <a:gd name="connsiteY95" fmla="*/ 118073 h 604887"/>
                  <a:gd name="connsiteX96" fmla="*/ 247963 w 546670"/>
                  <a:gd name="connsiteY96" fmla="*/ 52640 h 604887"/>
                  <a:gd name="connsiteX97" fmla="*/ 242957 w 546670"/>
                  <a:gd name="connsiteY97" fmla="*/ 53196 h 604887"/>
                  <a:gd name="connsiteX98" fmla="*/ 242957 w 546670"/>
                  <a:gd name="connsiteY98" fmla="*/ 4204 h 604887"/>
                  <a:gd name="connsiteX99" fmla="*/ 247963 w 546670"/>
                  <a:gd name="connsiteY99" fmla="*/ 4093 h 604887"/>
                  <a:gd name="connsiteX100" fmla="*/ 101779 w 546670"/>
                  <a:gd name="connsiteY100" fmla="*/ 0 h 604887"/>
                  <a:gd name="connsiteX101" fmla="*/ 121134 w 546670"/>
                  <a:gd name="connsiteY101" fmla="*/ 0 h 604887"/>
                  <a:gd name="connsiteX102" fmla="*/ 180978 w 546670"/>
                  <a:gd name="connsiteY102" fmla="*/ 59656 h 604887"/>
                  <a:gd name="connsiteX103" fmla="*/ 180978 w 546670"/>
                  <a:gd name="connsiteY103" fmla="*/ 78430 h 604887"/>
                  <a:gd name="connsiteX104" fmla="*/ 184315 w 546670"/>
                  <a:gd name="connsiteY104" fmla="*/ 89095 h 604887"/>
                  <a:gd name="connsiteX105" fmla="*/ 184315 w 546670"/>
                  <a:gd name="connsiteY105" fmla="*/ 102426 h 604887"/>
                  <a:gd name="connsiteX106" fmla="*/ 177752 w 546670"/>
                  <a:gd name="connsiteY106" fmla="*/ 116534 h 604887"/>
                  <a:gd name="connsiteX107" fmla="*/ 173859 w 546670"/>
                  <a:gd name="connsiteY107" fmla="*/ 126643 h 604887"/>
                  <a:gd name="connsiteX108" fmla="*/ 161067 w 546670"/>
                  <a:gd name="connsiteY108" fmla="*/ 150861 h 604887"/>
                  <a:gd name="connsiteX109" fmla="*/ 152502 w 546670"/>
                  <a:gd name="connsiteY109" fmla="*/ 161748 h 604887"/>
                  <a:gd name="connsiteX110" fmla="*/ 160400 w 546670"/>
                  <a:gd name="connsiteY110" fmla="*/ 167747 h 604887"/>
                  <a:gd name="connsiteX111" fmla="*/ 204115 w 546670"/>
                  <a:gd name="connsiteY111" fmla="*/ 176412 h 604887"/>
                  <a:gd name="connsiteX112" fmla="*/ 223692 w 546670"/>
                  <a:gd name="connsiteY112" fmla="*/ 200407 h 604887"/>
                  <a:gd name="connsiteX113" fmla="*/ 223692 w 546670"/>
                  <a:gd name="connsiteY113" fmla="*/ 358044 h 604887"/>
                  <a:gd name="connsiteX114" fmla="*/ 221467 w 546670"/>
                  <a:gd name="connsiteY114" fmla="*/ 368265 h 604887"/>
                  <a:gd name="connsiteX115" fmla="*/ 221467 w 546670"/>
                  <a:gd name="connsiteY115" fmla="*/ 385484 h 604887"/>
                  <a:gd name="connsiteX116" fmla="*/ 200110 w 546670"/>
                  <a:gd name="connsiteY116" fmla="*/ 406813 h 604887"/>
                  <a:gd name="connsiteX117" fmla="*/ 188431 w 546670"/>
                  <a:gd name="connsiteY117" fmla="*/ 403369 h 604887"/>
                  <a:gd name="connsiteX118" fmla="*/ 188431 w 546670"/>
                  <a:gd name="connsiteY118" fmla="*/ 566561 h 604887"/>
                  <a:gd name="connsiteX119" fmla="*/ 150166 w 546670"/>
                  <a:gd name="connsiteY119" fmla="*/ 604887 h 604887"/>
                  <a:gd name="connsiteX120" fmla="*/ 111902 w 546670"/>
                  <a:gd name="connsiteY120" fmla="*/ 566561 h 604887"/>
                  <a:gd name="connsiteX121" fmla="*/ 73526 w 546670"/>
                  <a:gd name="connsiteY121" fmla="*/ 604887 h 604887"/>
                  <a:gd name="connsiteX122" fmla="*/ 35261 w 546670"/>
                  <a:gd name="connsiteY122" fmla="*/ 566561 h 604887"/>
                  <a:gd name="connsiteX123" fmla="*/ 35261 w 546670"/>
                  <a:gd name="connsiteY123" fmla="*/ 403369 h 604887"/>
                  <a:gd name="connsiteX124" fmla="*/ 23582 w 546670"/>
                  <a:gd name="connsiteY124" fmla="*/ 406813 h 604887"/>
                  <a:gd name="connsiteX125" fmla="*/ 2225 w 546670"/>
                  <a:gd name="connsiteY125" fmla="*/ 385484 h 604887"/>
                  <a:gd name="connsiteX126" fmla="*/ 2225 w 546670"/>
                  <a:gd name="connsiteY126" fmla="*/ 368265 h 604887"/>
                  <a:gd name="connsiteX127" fmla="*/ 0 w 546670"/>
                  <a:gd name="connsiteY127" fmla="*/ 358044 h 604887"/>
                  <a:gd name="connsiteX128" fmla="*/ 0 w 546670"/>
                  <a:gd name="connsiteY128" fmla="*/ 200296 h 604887"/>
                  <a:gd name="connsiteX129" fmla="*/ 19577 w 546670"/>
                  <a:gd name="connsiteY129" fmla="*/ 176412 h 604887"/>
                  <a:gd name="connsiteX130" fmla="*/ 62625 w 546670"/>
                  <a:gd name="connsiteY130" fmla="*/ 167747 h 604887"/>
                  <a:gd name="connsiteX131" fmla="*/ 70522 w 546670"/>
                  <a:gd name="connsiteY131" fmla="*/ 161748 h 604887"/>
                  <a:gd name="connsiteX132" fmla="*/ 61957 w 546670"/>
                  <a:gd name="connsiteY132" fmla="*/ 150861 h 604887"/>
                  <a:gd name="connsiteX133" fmla="*/ 49054 w 546670"/>
                  <a:gd name="connsiteY133" fmla="*/ 126643 h 604887"/>
                  <a:gd name="connsiteX134" fmla="*/ 45161 w 546670"/>
                  <a:gd name="connsiteY134" fmla="*/ 116534 h 604887"/>
                  <a:gd name="connsiteX135" fmla="*/ 38598 w 546670"/>
                  <a:gd name="connsiteY135" fmla="*/ 102426 h 604887"/>
                  <a:gd name="connsiteX136" fmla="*/ 38598 w 546670"/>
                  <a:gd name="connsiteY136" fmla="*/ 89095 h 604887"/>
                  <a:gd name="connsiteX137" fmla="*/ 42047 w 546670"/>
                  <a:gd name="connsiteY137" fmla="*/ 78430 h 604887"/>
                  <a:gd name="connsiteX138" fmla="*/ 42047 w 546670"/>
                  <a:gd name="connsiteY138" fmla="*/ 59656 h 604887"/>
                  <a:gd name="connsiteX139" fmla="*/ 101779 w 546670"/>
                  <a:gd name="connsiteY139" fmla="*/ 0 h 6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</a:cxnLst>
                <a:rect l="l" t="t" r="r" b="b"/>
                <a:pathLst>
                  <a:path w="546670" h="604887">
                    <a:moveTo>
                      <a:pt x="481589" y="391913"/>
                    </a:moveTo>
                    <a:cubicBezTo>
                      <a:pt x="472466" y="397134"/>
                      <a:pt x="462454" y="402133"/>
                      <a:pt x="451551" y="406688"/>
                    </a:cubicBezTo>
                    <a:cubicBezTo>
                      <a:pt x="428967" y="416242"/>
                      <a:pt x="403269" y="424018"/>
                      <a:pt x="375678" y="429906"/>
                    </a:cubicBezTo>
                    <a:cubicBezTo>
                      <a:pt x="369782" y="457457"/>
                      <a:pt x="361995" y="483008"/>
                      <a:pt x="352427" y="505670"/>
                    </a:cubicBezTo>
                    <a:cubicBezTo>
                      <a:pt x="347866" y="516446"/>
                      <a:pt x="342860" y="526444"/>
                      <a:pt x="337631" y="535554"/>
                    </a:cubicBezTo>
                    <a:cubicBezTo>
                      <a:pt x="403602" y="510225"/>
                      <a:pt x="456112" y="457790"/>
                      <a:pt x="481589" y="391913"/>
                    </a:cubicBezTo>
                    <a:close/>
                    <a:moveTo>
                      <a:pt x="384133" y="226609"/>
                    </a:moveTo>
                    <a:cubicBezTo>
                      <a:pt x="386915" y="251049"/>
                      <a:pt x="388361" y="276489"/>
                      <a:pt x="388361" y="302373"/>
                    </a:cubicBezTo>
                    <a:cubicBezTo>
                      <a:pt x="388361" y="328369"/>
                      <a:pt x="386915" y="353697"/>
                      <a:pt x="384133" y="378137"/>
                    </a:cubicBezTo>
                    <a:cubicBezTo>
                      <a:pt x="401600" y="373694"/>
                      <a:pt x="417842" y="368250"/>
                      <a:pt x="432639" y="362029"/>
                    </a:cubicBezTo>
                    <a:cubicBezTo>
                      <a:pt x="473690" y="344699"/>
                      <a:pt x="498165" y="322370"/>
                      <a:pt x="498165" y="302373"/>
                    </a:cubicBezTo>
                    <a:cubicBezTo>
                      <a:pt x="498165" y="282377"/>
                      <a:pt x="473690" y="260047"/>
                      <a:pt x="432639" y="242717"/>
                    </a:cubicBezTo>
                    <a:cubicBezTo>
                      <a:pt x="417842" y="236496"/>
                      <a:pt x="401600" y="231164"/>
                      <a:pt x="384133" y="226609"/>
                    </a:cubicBezTo>
                    <a:close/>
                    <a:moveTo>
                      <a:pt x="135706" y="175523"/>
                    </a:moveTo>
                    <a:cubicBezTo>
                      <a:pt x="132591" y="177189"/>
                      <a:pt x="129477" y="178300"/>
                      <a:pt x="126473" y="178856"/>
                    </a:cubicBezTo>
                    <a:cubicBezTo>
                      <a:pt x="124582" y="179189"/>
                      <a:pt x="123248" y="180744"/>
                      <a:pt x="123248" y="182633"/>
                    </a:cubicBezTo>
                    <a:lnTo>
                      <a:pt x="123248" y="192075"/>
                    </a:lnTo>
                    <a:cubicBezTo>
                      <a:pt x="122691" y="192298"/>
                      <a:pt x="122246" y="192631"/>
                      <a:pt x="121801" y="193075"/>
                    </a:cubicBezTo>
                    <a:cubicBezTo>
                      <a:pt x="121134" y="193964"/>
                      <a:pt x="120689" y="194964"/>
                      <a:pt x="120912" y="196075"/>
                    </a:cubicBezTo>
                    <a:lnTo>
                      <a:pt x="122914" y="216404"/>
                    </a:lnTo>
                    <a:cubicBezTo>
                      <a:pt x="123136" y="217960"/>
                      <a:pt x="124249" y="219293"/>
                      <a:pt x="125695" y="219737"/>
                    </a:cubicBezTo>
                    <a:cubicBezTo>
                      <a:pt x="126028" y="219737"/>
                      <a:pt x="126473" y="219848"/>
                      <a:pt x="126807" y="219848"/>
                    </a:cubicBezTo>
                    <a:cubicBezTo>
                      <a:pt x="127919" y="219848"/>
                      <a:pt x="129032" y="219293"/>
                      <a:pt x="129810" y="218293"/>
                    </a:cubicBezTo>
                    <a:lnTo>
                      <a:pt x="140600" y="204073"/>
                    </a:lnTo>
                    <a:cubicBezTo>
                      <a:pt x="141045" y="203407"/>
                      <a:pt x="141379" y="202629"/>
                      <a:pt x="141379" y="201740"/>
                    </a:cubicBezTo>
                    <a:lnTo>
                      <a:pt x="141379" y="178856"/>
                    </a:lnTo>
                    <a:cubicBezTo>
                      <a:pt x="141379" y="177523"/>
                      <a:pt x="140600" y="176301"/>
                      <a:pt x="139488" y="175634"/>
                    </a:cubicBezTo>
                    <a:cubicBezTo>
                      <a:pt x="138375" y="174968"/>
                      <a:pt x="136929" y="174856"/>
                      <a:pt x="135706" y="175523"/>
                    </a:cubicBezTo>
                    <a:close/>
                    <a:moveTo>
                      <a:pt x="87208" y="175523"/>
                    </a:moveTo>
                    <a:cubicBezTo>
                      <a:pt x="86095" y="174856"/>
                      <a:pt x="84649" y="174968"/>
                      <a:pt x="83537" y="175634"/>
                    </a:cubicBezTo>
                    <a:cubicBezTo>
                      <a:pt x="82313" y="176301"/>
                      <a:pt x="81646" y="177523"/>
                      <a:pt x="81646" y="178856"/>
                    </a:cubicBezTo>
                    <a:lnTo>
                      <a:pt x="81646" y="201740"/>
                    </a:lnTo>
                    <a:cubicBezTo>
                      <a:pt x="81646" y="202629"/>
                      <a:pt x="81868" y="203407"/>
                      <a:pt x="82425" y="204073"/>
                    </a:cubicBezTo>
                    <a:lnTo>
                      <a:pt x="93103" y="218293"/>
                    </a:lnTo>
                    <a:cubicBezTo>
                      <a:pt x="93882" y="219293"/>
                      <a:pt x="94994" y="219848"/>
                      <a:pt x="96218" y="219848"/>
                    </a:cubicBezTo>
                    <a:cubicBezTo>
                      <a:pt x="96551" y="219848"/>
                      <a:pt x="96885" y="219848"/>
                      <a:pt x="97219" y="219737"/>
                    </a:cubicBezTo>
                    <a:cubicBezTo>
                      <a:pt x="98776" y="219293"/>
                      <a:pt x="99888" y="217960"/>
                      <a:pt x="100000" y="216404"/>
                    </a:cubicBezTo>
                    <a:lnTo>
                      <a:pt x="102113" y="196075"/>
                    </a:lnTo>
                    <a:cubicBezTo>
                      <a:pt x="102224" y="194964"/>
                      <a:pt x="101891" y="193964"/>
                      <a:pt x="101112" y="193075"/>
                    </a:cubicBezTo>
                    <a:cubicBezTo>
                      <a:pt x="100778" y="192631"/>
                      <a:pt x="100222" y="192298"/>
                      <a:pt x="99666" y="192075"/>
                    </a:cubicBezTo>
                    <a:lnTo>
                      <a:pt x="99666" y="182633"/>
                    </a:lnTo>
                    <a:cubicBezTo>
                      <a:pt x="99666" y="180744"/>
                      <a:pt x="98331" y="179189"/>
                      <a:pt x="96551" y="178856"/>
                    </a:cubicBezTo>
                    <a:cubicBezTo>
                      <a:pt x="93548" y="178300"/>
                      <a:pt x="90433" y="177189"/>
                      <a:pt x="87208" y="175523"/>
                    </a:cubicBezTo>
                    <a:close/>
                    <a:moveTo>
                      <a:pt x="93214" y="72653"/>
                    </a:moveTo>
                    <a:cubicBezTo>
                      <a:pt x="82313" y="72653"/>
                      <a:pt x="71857" y="77097"/>
                      <a:pt x="66629" y="79652"/>
                    </a:cubicBezTo>
                    <a:cubicBezTo>
                      <a:pt x="65294" y="80319"/>
                      <a:pt x="64516" y="81652"/>
                      <a:pt x="64516" y="83096"/>
                    </a:cubicBezTo>
                    <a:lnTo>
                      <a:pt x="64516" y="89872"/>
                    </a:lnTo>
                    <a:lnTo>
                      <a:pt x="62959" y="89872"/>
                    </a:lnTo>
                    <a:cubicBezTo>
                      <a:pt x="60845" y="89872"/>
                      <a:pt x="59065" y="91650"/>
                      <a:pt x="59065" y="93761"/>
                    </a:cubicBezTo>
                    <a:lnTo>
                      <a:pt x="59065" y="99982"/>
                    </a:lnTo>
                    <a:cubicBezTo>
                      <a:pt x="59065" y="101315"/>
                      <a:pt x="59733" y="102537"/>
                      <a:pt x="60845" y="103203"/>
                    </a:cubicBezTo>
                    <a:lnTo>
                      <a:pt x="64516" y="105647"/>
                    </a:lnTo>
                    <a:lnTo>
                      <a:pt x="64738" y="107202"/>
                    </a:lnTo>
                    <a:cubicBezTo>
                      <a:pt x="65962" y="116423"/>
                      <a:pt x="71079" y="128199"/>
                      <a:pt x="78531" y="138974"/>
                    </a:cubicBezTo>
                    <a:cubicBezTo>
                      <a:pt x="87875" y="152527"/>
                      <a:pt x="96663" y="158526"/>
                      <a:pt x="101223" y="158526"/>
                    </a:cubicBezTo>
                    <a:lnTo>
                      <a:pt x="121801" y="158526"/>
                    </a:lnTo>
                    <a:cubicBezTo>
                      <a:pt x="126362" y="158526"/>
                      <a:pt x="135150" y="152527"/>
                      <a:pt x="144493" y="138974"/>
                    </a:cubicBezTo>
                    <a:cubicBezTo>
                      <a:pt x="151835" y="128199"/>
                      <a:pt x="156951" y="116423"/>
                      <a:pt x="158175" y="107202"/>
                    </a:cubicBezTo>
                    <a:lnTo>
                      <a:pt x="158398" y="105647"/>
                    </a:lnTo>
                    <a:lnTo>
                      <a:pt x="162179" y="103203"/>
                    </a:lnTo>
                    <a:cubicBezTo>
                      <a:pt x="163181" y="102537"/>
                      <a:pt x="163848" y="101315"/>
                      <a:pt x="163848" y="100093"/>
                    </a:cubicBezTo>
                    <a:lnTo>
                      <a:pt x="163848" y="93761"/>
                    </a:lnTo>
                    <a:cubicBezTo>
                      <a:pt x="163848" y="91650"/>
                      <a:pt x="162179" y="89872"/>
                      <a:pt x="160066" y="89872"/>
                    </a:cubicBezTo>
                    <a:lnTo>
                      <a:pt x="157953" y="89872"/>
                    </a:lnTo>
                    <a:cubicBezTo>
                      <a:pt x="157619" y="89428"/>
                      <a:pt x="157285" y="88984"/>
                      <a:pt x="156729" y="88650"/>
                    </a:cubicBezTo>
                    <a:cubicBezTo>
                      <a:pt x="155617" y="87984"/>
                      <a:pt x="154282" y="87873"/>
                      <a:pt x="153058" y="88317"/>
                    </a:cubicBezTo>
                    <a:cubicBezTo>
                      <a:pt x="147942" y="90650"/>
                      <a:pt x="142825" y="91761"/>
                      <a:pt x="137930" y="91761"/>
                    </a:cubicBezTo>
                    <a:cubicBezTo>
                      <a:pt x="129254" y="91761"/>
                      <a:pt x="121357" y="88206"/>
                      <a:pt x="114460" y="81207"/>
                    </a:cubicBezTo>
                    <a:cubicBezTo>
                      <a:pt x="109010" y="75542"/>
                      <a:pt x="101779" y="72653"/>
                      <a:pt x="93214" y="72653"/>
                    </a:cubicBezTo>
                    <a:close/>
                    <a:moveTo>
                      <a:pt x="337631" y="69193"/>
                    </a:moveTo>
                    <a:cubicBezTo>
                      <a:pt x="342860" y="78302"/>
                      <a:pt x="347866" y="88300"/>
                      <a:pt x="352427" y="99187"/>
                    </a:cubicBezTo>
                    <a:cubicBezTo>
                      <a:pt x="361995" y="121739"/>
                      <a:pt x="369782" y="147290"/>
                      <a:pt x="375678" y="174952"/>
                    </a:cubicBezTo>
                    <a:cubicBezTo>
                      <a:pt x="403269" y="180728"/>
                      <a:pt x="428967" y="188505"/>
                      <a:pt x="451551" y="198059"/>
                    </a:cubicBezTo>
                    <a:cubicBezTo>
                      <a:pt x="462454" y="202724"/>
                      <a:pt x="472466" y="207612"/>
                      <a:pt x="481589" y="212945"/>
                    </a:cubicBezTo>
                    <a:cubicBezTo>
                      <a:pt x="456112" y="147068"/>
                      <a:pt x="403602" y="94633"/>
                      <a:pt x="337631" y="69193"/>
                    </a:cubicBezTo>
                    <a:close/>
                    <a:moveTo>
                      <a:pt x="247963" y="4093"/>
                    </a:moveTo>
                    <a:cubicBezTo>
                      <a:pt x="412725" y="4093"/>
                      <a:pt x="546670" y="137958"/>
                      <a:pt x="546670" y="302373"/>
                    </a:cubicBezTo>
                    <a:cubicBezTo>
                      <a:pt x="546670" y="466899"/>
                      <a:pt x="412725" y="600653"/>
                      <a:pt x="247963" y="600653"/>
                    </a:cubicBezTo>
                    <a:cubicBezTo>
                      <a:pt x="246295" y="600653"/>
                      <a:pt x="244626" y="600653"/>
                      <a:pt x="242957" y="600653"/>
                    </a:cubicBezTo>
                    <a:lnTo>
                      <a:pt x="242957" y="551662"/>
                    </a:lnTo>
                    <a:cubicBezTo>
                      <a:pt x="244626" y="551995"/>
                      <a:pt x="246295" y="552217"/>
                      <a:pt x="247963" y="552217"/>
                    </a:cubicBezTo>
                    <a:cubicBezTo>
                      <a:pt x="268100" y="552217"/>
                      <a:pt x="290350" y="527666"/>
                      <a:pt x="307705" y="486674"/>
                    </a:cubicBezTo>
                    <a:cubicBezTo>
                      <a:pt x="314046" y="472010"/>
                      <a:pt x="319386" y="455679"/>
                      <a:pt x="323836" y="438238"/>
                    </a:cubicBezTo>
                    <a:cubicBezTo>
                      <a:pt x="299472" y="441126"/>
                      <a:pt x="273996" y="442570"/>
                      <a:pt x="247963" y="442570"/>
                    </a:cubicBezTo>
                    <a:cubicBezTo>
                      <a:pt x="246295" y="442570"/>
                      <a:pt x="244626" y="442570"/>
                      <a:pt x="242957" y="442570"/>
                    </a:cubicBezTo>
                    <a:lnTo>
                      <a:pt x="242957" y="394024"/>
                    </a:lnTo>
                    <a:cubicBezTo>
                      <a:pt x="244626" y="394024"/>
                      <a:pt x="246295" y="394135"/>
                      <a:pt x="247963" y="394135"/>
                    </a:cubicBezTo>
                    <a:cubicBezTo>
                      <a:pt x="277778" y="394135"/>
                      <a:pt x="306703" y="392024"/>
                      <a:pt x="333848" y="388136"/>
                    </a:cubicBezTo>
                    <a:cubicBezTo>
                      <a:pt x="337742" y="361029"/>
                      <a:pt x="339856" y="332146"/>
                      <a:pt x="339856" y="302373"/>
                    </a:cubicBezTo>
                    <a:cubicBezTo>
                      <a:pt x="339856" y="272712"/>
                      <a:pt x="337742" y="243828"/>
                      <a:pt x="333848" y="216722"/>
                    </a:cubicBezTo>
                    <a:cubicBezTo>
                      <a:pt x="306703" y="212723"/>
                      <a:pt x="277778" y="210723"/>
                      <a:pt x="247963" y="210723"/>
                    </a:cubicBezTo>
                    <a:cubicBezTo>
                      <a:pt x="246295" y="210723"/>
                      <a:pt x="244626" y="210723"/>
                      <a:pt x="242957" y="210723"/>
                    </a:cubicBezTo>
                    <a:lnTo>
                      <a:pt x="242957" y="162287"/>
                    </a:lnTo>
                    <a:cubicBezTo>
                      <a:pt x="244626" y="162287"/>
                      <a:pt x="246295" y="162176"/>
                      <a:pt x="247963" y="162176"/>
                    </a:cubicBezTo>
                    <a:cubicBezTo>
                      <a:pt x="273996" y="162176"/>
                      <a:pt x="299472" y="163731"/>
                      <a:pt x="323836" y="166509"/>
                    </a:cubicBezTo>
                    <a:cubicBezTo>
                      <a:pt x="319386" y="149067"/>
                      <a:pt x="314046" y="132848"/>
                      <a:pt x="307705" y="118073"/>
                    </a:cubicBezTo>
                    <a:cubicBezTo>
                      <a:pt x="290350" y="77080"/>
                      <a:pt x="268100" y="52640"/>
                      <a:pt x="247963" y="52640"/>
                    </a:cubicBezTo>
                    <a:cubicBezTo>
                      <a:pt x="246295" y="52640"/>
                      <a:pt x="244626" y="52862"/>
                      <a:pt x="242957" y="53196"/>
                    </a:cubicBezTo>
                    <a:lnTo>
                      <a:pt x="242957" y="4204"/>
                    </a:lnTo>
                    <a:cubicBezTo>
                      <a:pt x="244626" y="4204"/>
                      <a:pt x="246295" y="4093"/>
                      <a:pt x="247963" y="4093"/>
                    </a:cubicBezTo>
                    <a:close/>
                    <a:moveTo>
                      <a:pt x="101779" y="0"/>
                    </a:moveTo>
                    <a:lnTo>
                      <a:pt x="121134" y="0"/>
                    </a:lnTo>
                    <a:cubicBezTo>
                      <a:pt x="154171" y="0"/>
                      <a:pt x="180978" y="26773"/>
                      <a:pt x="180978" y="59656"/>
                    </a:cubicBezTo>
                    <a:lnTo>
                      <a:pt x="180978" y="78430"/>
                    </a:lnTo>
                    <a:cubicBezTo>
                      <a:pt x="183203" y="81541"/>
                      <a:pt x="184315" y="85318"/>
                      <a:pt x="184315" y="89095"/>
                    </a:cubicBezTo>
                    <a:lnTo>
                      <a:pt x="184315" y="102426"/>
                    </a:lnTo>
                    <a:cubicBezTo>
                      <a:pt x="184315" y="107869"/>
                      <a:pt x="181868" y="113090"/>
                      <a:pt x="177752" y="116534"/>
                    </a:cubicBezTo>
                    <a:cubicBezTo>
                      <a:pt x="176751" y="119867"/>
                      <a:pt x="175416" y="123311"/>
                      <a:pt x="173859" y="126643"/>
                    </a:cubicBezTo>
                    <a:cubicBezTo>
                      <a:pt x="170856" y="134753"/>
                      <a:pt x="166406" y="143085"/>
                      <a:pt x="161067" y="150861"/>
                    </a:cubicBezTo>
                    <a:cubicBezTo>
                      <a:pt x="158842" y="154083"/>
                      <a:pt x="155839" y="157860"/>
                      <a:pt x="152502" y="161748"/>
                    </a:cubicBezTo>
                    <a:cubicBezTo>
                      <a:pt x="155505" y="163192"/>
                      <a:pt x="158175" y="165192"/>
                      <a:pt x="160400" y="167747"/>
                    </a:cubicBezTo>
                    <a:lnTo>
                      <a:pt x="204115" y="176412"/>
                    </a:lnTo>
                    <a:cubicBezTo>
                      <a:pt x="215461" y="178745"/>
                      <a:pt x="223692" y="188743"/>
                      <a:pt x="223692" y="200407"/>
                    </a:cubicBezTo>
                    <a:lnTo>
                      <a:pt x="223692" y="358044"/>
                    </a:lnTo>
                    <a:cubicBezTo>
                      <a:pt x="223692" y="361710"/>
                      <a:pt x="222913" y="365154"/>
                      <a:pt x="221467" y="368265"/>
                    </a:cubicBezTo>
                    <a:lnTo>
                      <a:pt x="221467" y="385484"/>
                    </a:lnTo>
                    <a:cubicBezTo>
                      <a:pt x="221467" y="397259"/>
                      <a:pt x="211901" y="406813"/>
                      <a:pt x="200110" y="406813"/>
                    </a:cubicBezTo>
                    <a:cubicBezTo>
                      <a:pt x="195772" y="406813"/>
                      <a:pt x="191879" y="405591"/>
                      <a:pt x="188431" y="403369"/>
                    </a:cubicBezTo>
                    <a:lnTo>
                      <a:pt x="188431" y="566561"/>
                    </a:lnTo>
                    <a:cubicBezTo>
                      <a:pt x="188431" y="587668"/>
                      <a:pt x="171301" y="604887"/>
                      <a:pt x="150166" y="604887"/>
                    </a:cubicBezTo>
                    <a:cubicBezTo>
                      <a:pt x="129032" y="604887"/>
                      <a:pt x="111902" y="587668"/>
                      <a:pt x="111902" y="566561"/>
                    </a:cubicBezTo>
                    <a:cubicBezTo>
                      <a:pt x="111902" y="587668"/>
                      <a:pt x="94772" y="604887"/>
                      <a:pt x="73526" y="604887"/>
                    </a:cubicBezTo>
                    <a:cubicBezTo>
                      <a:pt x="52391" y="604887"/>
                      <a:pt x="35261" y="587668"/>
                      <a:pt x="35261" y="566561"/>
                    </a:cubicBezTo>
                    <a:lnTo>
                      <a:pt x="35261" y="403369"/>
                    </a:lnTo>
                    <a:cubicBezTo>
                      <a:pt x="31924" y="405591"/>
                      <a:pt x="27920" y="406813"/>
                      <a:pt x="23582" y="406813"/>
                    </a:cubicBezTo>
                    <a:cubicBezTo>
                      <a:pt x="11791" y="406813"/>
                      <a:pt x="2225" y="397259"/>
                      <a:pt x="2225" y="385484"/>
                    </a:cubicBezTo>
                    <a:lnTo>
                      <a:pt x="2225" y="368265"/>
                    </a:lnTo>
                    <a:cubicBezTo>
                      <a:pt x="779" y="365154"/>
                      <a:pt x="0" y="361710"/>
                      <a:pt x="0" y="358044"/>
                    </a:cubicBezTo>
                    <a:lnTo>
                      <a:pt x="0" y="200296"/>
                    </a:lnTo>
                    <a:cubicBezTo>
                      <a:pt x="0" y="188743"/>
                      <a:pt x="8231" y="178745"/>
                      <a:pt x="19577" y="176412"/>
                    </a:cubicBezTo>
                    <a:lnTo>
                      <a:pt x="62625" y="167747"/>
                    </a:lnTo>
                    <a:cubicBezTo>
                      <a:pt x="64850" y="165192"/>
                      <a:pt x="67519" y="163192"/>
                      <a:pt x="70522" y="161748"/>
                    </a:cubicBezTo>
                    <a:cubicBezTo>
                      <a:pt x="67074" y="157971"/>
                      <a:pt x="64182" y="154083"/>
                      <a:pt x="61957" y="150861"/>
                    </a:cubicBezTo>
                    <a:cubicBezTo>
                      <a:pt x="56618" y="143085"/>
                      <a:pt x="52169" y="134753"/>
                      <a:pt x="49054" y="126643"/>
                    </a:cubicBezTo>
                    <a:cubicBezTo>
                      <a:pt x="47497" y="123311"/>
                      <a:pt x="46273" y="119867"/>
                      <a:pt x="45161" y="116534"/>
                    </a:cubicBezTo>
                    <a:cubicBezTo>
                      <a:pt x="41045" y="113090"/>
                      <a:pt x="38598" y="107869"/>
                      <a:pt x="38598" y="102426"/>
                    </a:cubicBezTo>
                    <a:lnTo>
                      <a:pt x="38598" y="89095"/>
                    </a:lnTo>
                    <a:cubicBezTo>
                      <a:pt x="38598" y="85318"/>
                      <a:pt x="39822" y="81541"/>
                      <a:pt x="42047" y="78430"/>
                    </a:cubicBezTo>
                    <a:lnTo>
                      <a:pt x="42047" y="59656"/>
                    </a:lnTo>
                    <a:cubicBezTo>
                      <a:pt x="42047" y="26773"/>
                      <a:pt x="68854" y="0"/>
                      <a:pt x="10177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3765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6" name="îṥ1îḍè"/>
            <p:cNvGrpSpPr/>
            <p:nvPr/>
          </p:nvGrpSpPr>
          <p:grpSpPr>
            <a:xfrm>
              <a:off x="4456743" y="4623876"/>
              <a:ext cx="636450" cy="636450"/>
              <a:chOff x="1781542" y="2092055"/>
              <a:chExt cx="1153768" cy="1153768"/>
            </a:xfrm>
          </p:grpSpPr>
          <p:sp>
            <p:nvSpPr>
              <p:cNvPr id="33" name="ïš1îďé"/>
              <p:cNvSpPr/>
              <p:nvPr/>
            </p:nvSpPr>
            <p:spPr>
              <a:xfrm>
                <a:off x="1781542" y="2092055"/>
                <a:ext cx="1153768" cy="1153768"/>
              </a:xfrm>
              <a:prstGeom prst="ellipse">
                <a:avLst/>
              </a:prstGeom>
              <a:solidFill>
                <a:srgbClr val="FFC000"/>
              </a:solidFill>
              <a:ln w="38100" cap="rnd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3765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iṣļiḑê"/>
              <p:cNvSpPr/>
              <p:nvPr/>
            </p:nvSpPr>
            <p:spPr>
              <a:xfrm>
                <a:off x="2096566" y="2379192"/>
                <a:ext cx="523720" cy="579494"/>
              </a:xfrm>
              <a:custGeom>
                <a:avLst/>
                <a:gdLst>
                  <a:gd name="connsiteX0" fmla="*/ 481589 w 546670"/>
                  <a:gd name="connsiteY0" fmla="*/ 391913 h 604887"/>
                  <a:gd name="connsiteX1" fmla="*/ 451551 w 546670"/>
                  <a:gd name="connsiteY1" fmla="*/ 406688 h 604887"/>
                  <a:gd name="connsiteX2" fmla="*/ 375678 w 546670"/>
                  <a:gd name="connsiteY2" fmla="*/ 429906 h 604887"/>
                  <a:gd name="connsiteX3" fmla="*/ 352427 w 546670"/>
                  <a:gd name="connsiteY3" fmla="*/ 505670 h 604887"/>
                  <a:gd name="connsiteX4" fmla="*/ 337631 w 546670"/>
                  <a:gd name="connsiteY4" fmla="*/ 535554 h 604887"/>
                  <a:gd name="connsiteX5" fmla="*/ 481589 w 546670"/>
                  <a:gd name="connsiteY5" fmla="*/ 391913 h 604887"/>
                  <a:gd name="connsiteX6" fmla="*/ 384133 w 546670"/>
                  <a:gd name="connsiteY6" fmla="*/ 226609 h 604887"/>
                  <a:gd name="connsiteX7" fmla="*/ 388361 w 546670"/>
                  <a:gd name="connsiteY7" fmla="*/ 302373 h 604887"/>
                  <a:gd name="connsiteX8" fmla="*/ 384133 w 546670"/>
                  <a:gd name="connsiteY8" fmla="*/ 378137 h 604887"/>
                  <a:gd name="connsiteX9" fmla="*/ 432639 w 546670"/>
                  <a:gd name="connsiteY9" fmla="*/ 362029 h 604887"/>
                  <a:gd name="connsiteX10" fmla="*/ 498165 w 546670"/>
                  <a:gd name="connsiteY10" fmla="*/ 302373 h 604887"/>
                  <a:gd name="connsiteX11" fmla="*/ 432639 w 546670"/>
                  <a:gd name="connsiteY11" fmla="*/ 242717 h 604887"/>
                  <a:gd name="connsiteX12" fmla="*/ 384133 w 546670"/>
                  <a:gd name="connsiteY12" fmla="*/ 226609 h 604887"/>
                  <a:gd name="connsiteX13" fmla="*/ 135706 w 546670"/>
                  <a:gd name="connsiteY13" fmla="*/ 175523 h 604887"/>
                  <a:gd name="connsiteX14" fmla="*/ 126473 w 546670"/>
                  <a:gd name="connsiteY14" fmla="*/ 178856 h 604887"/>
                  <a:gd name="connsiteX15" fmla="*/ 123248 w 546670"/>
                  <a:gd name="connsiteY15" fmla="*/ 182633 h 604887"/>
                  <a:gd name="connsiteX16" fmla="*/ 123248 w 546670"/>
                  <a:gd name="connsiteY16" fmla="*/ 192075 h 604887"/>
                  <a:gd name="connsiteX17" fmla="*/ 121801 w 546670"/>
                  <a:gd name="connsiteY17" fmla="*/ 193075 h 604887"/>
                  <a:gd name="connsiteX18" fmla="*/ 120912 w 546670"/>
                  <a:gd name="connsiteY18" fmla="*/ 196075 h 604887"/>
                  <a:gd name="connsiteX19" fmla="*/ 122914 w 546670"/>
                  <a:gd name="connsiteY19" fmla="*/ 216404 h 604887"/>
                  <a:gd name="connsiteX20" fmla="*/ 125695 w 546670"/>
                  <a:gd name="connsiteY20" fmla="*/ 219737 h 604887"/>
                  <a:gd name="connsiteX21" fmla="*/ 126807 w 546670"/>
                  <a:gd name="connsiteY21" fmla="*/ 219848 h 604887"/>
                  <a:gd name="connsiteX22" fmla="*/ 129810 w 546670"/>
                  <a:gd name="connsiteY22" fmla="*/ 218293 h 604887"/>
                  <a:gd name="connsiteX23" fmla="*/ 140600 w 546670"/>
                  <a:gd name="connsiteY23" fmla="*/ 204073 h 604887"/>
                  <a:gd name="connsiteX24" fmla="*/ 141379 w 546670"/>
                  <a:gd name="connsiteY24" fmla="*/ 201740 h 604887"/>
                  <a:gd name="connsiteX25" fmla="*/ 141379 w 546670"/>
                  <a:gd name="connsiteY25" fmla="*/ 178856 h 604887"/>
                  <a:gd name="connsiteX26" fmla="*/ 139488 w 546670"/>
                  <a:gd name="connsiteY26" fmla="*/ 175634 h 604887"/>
                  <a:gd name="connsiteX27" fmla="*/ 135706 w 546670"/>
                  <a:gd name="connsiteY27" fmla="*/ 175523 h 604887"/>
                  <a:gd name="connsiteX28" fmla="*/ 87208 w 546670"/>
                  <a:gd name="connsiteY28" fmla="*/ 175523 h 604887"/>
                  <a:gd name="connsiteX29" fmla="*/ 83537 w 546670"/>
                  <a:gd name="connsiteY29" fmla="*/ 175634 h 604887"/>
                  <a:gd name="connsiteX30" fmla="*/ 81646 w 546670"/>
                  <a:gd name="connsiteY30" fmla="*/ 178856 h 604887"/>
                  <a:gd name="connsiteX31" fmla="*/ 81646 w 546670"/>
                  <a:gd name="connsiteY31" fmla="*/ 201740 h 604887"/>
                  <a:gd name="connsiteX32" fmla="*/ 82425 w 546670"/>
                  <a:gd name="connsiteY32" fmla="*/ 204073 h 604887"/>
                  <a:gd name="connsiteX33" fmla="*/ 93103 w 546670"/>
                  <a:gd name="connsiteY33" fmla="*/ 218293 h 604887"/>
                  <a:gd name="connsiteX34" fmla="*/ 96218 w 546670"/>
                  <a:gd name="connsiteY34" fmla="*/ 219848 h 604887"/>
                  <a:gd name="connsiteX35" fmla="*/ 97219 w 546670"/>
                  <a:gd name="connsiteY35" fmla="*/ 219737 h 604887"/>
                  <a:gd name="connsiteX36" fmla="*/ 100000 w 546670"/>
                  <a:gd name="connsiteY36" fmla="*/ 216404 h 604887"/>
                  <a:gd name="connsiteX37" fmla="*/ 102113 w 546670"/>
                  <a:gd name="connsiteY37" fmla="*/ 196075 h 604887"/>
                  <a:gd name="connsiteX38" fmla="*/ 101112 w 546670"/>
                  <a:gd name="connsiteY38" fmla="*/ 193075 h 604887"/>
                  <a:gd name="connsiteX39" fmla="*/ 99666 w 546670"/>
                  <a:gd name="connsiteY39" fmla="*/ 192075 h 604887"/>
                  <a:gd name="connsiteX40" fmla="*/ 99666 w 546670"/>
                  <a:gd name="connsiteY40" fmla="*/ 182633 h 604887"/>
                  <a:gd name="connsiteX41" fmla="*/ 96551 w 546670"/>
                  <a:gd name="connsiteY41" fmla="*/ 178856 h 604887"/>
                  <a:gd name="connsiteX42" fmla="*/ 87208 w 546670"/>
                  <a:gd name="connsiteY42" fmla="*/ 175523 h 604887"/>
                  <a:gd name="connsiteX43" fmla="*/ 93214 w 546670"/>
                  <a:gd name="connsiteY43" fmla="*/ 72653 h 604887"/>
                  <a:gd name="connsiteX44" fmla="*/ 66629 w 546670"/>
                  <a:gd name="connsiteY44" fmla="*/ 79652 h 604887"/>
                  <a:gd name="connsiteX45" fmla="*/ 64516 w 546670"/>
                  <a:gd name="connsiteY45" fmla="*/ 83096 h 604887"/>
                  <a:gd name="connsiteX46" fmla="*/ 64516 w 546670"/>
                  <a:gd name="connsiteY46" fmla="*/ 89872 h 604887"/>
                  <a:gd name="connsiteX47" fmla="*/ 62959 w 546670"/>
                  <a:gd name="connsiteY47" fmla="*/ 89872 h 604887"/>
                  <a:gd name="connsiteX48" fmla="*/ 59065 w 546670"/>
                  <a:gd name="connsiteY48" fmla="*/ 93761 h 604887"/>
                  <a:gd name="connsiteX49" fmla="*/ 59065 w 546670"/>
                  <a:gd name="connsiteY49" fmla="*/ 99982 h 604887"/>
                  <a:gd name="connsiteX50" fmla="*/ 60845 w 546670"/>
                  <a:gd name="connsiteY50" fmla="*/ 103203 h 604887"/>
                  <a:gd name="connsiteX51" fmla="*/ 64516 w 546670"/>
                  <a:gd name="connsiteY51" fmla="*/ 105647 h 604887"/>
                  <a:gd name="connsiteX52" fmla="*/ 64738 w 546670"/>
                  <a:gd name="connsiteY52" fmla="*/ 107202 h 604887"/>
                  <a:gd name="connsiteX53" fmla="*/ 78531 w 546670"/>
                  <a:gd name="connsiteY53" fmla="*/ 138974 h 604887"/>
                  <a:gd name="connsiteX54" fmla="*/ 101223 w 546670"/>
                  <a:gd name="connsiteY54" fmla="*/ 158526 h 604887"/>
                  <a:gd name="connsiteX55" fmla="*/ 121801 w 546670"/>
                  <a:gd name="connsiteY55" fmla="*/ 158526 h 604887"/>
                  <a:gd name="connsiteX56" fmla="*/ 144493 w 546670"/>
                  <a:gd name="connsiteY56" fmla="*/ 138974 h 604887"/>
                  <a:gd name="connsiteX57" fmla="*/ 158175 w 546670"/>
                  <a:gd name="connsiteY57" fmla="*/ 107202 h 604887"/>
                  <a:gd name="connsiteX58" fmla="*/ 158398 w 546670"/>
                  <a:gd name="connsiteY58" fmla="*/ 105647 h 604887"/>
                  <a:gd name="connsiteX59" fmla="*/ 162179 w 546670"/>
                  <a:gd name="connsiteY59" fmla="*/ 103203 h 604887"/>
                  <a:gd name="connsiteX60" fmla="*/ 163848 w 546670"/>
                  <a:gd name="connsiteY60" fmla="*/ 100093 h 604887"/>
                  <a:gd name="connsiteX61" fmla="*/ 163848 w 546670"/>
                  <a:gd name="connsiteY61" fmla="*/ 93761 h 604887"/>
                  <a:gd name="connsiteX62" fmla="*/ 160066 w 546670"/>
                  <a:gd name="connsiteY62" fmla="*/ 89872 h 604887"/>
                  <a:gd name="connsiteX63" fmla="*/ 157953 w 546670"/>
                  <a:gd name="connsiteY63" fmla="*/ 89872 h 604887"/>
                  <a:gd name="connsiteX64" fmla="*/ 156729 w 546670"/>
                  <a:gd name="connsiteY64" fmla="*/ 88650 h 604887"/>
                  <a:gd name="connsiteX65" fmla="*/ 153058 w 546670"/>
                  <a:gd name="connsiteY65" fmla="*/ 88317 h 604887"/>
                  <a:gd name="connsiteX66" fmla="*/ 137930 w 546670"/>
                  <a:gd name="connsiteY66" fmla="*/ 91761 h 604887"/>
                  <a:gd name="connsiteX67" fmla="*/ 114460 w 546670"/>
                  <a:gd name="connsiteY67" fmla="*/ 81207 h 604887"/>
                  <a:gd name="connsiteX68" fmla="*/ 93214 w 546670"/>
                  <a:gd name="connsiteY68" fmla="*/ 72653 h 604887"/>
                  <a:gd name="connsiteX69" fmla="*/ 337631 w 546670"/>
                  <a:gd name="connsiteY69" fmla="*/ 69193 h 604887"/>
                  <a:gd name="connsiteX70" fmla="*/ 352427 w 546670"/>
                  <a:gd name="connsiteY70" fmla="*/ 99187 h 604887"/>
                  <a:gd name="connsiteX71" fmla="*/ 375678 w 546670"/>
                  <a:gd name="connsiteY71" fmla="*/ 174952 h 604887"/>
                  <a:gd name="connsiteX72" fmla="*/ 451551 w 546670"/>
                  <a:gd name="connsiteY72" fmla="*/ 198059 h 604887"/>
                  <a:gd name="connsiteX73" fmla="*/ 481589 w 546670"/>
                  <a:gd name="connsiteY73" fmla="*/ 212945 h 604887"/>
                  <a:gd name="connsiteX74" fmla="*/ 337631 w 546670"/>
                  <a:gd name="connsiteY74" fmla="*/ 69193 h 604887"/>
                  <a:gd name="connsiteX75" fmla="*/ 247963 w 546670"/>
                  <a:gd name="connsiteY75" fmla="*/ 4093 h 604887"/>
                  <a:gd name="connsiteX76" fmla="*/ 546670 w 546670"/>
                  <a:gd name="connsiteY76" fmla="*/ 302373 h 604887"/>
                  <a:gd name="connsiteX77" fmla="*/ 247963 w 546670"/>
                  <a:gd name="connsiteY77" fmla="*/ 600653 h 604887"/>
                  <a:gd name="connsiteX78" fmla="*/ 242957 w 546670"/>
                  <a:gd name="connsiteY78" fmla="*/ 600653 h 604887"/>
                  <a:gd name="connsiteX79" fmla="*/ 242957 w 546670"/>
                  <a:gd name="connsiteY79" fmla="*/ 551662 h 604887"/>
                  <a:gd name="connsiteX80" fmla="*/ 247963 w 546670"/>
                  <a:gd name="connsiteY80" fmla="*/ 552217 h 604887"/>
                  <a:gd name="connsiteX81" fmla="*/ 307705 w 546670"/>
                  <a:gd name="connsiteY81" fmla="*/ 486674 h 604887"/>
                  <a:gd name="connsiteX82" fmla="*/ 323836 w 546670"/>
                  <a:gd name="connsiteY82" fmla="*/ 438238 h 604887"/>
                  <a:gd name="connsiteX83" fmla="*/ 247963 w 546670"/>
                  <a:gd name="connsiteY83" fmla="*/ 442570 h 604887"/>
                  <a:gd name="connsiteX84" fmla="*/ 242957 w 546670"/>
                  <a:gd name="connsiteY84" fmla="*/ 442570 h 604887"/>
                  <a:gd name="connsiteX85" fmla="*/ 242957 w 546670"/>
                  <a:gd name="connsiteY85" fmla="*/ 394024 h 604887"/>
                  <a:gd name="connsiteX86" fmla="*/ 247963 w 546670"/>
                  <a:gd name="connsiteY86" fmla="*/ 394135 h 604887"/>
                  <a:gd name="connsiteX87" fmla="*/ 333848 w 546670"/>
                  <a:gd name="connsiteY87" fmla="*/ 388136 h 604887"/>
                  <a:gd name="connsiteX88" fmla="*/ 339856 w 546670"/>
                  <a:gd name="connsiteY88" fmla="*/ 302373 h 604887"/>
                  <a:gd name="connsiteX89" fmla="*/ 333848 w 546670"/>
                  <a:gd name="connsiteY89" fmla="*/ 216722 h 604887"/>
                  <a:gd name="connsiteX90" fmla="*/ 247963 w 546670"/>
                  <a:gd name="connsiteY90" fmla="*/ 210723 h 604887"/>
                  <a:gd name="connsiteX91" fmla="*/ 242957 w 546670"/>
                  <a:gd name="connsiteY91" fmla="*/ 210723 h 604887"/>
                  <a:gd name="connsiteX92" fmla="*/ 242957 w 546670"/>
                  <a:gd name="connsiteY92" fmla="*/ 162287 h 604887"/>
                  <a:gd name="connsiteX93" fmla="*/ 247963 w 546670"/>
                  <a:gd name="connsiteY93" fmla="*/ 162176 h 604887"/>
                  <a:gd name="connsiteX94" fmla="*/ 323836 w 546670"/>
                  <a:gd name="connsiteY94" fmla="*/ 166509 h 604887"/>
                  <a:gd name="connsiteX95" fmla="*/ 307705 w 546670"/>
                  <a:gd name="connsiteY95" fmla="*/ 118073 h 604887"/>
                  <a:gd name="connsiteX96" fmla="*/ 247963 w 546670"/>
                  <a:gd name="connsiteY96" fmla="*/ 52640 h 604887"/>
                  <a:gd name="connsiteX97" fmla="*/ 242957 w 546670"/>
                  <a:gd name="connsiteY97" fmla="*/ 53196 h 604887"/>
                  <a:gd name="connsiteX98" fmla="*/ 242957 w 546670"/>
                  <a:gd name="connsiteY98" fmla="*/ 4204 h 604887"/>
                  <a:gd name="connsiteX99" fmla="*/ 247963 w 546670"/>
                  <a:gd name="connsiteY99" fmla="*/ 4093 h 604887"/>
                  <a:gd name="connsiteX100" fmla="*/ 101779 w 546670"/>
                  <a:gd name="connsiteY100" fmla="*/ 0 h 604887"/>
                  <a:gd name="connsiteX101" fmla="*/ 121134 w 546670"/>
                  <a:gd name="connsiteY101" fmla="*/ 0 h 604887"/>
                  <a:gd name="connsiteX102" fmla="*/ 180978 w 546670"/>
                  <a:gd name="connsiteY102" fmla="*/ 59656 h 604887"/>
                  <a:gd name="connsiteX103" fmla="*/ 180978 w 546670"/>
                  <a:gd name="connsiteY103" fmla="*/ 78430 h 604887"/>
                  <a:gd name="connsiteX104" fmla="*/ 184315 w 546670"/>
                  <a:gd name="connsiteY104" fmla="*/ 89095 h 604887"/>
                  <a:gd name="connsiteX105" fmla="*/ 184315 w 546670"/>
                  <a:gd name="connsiteY105" fmla="*/ 102426 h 604887"/>
                  <a:gd name="connsiteX106" fmla="*/ 177752 w 546670"/>
                  <a:gd name="connsiteY106" fmla="*/ 116534 h 604887"/>
                  <a:gd name="connsiteX107" fmla="*/ 173859 w 546670"/>
                  <a:gd name="connsiteY107" fmla="*/ 126643 h 604887"/>
                  <a:gd name="connsiteX108" fmla="*/ 161067 w 546670"/>
                  <a:gd name="connsiteY108" fmla="*/ 150861 h 604887"/>
                  <a:gd name="connsiteX109" fmla="*/ 152502 w 546670"/>
                  <a:gd name="connsiteY109" fmla="*/ 161748 h 604887"/>
                  <a:gd name="connsiteX110" fmla="*/ 160400 w 546670"/>
                  <a:gd name="connsiteY110" fmla="*/ 167747 h 604887"/>
                  <a:gd name="connsiteX111" fmla="*/ 204115 w 546670"/>
                  <a:gd name="connsiteY111" fmla="*/ 176412 h 604887"/>
                  <a:gd name="connsiteX112" fmla="*/ 223692 w 546670"/>
                  <a:gd name="connsiteY112" fmla="*/ 200407 h 604887"/>
                  <a:gd name="connsiteX113" fmla="*/ 223692 w 546670"/>
                  <a:gd name="connsiteY113" fmla="*/ 358044 h 604887"/>
                  <a:gd name="connsiteX114" fmla="*/ 221467 w 546670"/>
                  <a:gd name="connsiteY114" fmla="*/ 368265 h 604887"/>
                  <a:gd name="connsiteX115" fmla="*/ 221467 w 546670"/>
                  <a:gd name="connsiteY115" fmla="*/ 385484 h 604887"/>
                  <a:gd name="connsiteX116" fmla="*/ 200110 w 546670"/>
                  <a:gd name="connsiteY116" fmla="*/ 406813 h 604887"/>
                  <a:gd name="connsiteX117" fmla="*/ 188431 w 546670"/>
                  <a:gd name="connsiteY117" fmla="*/ 403369 h 604887"/>
                  <a:gd name="connsiteX118" fmla="*/ 188431 w 546670"/>
                  <a:gd name="connsiteY118" fmla="*/ 566561 h 604887"/>
                  <a:gd name="connsiteX119" fmla="*/ 150166 w 546670"/>
                  <a:gd name="connsiteY119" fmla="*/ 604887 h 604887"/>
                  <a:gd name="connsiteX120" fmla="*/ 111902 w 546670"/>
                  <a:gd name="connsiteY120" fmla="*/ 566561 h 604887"/>
                  <a:gd name="connsiteX121" fmla="*/ 73526 w 546670"/>
                  <a:gd name="connsiteY121" fmla="*/ 604887 h 604887"/>
                  <a:gd name="connsiteX122" fmla="*/ 35261 w 546670"/>
                  <a:gd name="connsiteY122" fmla="*/ 566561 h 604887"/>
                  <a:gd name="connsiteX123" fmla="*/ 35261 w 546670"/>
                  <a:gd name="connsiteY123" fmla="*/ 403369 h 604887"/>
                  <a:gd name="connsiteX124" fmla="*/ 23582 w 546670"/>
                  <a:gd name="connsiteY124" fmla="*/ 406813 h 604887"/>
                  <a:gd name="connsiteX125" fmla="*/ 2225 w 546670"/>
                  <a:gd name="connsiteY125" fmla="*/ 385484 h 604887"/>
                  <a:gd name="connsiteX126" fmla="*/ 2225 w 546670"/>
                  <a:gd name="connsiteY126" fmla="*/ 368265 h 604887"/>
                  <a:gd name="connsiteX127" fmla="*/ 0 w 546670"/>
                  <a:gd name="connsiteY127" fmla="*/ 358044 h 604887"/>
                  <a:gd name="connsiteX128" fmla="*/ 0 w 546670"/>
                  <a:gd name="connsiteY128" fmla="*/ 200296 h 604887"/>
                  <a:gd name="connsiteX129" fmla="*/ 19577 w 546670"/>
                  <a:gd name="connsiteY129" fmla="*/ 176412 h 604887"/>
                  <a:gd name="connsiteX130" fmla="*/ 62625 w 546670"/>
                  <a:gd name="connsiteY130" fmla="*/ 167747 h 604887"/>
                  <a:gd name="connsiteX131" fmla="*/ 70522 w 546670"/>
                  <a:gd name="connsiteY131" fmla="*/ 161748 h 604887"/>
                  <a:gd name="connsiteX132" fmla="*/ 61957 w 546670"/>
                  <a:gd name="connsiteY132" fmla="*/ 150861 h 604887"/>
                  <a:gd name="connsiteX133" fmla="*/ 49054 w 546670"/>
                  <a:gd name="connsiteY133" fmla="*/ 126643 h 604887"/>
                  <a:gd name="connsiteX134" fmla="*/ 45161 w 546670"/>
                  <a:gd name="connsiteY134" fmla="*/ 116534 h 604887"/>
                  <a:gd name="connsiteX135" fmla="*/ 38598 w 546670"/>
                  <a:gd name="connsiteY135" fmla="*/ 102426 h 604887"/>
                  <a:gd name="connsiteX136" fmla="*/ 38598 w 546670"/>
                  <a:gd name="connsiteY136" fmla="*/ 89095 h 604887"/>
                  <a:gd name="connsiteX137" fmla="*/ 42047 w 546670"/>
                  <a:gd name="connsiteY137" fmla="*/ 78430 h 604887"/>
                  <a:gd name="connsiteX138" fmla="*/ 42047 w 546670"/>
                  <a:gd name="connsiteY138" fmla="*/ 59656 h 604887"/>
                  <a:gd name="connsiteX139" fmla="*/ 101779 w 546670"/>
                  <a:gd name="connsiteY139" fmla="*/ 0 h 6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</a:cxnLst>
                <a:rect l="l" t="t" r="r" b="b"/>
                <a:pathLst>
                  <a:path w="546670" h="604887">
                    <a:moveTo>
                      <a:pt x="481589" y="391913"/>
                    </a:moveTo>
                    <a:cubicBezTo>
                      <a:pt x="472466" y="397134"/>
                      <a:pt x="462454" y="402133"/>
                      <a:pt x="451551" y="406688"/>
                    </a:cubicBezTo>
                    <a:cubicBezTo>
                      <a:pt x="428967" y="416242"/>
                      <a:pt x="403269" y="424018"/>
                      <a:pt x="375678" y="429906"/>
                    </a:cubicBezTo>
                    <a:cubicBezTo>
                      <a:pt x="369782" y="457457"/>
                      <a:pt x="361995" y="483008"/>
                      <a:pt x="352427" y="505670"/>
                    </a:cubicBezTo>
                    <a:cubicBezTo>
                      <a:pt x="347866" y="516446"/>
                      <a:pt x="342860" y="526444"/>
                      <a:pt x="337631" y="535554"/>
                    </a:cubicBezTo>
                    <a:cubicBezTo>
                      <a:pt x="403602" y="510225"/>
                      <a:pt x="456112" y="457790"/>
                      <a:pt x="481589" y="391913"/>
                    </a:cubicBezTo>
                    <a:close/>
                    <a:moveTo>
                      <a:pt x="384133" y="226609"/>
                    </a:moveTo>
                    <a:cubicBezTo>
                      <a:pt x="386915" y="251049"/>
                      <a:pt x="388361" y="276489"/>
                      <a:pt x="388361" y="302373"/>
                    </a:cubicBezTo>
                    <a:cubicBezTo>
                      <a:pt x="388361" y="328369"/>
                      <a:pt x="386915" y="353697"/>
                      <a:pt x="384133" y="378137"/>
                    </a:cubicBezTo>
                    <a:cubicBezTo>
                      <a:pt x="401600" y="373694"/>
                      <a:pt x="417842" y="368250"/>
                      <a:pt x="432639" y="362029"/>
                    </a:cubicBezTo>
                    <a:cubicBezTo>
                      <a:pt x="473690" y="344699"/>
                      <a:pt x="498165" y="322370"/>
                      <a:pt x="498165" y="302373"/>
                    </a:cubicBezTo>
                    <a:cubicBezTo>
                      <a:pt x="498165" y="282377"/>
                      <a:pt x="473690" y="260047"/>
                      <a:pt x="432639" y="242717"/>
                    </a:cubicBezTo>
                    <a:cubicBezTo>
                      <a:pt x="417842" y="236496"/>
                      <a:pt x="401600" y="231164"/>
                      <a:pt x="384133" y="226609"/>
                    </a:cubicBezTo>
                    <a:close/>
                    <a:moveTo>
                      <a:pt x="135706" y="175523"/>
                    </a:moveTo>
                    <a:cubicBezTo>
                      <a:pt x="132591" y="177189"/>
                      <a:pt x="129477" y="178300"/>
                      <a:pt x="126473" y="178856"/>
                    </a:cubicBezTo>
                    <a:cubicBezTo>
                      <a:pt x="124582" y="179189"/>
                      <a:pt x="123248" y="180744"/>
                      <a:pt x="123248" y="182633"/>
                    </a:cubicBezTo>
                    <a:lnTo>
                      <a:pt x="123248" y="192075"/>
                    </a:lnTo>
                    <a:cubicBezTo>
                      <a:pt x="122691" y="192298"/>
                      <a:pt x="122246" y="192631"/>
                      <a:pt x="121801" y="193075"/>
                    </a:cubicBezTo>
                    <a:cubicBezTo>
                      <a:pt x="121134" y="193964"/>
                      <a:pt x="120689" y="194964"/>
                      <a:pt x="120912" y="196075"/>
                    </a:cubicBezTo>
                    <a:lnTo>
                      <a:pt x="122914" y="216404"/>
                    </a:lnTo>
                    <a:cubicBezTo>
                      <a:pt x="123136" y="217960"/>
                      <a:pt x="124249" y="219293"/>
                      <a:pt x="125695" y="219737"/>
                    </a:cubicBezTo>
                    <a:cubicBezTo>
                      <a:pt x="126028" y="219737"/>
                      <a:pt x="126473" y="219848"/>
                      <a:pt x="126807" y="219848"/>
                    </a:cubicBezTo>
                    <a:cubicBezTo>
                      <a:pt x="127919" y="219848"/>
                      <a:pt x="129032" y="219293"/>
                      <a:pt x="129810" y="218293"/>
                    </a:cubicBezTo>
                    <a:lnTo>
                      <a:pt x="140600" y="204073"/>
                    </a:lnTo>
                    <a:cubicBezTo>
                      <a:pt x="141045" y="203407"/>
                      <a:pt x="141379" y="202629"/>
                      <a:pt x="141379" y="201740"/>
                    </a:cubicBezTo>
                    <a:lnTo>
                      <a:pt x="141379" y="178856"/>
                    </a:lnTo>
                    <a:cubicBezTo>
                      <a:pt x="141379" y="177523"/>
                      <a:pt x="140600" y="176301"/>
                      <a:pt x="139488" y="175634"/>
                    </a:cubicBezTo>
                    <a:cubicBezTo>
                      <a:pt x="138375" y="174968"/>
                      <a:pt x="136929" y="174856"/>
                      <a:pt x="135706" y="175523"/>
                    </a:cubicBezTo>
                    <a:close/>
                    <a:moveTo>
                      <a:pt x="87208" y="175523"/>
                    </a:moveTo>
                    <a:cubicBezTo>
                      <a:pt x="86095" y="174856"/>
                      <a:pt x="84649" y="174968"/>
                      <a:pt x="83537" y="175634"/>
                    </a:cubicBezTo>
                    <a:cubicBezTo>
                      <a:pt x="82313" y="176301"/>
                      <a:pt x="81646" y="177523"/>
                      <a:pt x="81646" y="178856"/>
                    </a:cubicBezTo>
                    <a:lnTo>
                      <a:pt x="81646" y="201740"/>
                    </a:lnTo>
                    <a:cubicBezTo>
                      <a:pt x="81646" y="202629"/>
                      <a:pt x="81868" y="203407"/>
                      <a:pt x="82425" y="204073"/>
                    </a:cubicBezTo>
                    <a:lnTo>
                      <a:pt x="93103" y="218293"/>
                    </a:lnTo>
                    <a:cubicBezTo>
                      <a:pt x="93882" y="219293"/>
                      <a:pt x="94994" y="219848"/>
                      <a:pt x="96218" y="219848"/>
                    </a:cubicBezTo>
                    <a:cubicBezTo>
                      <a:pt x="96551" y="219848"/>
                      <a:pt x="96885" y="219848"/>
                      <a:pt x="97219" y="219737"/>
                    </a:cubicBezTo>
                    <a:cubicBezTo>
                      <a:pt x="98776" y="219293"/>
                      <a:pt x="99888" y="217960"/>
                      <a:pt x="100000" y="216404"/>
                    </a:cubicBezTo>
                    <a:lnTo>
                      <a:pt x="102113" y="196075"/>
                    </a:lnTo>
                    <a:cubicBezTo>
                      <a:pt x="102224" y="194964"/>
                      <a:pt x="101891" y="193964"/>
                      <a:pt x="101112" y="193075"/>
                    </a:cubicBezTo>
                    <a:cubicBezTo>
                      <a:pt x="100778" y="192631"/>
                      <a:pt x="100222" y="192298"/>
                      <a:pt x="99666" y="192075"/>
                    </a:cubicBezTo>
                    <a:lnTo>
                      <a:pt x="99666" y="182633"/>
                    </a:lnTo>
                    <a:cubicBezTo>
                      <a:pt x="99666" y="180744"/>
                      <a:pt x="98331" y="179189"/>
                      <a:pt x="96551" y="178856"/>
                    </a:cubicBezTo>
                    <a:cubicBezTo>
                      <a:pt x="93548" y="178300"/>
                      <a:pt x="90433" y="177189"/>
                      <a:pt x="87208" y="175523"/>
                    </a:cubicBezTo>
                    <a:close/>
                    <a:moveTo>
                      <a:pt x="93214" y="72653"/>
                    </a:moveTo>
                    <a:cubicBezTo>
                      <a:pt x="82313" y="72653"/>
                      <a:pt x="71857" y="77097"/>
                      <a:pt x="66629" y="79652"/>
                    </a:cubicBezTo>
                    <a:cubicBezTo>
                      <a:pt x="65294" y="80319"/>
                      <a:pt x="64516" y="81652"/>
                      <a:pt x="64516" y="83096"/>
                    </a:cubicBezTo>
                    <a:lnTo>
                      <a:pt x="64516" y="89872"/>
                    </a:lnTo>
                    <a:lnTo>
                      <a:pt x="62959" y="89872"/>
                    </a:lnTo>
                    <a:cubicBezTo>
                      <a:pt x="60845" y="89872"/>
                      <a:pt x="59065" y="91650"/>
                      <a:pt x="59065" y="93761"/>
                    </a:cubicBezTo>
                    <a:lnTo>
                      <a:pt x="59065" y="99982"/>
                    </a:lnTo>
                    <a:cubicBezTo>
                      <a:pt x="59065" y="101315"/>
                      <a:pt x="59733" y="102537"/>
                      <a:pt x="60845" y="103203"/>
                    </a:cubicBezTo>
                    <a:lnTo>
                      <a:pt x="64516" y="105647"/>
                    </a:lnTo>
                    <a:lnTo>
                      <a:pt x="64738" y="107202"/>
                    </a:lnTo>
                    <a:cubicBezTo>
                      <a:pt x="65962" y="116423"/>
                      <a:pt x="71079" y="128199"/>
                      <a:pt x="78531" y="138974"/>
                    </a:cubicBezTo>
                    <a:cubicBezTo>
                      <a:pt x="87875" y="152527"/>
                      <a:pt x="96663" y="158526"/>
                      <a:pt x="101223" y="158526"/>
                    </a:cubicBezTo>
                    <a:lnTo>
                      <a:pt x="121801" y="158526"/>
                    </a:lnTo>
                    <a:cubicBezTo>
                      <a:pt x="126362" y="158526"/>
                      <a:pt x="135150" y="152527"/>
                      <a:pt x="144493" y="138974"/>
                    </a:cubicBezTo>
                    <a:cubicBezTo>
                      <a:pt x="151835" y="128199"/>
                      <a:pt x="156951" y="116423"/>
                      <a:pt x="158175" y="107202"/>
                    </a:cubicBezTo>
                    <a:lnTo>
                      <a:pt x="158398" y="105647"/>
                    </a:lnTo>
                    <a:lnTo>
                      <a:pt x="162179" y="103203"/>
                    </a:lnTo>
                    <a:cubicBezTo>
                      <a:pt x="163181" y="102537"/>
                      <a:pt x="163848" y="101315"/>
                      <a:pt x="163848" y="100093"/>
                    </a:cubicBezTo>
                    <a:lnTo>
                      <a:pt x="163848" y="93761"/>
                    </a:lnTo>
                    <a:cubicBezTo>
                      <a:pt x="163848" y="91650"/>
                      <a:pt x="162179" y="89872"/>
                      <a:pt x="160066" y="89872"/>
                    </a:cubicBezTo>
                    <a:lnTo>
                      <a:pt x="157953" y="89872"/>
                    </a:lnTo>
                    <a:cubicBezTo>
                      <a:pt x="157619" y="89428"/>
                      <a:pt x="157285" y="88984"/>
                      <a:pt x="156729" y="88650"/>
                    </a:cubicBezTo>
                    <a:cubicBezTo>
                      <a:pt x="155617" y="87984"/>
                      <a:pt x="154282" y="87873"/>
                      <a:pt x="153058" y="88317"/>
                    </a:cubicBezTo>
                    <a:cubicBezTo>
                      <a:pt x="147942" y="90650"/>
                      <a:pt x="142825" y="91761"/>
                      <a:pt x="137930" y="91761"/>
                    </a:cubicBezTo>
                    <a:cubicBezTo>
                      <a:pt x="129254" y="91761"/>
                      <a:pt x="121357" y="88206"/>
                      <a:pt x="114460" y="81207"/>
                    </a:cubicBezTo>
                    <a:cubicBezTo>
                      <a:pt x="109010" y="75542"/>
                      <a:pt x="101779" y="72653"/>
                      <a:pt x="93214" y="72653"/>
                    </a:cubicBezTo>
                    <a:close/>
                    <a:moveTo>
                      <a:pt x="337631" y="69193"/>
                    </a:moveTo>
                    <a:cubicBezTo>
                      <a:pt x="342860" y="78302"/>
                      <a:pt x="347866" y="88300"/>
                      <a:pt x="352427" y="99187"/>
                    </a:cubicBezTo>
                    <a:cubicBezTo>
                      <a:pt x="361995" y="121739"/>
                      <a:pt x="369782" y="147290"/>
                      <a:pt x="375678" y="174952"/>
                    </a:cubicBezTo>
                    <a:cubicBezTo>
                      <a:pt x="403269" y="180728"/>
                      <a:pt x="428967" y="188505"/>
                      <a:pt x="451551" y="198059"/>
                    </a:cubicBezTo>
                    <a:cubicBezTo>
                      <a:pt x="462454" y="202724"/>
                      <a:pt x="472466" y="207612"/>
                      <a:pt x="481589" y="212945"/>
                    </a:cubicBezTo>
                    <a:cubicBezTo>
                      <a:pt x="456112" y="147068"/>
                      <a:pt x="403602" y="94633"/>
                      <a:pt x="337631" y="69193"/>
                    </a:cubicBezTo>
                    <a:close/>
                    <a:moveTo>
                      <a:pt x="247963" y="4093"/>
                    </a:moveTo>
                    <a:cubicBezTo>
                      <a:pt x="412725" y="4093"/>
                      <a:pt x="546670" y="137958"/>
                      <a:pt x="546670" y="302373"/>
                    </a:cubicBezTo>
                    <a:cubicBezTo>
                      <a:pt x="546670" y="466899"/>
                      <a:pt x="412725" y="600653"/>
                      <a:pt x="247963" y="600653"/>
                    </a:cubicBezTo>
                    <a:cubicBezTo>
                      <a:pt x="246295" y="600653"/>
                      <a:pt x="244626" y="600653"/>
                      <a:pt x="242957" y="600653"/>
                    </a:cubicBezTo>
                    <a:lnTo>
                      <a:pt x="242957" y="551662"/>
                    </a:lnTo>
                    <a:cubicBezTo>
                      <a:pt x="244626" y="551995"/>
                      <a:pt x="246295" y="552217"/>
                      <a:pt x="247963" y="552217"/>
                    </a:cubicBezTo>
                    <a:cubicBezTo>
                      <a:pt x="268100" y="552217"/>
                      <a:pt x="290350" y="527666"/>
                      <a:pt x="307705" y="486674"/>
                    </a:cubicBezTo>
                    <a:cubicBezTo>
                      <a:pt x="314046" y="472010"/>
                      <a:pt x="319386" y="455679"/>
                      <a:pt x="323836" y="438238"/>
                    </a:cubicBezTo>
                    <a:cubicBezTo>
                      <a:pt x="299472" y="441126"/>
                      <a:pt x="273996" y="442570"/>
                      <a:pt x="247963" y="442570"/>
                    </a:cubicBezTo>
                    <a:cubicBezTo>
                      <a:pt x="246295" y="442570"/>
                      <a:pt x="244626" y="442570"/>
                      <a:pt x="242957" y="442570"/>
                    </a:cubicBezTo>
                    <a:lnTo>
                      <a:pt x="242957" y="394024"/>
                    </a:lnTo>
                    <a:cubicBezTo>
                      <a:pt x="244626" y="394024"/>
                      <a:pt x="246295" y="394135"/>
                      <a:pt x="247963" y="394135"/>
                    </a:cubicBezTo>
                    <a:cubicBezTo>
                      <a:pt x="277778" y="394135"/>
                      <a:pt x="306703" y="392024"/>
                      <a:pt x="333848" y="388136"/>
                    </a:cubicBezTo>
                    <a:cubicBezTo>
                      <a:pt x="337742" y="361029"/>
                      <a:pt x="339856" y="332146"/>
                      <a:pt x="339856" y="302373"/>
                    </a:cubicBezTo>
                    <a:cubicBezTo>
                      <a:pt x="339856" y="272712"/>
                      <a:pt x="337742" y="243828"/>
                      <a:pt x="333848" y="216722"/>
                    </a:cubicBezTo>
                    <a:cubicBezTo>
                      <a:pt x="306703" y="212723"/>
                      <a:pt x="277778" y="210723"/>
                      <a:pt x="247963" y="210723"/>
                    </a:cubicBezTo>
                    <a:cubicBezTo>
                      <a:pt x="246295" y="210723"/>
                      <a:pt x="244626" y="210723"/>
                      <a:pt x="242957" y="210723"/>
                    </a:cubicBezTo>
                    <a:lnTo>
                      <a:pt x="242957" y="162287"/>
                    </a:lnTo>
                    <a:cubicBezTo>
                      <a:pt x="244626" y="162287"/>
                      <a:pt x="246295" y="162176"/>
                      <a:pt x="247963" y="162176"/>
                    </a:cubicBezTo>
                    <a:cubicBezTo>
                      <a:pt x="273996" y="162176"/>
                      <a:pt x="299472" y="163731"/>
                      <a:pt x="323836" y="166509"/>
                    </a:cubicBezTo>
                    <a:cubicBezTo>
                      <a:pt x="319386" y="149067"/>
                      <a:pt x="314046" y="132848"/>
                      <a:pt x="307705" y="118073"/>
                    </a:cubicBezTo>
                    <a:cubicBezTo>
                      <a:pt x="290350" y="77080"/>
                      <a:pt x="268100" y="52640"/>
                      <a:pt x="247963" y="52640"/>
                    </a:cubicBezTo>
                    <a:cubicBezTo>
                      <a:pt x="246295" y="52640"/>
                      <a:pt x="244626" y="52862"/>
                      <a:pt x="242957" y="53196"/>
                    </a:cubicBezTo>
                    <a:lnTo>
                      <a:pt x="242957" y="4204"/>
                    </a:lnTo>
                    <a:cubicBezTo>
                      <a:pt x="244626" y="4204"/>
                      <a:pt x="246295" y="4093"/>
                      <a:pt x="247963" y="4093"/>
                    </a:cubicBezTo>
                    <a:close/>
                    <a:moveTo>
                      <a:pt x="101779" y="0"/>
                    </a:moveTo>
                    <a:lnTo>
                      <a:pt x="121134" y="0"/>
                    </a:lnTo>
                    <a:cubicBezTo>
                      <a:pt x="154171" y="0"/>
                      <a:pt x="180978" y="26773"/>
                      <a:pt x="180978" y="59656"/>
                    </a:cubicBezTo>
                    <a:lnTo>
                      <a:pt x="180978" y="78430"/>
                    </a:lnTo>
                    <a:cubicBezTo>
                      <a:pt x="183203" y="81541"/>
                      <a:pt x="184315" y="85318"/>
                      <a:pt x="184315" y="89095"/>
                    </a:cubicBezTo>
                    <a:lnTo>
                      <a:pt x="184315" y="102426"/>
                    </a:lnTo>
                    <a:cubicBezTo>
                      <a:pt x="184315" y="107869"/>
                      <a:pt x="181868" y="113090"/>
                      <a:pt x="177752" y="116534"/>
                    </a:cubicBezTo>
                    <a:cubicBezTo>
                      <a:pt x="176751" y="119867"/>
                      <a:pt x="175416" y="123311"/>
                      <a:pt x="173859" y="126643"/>
                    </a:cubicBezTo>
                    <a:cubicBezTo>
                      <a:pt x="170856" y="134753"/>
                      <a:pt x="166406" y="143085"/>
                      <a:pt x="161067" y="150861"/>
                    </a:cubicBezTo>
                    <a:cubicBezTo>
                      <a:pt x="158842" y="154083"/>
                      <a:pt x="155839" y="157860"/>
                      <a:pt x="152502" y="161748"/>
                    </a:cubicBezTo>
                    <a:cubicBezTo>
                      <a:pt x="155505" y="163192"/>
                      <a:pt x="158175" y="165192"/>
                      <a:pt x="160400" y="167747"/>
                    </a:cubicBezTo>
                    <a:lnTo>
                      <a:pt x="204115" y="176412"/>
                    </a:lnTo>
                    <a:cubicBezTo>
                      <a:pt x="215461" y="178745"/>
                      <a:pt x="223692" y="188743"/>
                      <a:pt x="223692" y="200407"/>
                    </a:cubicBezTo>
                    <a:lnTo>
                      <a:pt x="223692" y="358044"/>
                    </a:lnTo>
                    <a:cubicBezTo>
                      <a:pt x="223692" y="361710"/>
                      <a:pt x="222913" y="365154"/>
                      <a:pt x="221467" y="368265"/>
                    </a:cubicBezTo>
                    <a:lnTo>
                      <a:pt x="221467" y="385484"/>
                    </a:lnTo>
                    <a:cubicBezTo>
                      <a:pt x="221467" y="397259"/>
                      <a:pt x="211901" y="406813"/>
                      <a:pt x="200110" y="406813"/>
                    </a:cubicBezTo>
                    <a:cubicBezTo>
                      <a:pt x="195772" y="406813"/>
                      <a:pt x="191879" y="405591"/>
                      <a:pt x="188431" y="403369"/>
                    </a:cubicBezTo>
                    <a:lnTo>
                      <a:pt x="188431" y="566561"/>
                    </a:lnTo>
                    <a:cubicBezTo>
                      <a:pt x="188431" y="587668"/>
                      <a:pt x="171301" y="604887"/>
                      <a:pt x="150166" y="604887"/>
                    </a:cubicBezTo>
                    <a:cubicBezTo>
                      <a:pt x="129032" y="604887"/>
                      <a:pt x="111902" y="587668"/>
                      <a:pt x="111902" y="566561"/>
                    </a:cubicBezTo>
                    <a:cubicBezTo>
                      <a:pt x="111902" y="587668"/>
                      <a:pt x="94772" y="604887"/>
                      <a:pt x="73526" y="604887"/>
                    </a:cubicBezTo>
                    <a:cubicBezTo>
                      <a:pt x="52391" y="604887"/>
                      <a:pt x="35261" y="587668"/>
                      <a:pt x="35261" y="566561"/>
                    </a:cubicBezTo>
                    <a:lnTo>
                      <a:pt x="35261" y="403369"/>
                    </a:lnTo>
                    <a:cubicBezTo>
                      <a:pt x="31924" y="405591"/>
                      <a:pt x="27920" y="406813"/>
                      <a:pt x="23582" y="406813"/>
                    </a:cubicBezTo>
                    <a:cubicBezTo>
                      <a:pt x="11791" y="406813"/>
                      <a:pt x="2225" y="397259"/>
                      <a:pt x="2225" y="385484"/>
                    </a:cubicBezTo>
                    <a:lnTo>
                      <a:pt x="2225" y="368265"/>
                    </a:lnTo>
                    <a:cubicBezTo>
                      <a:pt x="779" y="365154"/>
                      <a:pt x="0" y="361710"/>
                      <a:pt x="0" y="358044"/>
                    </a:cubicBezTo>
                    <a:lnTo>
                      <a:pt x="0" y="200296"/>
                    </a:lnTo>
                    <a:cubicBezTo>
                      <a:pt x="0" y="188743"/>
                      <a:pt x="8231" y="178745"/>
                      <a:pt x="19577" y="176412"/>
                    </a:cubicBezTo>
                    <a:lnTo>
                      <a:pt x="62625" y="167747"/>
                    </a:lnTo>
                    <a:cubicBezTo>
                      <a:pt x="64850" y="165192"/>
                      <a:pt x="67519" y="163192"/>
                      <a:pt x="70522" y="161748"/>
                    </a:cubicBezTo>
                    <a:cubicBezTo>
                      <a:pt x="67074" y="157971"/>
                      <a:pt x="64182" y="154083"/>
                      <a:pt x="61957" y="150861"/>
                    </a:cubicBezTo>
                    <a:cubicBezTo>
                      <a:pt x="56618" y="143085"/>
                      <a:pt x="52169" y="134753"/>
                      <a:pt x="49054" y="126643"/>
                    </a:cubicBezTo>
                    <a:cubicBezTo>
                      <a:pt x="47497" y="123311"/>
                      <a:pt x="46273" y="119867"/>
                      <a:pt x="45161" y="116534"/>
                    </a:cubicBezTo>
                    <a:cubicBezTo>
                      <a:pt x="41045" y="113090"/>
                      <a:pt x="38598" y="107869"/>
                      <a:pt x="38598" y="102426"/>
                    </a:cubicBezTo>
                    <a:lnTo>
                      <a:pt x="38598" y="89095"/>
                    </a:lnTo>
                    <a:cubicBezTo>
                      <a:pt x="38598" y="85318"/>
                      <a:pt x="39822" y="81541"/>
                      <a:pt x="42047" y="78430"/>
                    </a:cubicBezTo>
                    <a:lnTo>
                      <a:pt x="42047" y="59656"/>
                    </a:lnTo>
                    <a:cubicBezTo>
                      <a:pt x="42047" y="26773"/>
                      <a:pt x="68854" y="0"/>
                      <a:pt x="10177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3765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7" name="îṣliďê"/>
            <p:cNvGrpSpPr/>
            <p:nvPr/>
          </p:nvGrpSpPr>
          <p:grpSpPr>
            <a:xfrm>
              <a:off x="7111536" y="4623876"/>
              <a:ext cx="636450" cy="636450"/>
              <a:chOff x="1781542" y="2092055"/>
              <a:chExt cx="1153768" cy="1153768"/>
            </a:xfrm>
          </p:grpSpPr>
          <p:sp>
            <p:nvSpPr>
              <p:cNvPr id="31" name="îsḻíḍe"/>
              <p:cNvSpPr/>
              <p:nvPr/>
            </p:nvSpPr>
            <p:spPr>
              <a:xfrm>
                <a:off x="1781542" y="2092055"/>
                <a:ext cx="1153768" cy="1153768"/>
              </a:xfrm>
              <a:prstGeom prst="ellipse">
                <a:avLst/>
              </a:prstGeom>
              <a:solidFill>
                <a:schemeClr val="accent1"/>
              </a:solidFill>
              <a:ln w="38100" cap="rnd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3765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íṣlïḋé"/>
              <p:cNvSpPr/>
              <p:nvPr/>
            </p:nvSpPr>
            <p:spPr>
              <a:xfrm>
                <a:off x="2096566" y="2379192"/>
                <a:ext cx="523720" cy="579494"/>
              </a:xfrm>
              <a:custGeom>
                <a:avLst/>
                <a:gdLst>
                  <a:gd name="connsiteX0" fmla="*/ 481589 w 546670"/>
                  <a:gd name="connsiteY0" fmla="*/ 391913 h 604887"/>
                  <a:gd name="connsiteX1" fmla="*/ 451551 w 546670"/>
                  <a:gd name="connsiteY1" fmla="*/ 406688 h 604887"/>
                  <a:gd name="connsiteX2" fmla="*/ 375678 w 546670"/>
                  <a:gd name="connsiteY2" fmla="*/ 429906 h 604887"/>
                  <a:gd name="connsiteX3" fmla="*/ 352427 w 546670"/>
                  <a:gd name="connsiteY3" fmla="*/ 505670 h 604887"/>
                  <a:gd name="connsiteX4" fmla="*/ 337631 w 546670"/>
                  <a:gd name="connsiteY4" fmla="*/ 535554 h 604887"/>
                  <a:gd name="connsiteX5" fmla="*/ 481589 w 546670"/>
                  <a:gd name="connsiteY5" fmla="*/ 391913 h 604887"/>
                  <a:gd name="connsiteX6" fmla="*/ 384133 w 546670"/>
                  <a:gd name="connsiteY6" fmla="*/ 226609 h 604887"/>
                  <a:gd name="connsiteX7" fmla="*/ 388361 w 546670"/>
                  <a:gd name="connsiteY7" fmla="*/ 302373 h 604887"/>
                  <a:gd name="connsiteX8" fmla="*/ 384133 w 546670"/>
                  <a:gd name="connsiteY8" fmla="*/ 378137 h 604887"/>
                  <a:gd name="connsiteX9" fmla="*/ 432639 w 546670"/>
                  <a:gd name="connsiteY9" fmla="*/ 362029 h 604887"/>
                  <a:gd name="connsiteX10" fmla="*/ 498165 w 546670"/>
                  <a:gd name="connsiteY10" fmla="*/ 302373 h 604887"/>
                  <a:gd name="connsiteX11" fmla="*/ 432639 w 546670"/>
                  <a:gd name="connsiteY11" fmla="*/ 242717 h 604887"/>
                  <a:gd name="connsiteX12" fmla="*/ 384133 w 546670"/>
                  <a:gd name="connsiteY12" fmla="*/ 226609 h 604887"/>
                  <a:gd name="connsiteX13" fmla="*/ 135706 w 546670"/>
                  <a:gd name="connsiteY13" fmla="*/ 175523 h 604887"/>
                  <a:gd name="connsiteX14" fmla="*/ 126473 w 546670"/>
                  <a:gd name="connsiteY14" fmla="*/ 178856 h 604887"/>
                  <a:gd name="connsiteX15" fmla="*/ 123248 w 546670"/>
                  <a:gd name="connsiteY15" fmla="*/ 182633 h 604887"/>
                  <a:gd name="connsiteX16" fmla="*/ 123248 w 546670"/>
                  <a:gd name="connsiteY16" fmla="*/ 192075 h 604887"/>
                  <a:gd name="connsiteX17" fmla="*/ 121801 w 546670"/>
                  <a:gd name="connsiteY17" fmla="*/ 193075 h 604887"/>
                  <a:gd name="connsiteX18" fmla="*/ 120912 w 546670"/>
                  <a:gd name="connsiteY18" fmla="*/ 196075 h 604887"/>
                  <a:gd name="connsiteX19" fmla="*/ 122914 w 546670"/>
                  <a:gd name="connsiteY19" fmla="*/ 216404 h 604887"/>
                  <a:gd name="connsiteX20" fmla="*/ 125695 w 546670"/>
                  <a:gd name="connsiteY20" fmla="*/ 219737 h 604887"/>
                  <a:gd name="connsiteX21" fmla="*/ 126807 w 546670"/>
                  <a:gd name="connsiteY21" fmla="*/ 219848 h 604887"/>
                  <a:gd name="connsiteX22" fmla="*/ 129810 w 546670"/>
                  <a:gd name="connsiteY22" fmla="*/ 218293 h 604887"/>
                  <a:gd name="connsiteX23" fmla="*/ 140600 w 546670"/>
                  <a:gd name="connsiteY23" fmla="*/ 204073 h 604887"/>
                  <a:gd name="connsiteX24" fmla="*/ 141379 w 546670"/>
                  <a:gd name="connsiteY24" fmla="*/ 201740 h 604887"/>
                  <a:gd name="connsiteX25" fmla="*/ 141379 w 546670"/>
                  <a:gd name="connsiteY25" fmla="*/ 178856 h 604887"/>
                  <a:gd name="connsiteX26" fmla="*/ 139488 w 546670"/>
                  <a:gd name="connsiteY26" fmla="*/ 175634 h 604887"/>
                  <a:gd name="connsiteX27" fmla="*/ 135706 w 546670"/>
                  <a:gd name="connsiteY27" fmla="*/ 175523 h 604887"/>
                  <a:gd name="connsiteX28" fmla="*/ 87208 w 546670"/>
                  <a:gd name="connsiteY28" fmla="*/ 175523 h 604887"/>
                  <a:gd name="connsiteX29" fmla="*/ 83537 w 546670"/>
                  <a:gd name="connsiteY29" fmla="*/ 175634 h 604887"/>
                  <a:gd name="connsiteX30" fmla="*/ 81646 w 546670"/>
                  <a:gd name="connsiteY30" fmla="*/ 178856 h 604887"/>
                  <a:gd name="connsiteX31" fmla="*/ 81646 w 546670"/>
                  <a:gd name="connsiteY31" fmla="*/ 201740 h 604887"/>
                  <a:gd name="connsiteX32" fmla="*/ 82425 w 546670"/>
                  <a:gd name="connsiteY32" fmla="*/ 204073 h 604887"/>
                  <a:gd name="connsiteX33" fmla="*/ 93103 w 546670"/>
                  <a:gd name="connsiteY33" fmla="*/ 218293 h 604887"/>
                  <a:gd name="connsiteX34" fmla="*/ 96218 w 546670"/>
                  <a:gd name="connsiteY34" fmla="*/ 219848 h 604887"/>
                  <a:gd name="connsiteX35" fmla="*/ 97219 w 546670"/>
                  <a:gd name="connsiteY35" fmla="*/ 219737 h 604887"/>
                  <a:gd name="connsiteX36" fmla="*/ 100000 w 546670"/>
                  <a:gd name="connsiteY36" fmla="*/ 216404 h 604887"/>
                  <a:gd name="connsiteX37" fmla="*/ 102113 w 546670"/>
                  <a:gd name="connsiteY37" fmla="*/ 196075 h 604887"/>
                  <a:gd name="connsiteX38" fmla="*/ 101112 w 546670"/>
                  <a:gd name="connsiteY38" fmla="*/ 193075 h 604887"/>
                  <a:gd name="connsiteX39" fmla="*/ 99666 w 546670"/>
                  <a:gd name="connsiteY39" fmla="*/ 192075 h 604887"/>
                  <a:gd name="connsiteX40" fmla="*/ 99666 w 546670"/>
                  <a:gd name="connsiteY40" fmla="*/ 182633 h 604887"/>
                  <a:gd name="connsiteX41" fmla="*/ 96551 w 546670"/>
                  <a:gd name="connsiteY41" fmla="*/ 178856 h 604887"/>
                  <a:gd name="connsiteX42" fmla="*/ 87208 w 546670"/>
                  <a:gd name="connsiteY42" fmla="*/ 175523 h 604887"/>
                  <a:gd name="connsiteX43" fmla="*/ 93214 w 546670"/>
                  <a:gd name="connsiteY43" fmla="*/ 72653 h 604887"/>
                  <a:gd name="connsiteX44" fmla="*/ 66629 w 546670"/>
                  <a:gd name="connsiteY44" fmla="*/ 79652 h 604887"/>
                  <a:gd name="connsiteX45" fmla="*/ 64516 w 546670"/>
                  <a:gd name="connsiteY45" fmla="*/ 83096 h 604887"/>
                  <a:gd name="connsiteX46" fmla="*/ 64516 w 546670"/>
                  <a:gd name="connsiteY46" fmla="*/ 89872 h 604887"/>
                  <a:gd name="connsiteX47" fmla="*/ 62959 w 546670"/>
                  <a:gd name="connsiteY47" fmla="*/ 89872 h 604887"/>
                  <a:gd name="connsiteX48" fmla="*/ 59065 w 546670"/>
                  <a:gd name="connsiteY48" fmla="*/ 93761 h 604887"/>
                  <a:gd name="connsiteX49" fmla="*/ 59065 w 546670"/>
                  <a:gd name="connsiteY49" fmla="*/ 99982 h 604887"/>
                  <a:gd name="connsiteX50" fmla="*/ 60845 w 546670"/>
                  <a:gd name="connsiteY50" fmla="*/ 103203 h 604887"/>
                  <a:gd name="connsiteX51" fmla="*/ 64516 w 546670"/>
                  <a:gd name="connsiteY51" fmla="*/ 105647 h 604887"/>
                  <a:gd name="connsiteX52" fmla="*/ 64738 w 546670"/>
                  <a:gd name="connsiteY52" fmla="*/ 107202 h 604887"/>
                  <a:gd name="connsiteX53" fmla="*/ 78531 w 546670"/>
                  <a:gd name="connsiteY53" fmla="*/ 138974 h 604887"/>
                  <a:gd name="connsiteX54" fmla="*/ 101223 w 546670"/>
                  <a:gd name="connsiteY54" fmla="*/ 158526 h 604887"/>
                  <a:gd name="connsiteX55" fmla="*/ 121801 w 546670"/>
                  <a:gd name="connsiteY55" fmla="*/ 158526 h 604887"/>
                  <a:gd name="connsiteX56" fmla="*/ 144493 w 546670"/>
                  <a:gd name="connsiteY56" fmla="*/ 138974 h 604887"/>
                  <a:gd name="connsiteX57" fmla="*/ 158175 w 546670"/>
                  <a:gd name="connsiteY57" fmla="*/ 107202 h 604887"/>
                  <a:gd name="connsiteX58" fmla="*/ 158398 w 546670"/>
                  <a:gd name="connsiteY58" fmla="*/ 105647 h 604887"/>
                  <a:gd name="connsiteX59" fmla="*/ 162179 w 546670"/>
                  <a:gd name="connsiteY59" fmla="*/ 103203 h 604887"/>
                  <a:gd name="connsiteX60" fmla="*/ 163848 w 546670"/>
                  <a:gd name="connsiteY60" fmla="*/ 100093 h 604887"/>
                  <a:gd name="connsiteX61" fmla="*/ 163848 w 546670"/>
                  <a:gd name="connsiteY61" fmla="*/ 93761 h 604887"/>
                  <a:gd name="connsiteX62" fmla="*/ 160066 w 546670"/>
                  <a:gd name="connsiteY62" fmla="*/ 89872 h 604887"/>
                  <a:gd name="connsiteX63" fmla="*/ 157953 w 546670"/>
                  <a:gd name="connsiteY63" fmla="*/ 89872 h 604887"/>
                  <a:gd name="connsiteX64" fmla="*/ 156729 w 546670"/>
                  <a:gd name="connsiteY64" fmla="*/ 88650 h 604887"/>
                  <a:gd name="connsiteX65" fmla="*/ 153058 w 546670"/>
                  <a:gd name="connsiteY65" fmla="*/ 88317 h 604887"/>
                  <a:gd name="connsiteX66" fmla="*/ 137930 w 546670"/>
                  <a:gd name="connsiteY66" fmla="*/ 91761 h 604887"/>
                  <a:gd name="connsiteX67" fmla="*/ 114460 w 546670"/>
                  <a:gd name="connsiteY67" fmla="*/ 81207 h 604887"/>
                  <a:gd name="connsiteX68" fmla="*/ 93214 w 546670"/>
                  <a:gd name="connsiteY68" fmla="*/ 72653 h 604887"/>
                  <a:gd name="connsiteX69" fmla="*/ 337631 w 546670"/>
                  <a:gd name="connsiteY69" fmla="*/ 69193 h 604887"/>
                  <a:gd name="connsiteX70" fmla="*/ 352427 w 546670"/>
                  <a:gd name="connsiteY70" fmla="*/ 99187 h 604887"/>
                  <a:gd name="connsiteX71" fmla="*/ 375678 w 546670"/>
                  <a:gd name="connsiteY71" fmla="*/ 174952 h 604887"/>
                  <a:gd name="connsiteX72" fmla="*/ 451551 w 546670"/>
                  <a:gd name="connsiteY72" fmla="*/ 198059 h 604887"/>
                  <a:gd name="connsiteX73" fmla="*/ 481589 w 546670"/>
                  <a:gd name="connsiteY73" fmla="*/ 212945 h 604887"/>
                  <a:gd name="connsiteX74" fmla="*/ 337631 w 546670"/>
                  <a:gd name="connsiteY74" fmla="*/ 69193 h 604887"/>
                  <a:gd name="connsiteX75" fmla="*/ 247963 w 546670"/>
                  <a:gd name="connsiteY75" fmla="*/ 4093 h 604887"/>
                  <a:gd name="connsiteX76" fmla="*/ 546670 w 546670"/>
                  <a:gd name="connsiteY76" fmla="*/ 302373 h 604887"/>
                  <a:gd name="connsiteX77" fmla="*/ 247963 w 546670"/>
                  <a:gd name="connsiteY77" fmla="*/ 600653 h 604887"/>
                  <a:gd name="connsiteX78" fmla="*/ 242957 w 546670"/>
                  <a:gd name="connsiteY78" fmla="*/ 600653 h 604887"/>
                  <a:gd name="connsiteX79" fmla="*/ 242957 w 546670"/>
                  <a:gd name="connsiteY79" fmla="*/ 551662 h 604887"/>
                  <a:gd name="connsiteX80" fmla="*/ 247963 w 546670"/>
                  <a:gd name="connsiteY80" fmla="*/ 552217 h 604887"/>
                  <a:gd name="connsiteX81" fmla="*/ 307705 w 546670"/>
                  <a:gd name="connsiteY81" fmla="*/ 486674 h 604887"/>
                  <a:gd name="connsiteX82" fmla="*/ 323836 w 546670"/>
                  <a:gd name="connsiteY82" fmla="*/ 438238 h 604887"/>
                  <a:gd name="connsiteX83" fmla="*/ 247963 w 546670"/>
                  <a:gd name="connsiteY83" fmla="*/ 442570 h 604887"/>
                  <a:gd name="connsiteX84" fmla="*/ 242957 w 546670"/>
                  <a:gd name="connsiteY84" fmla="*/ 442570 h 604887"/>
                  <a:gd name="connsiteX85" fmla="*/ 242957 w 546670"/>
                  <a:gd name="connsiteY85" fmla="*/ 394024 h 604887"/>
                  <a:gd name="connsiteX86" fmla="*/ 247963 w 546670"/>
                  <a:gd name="connsiteY86" fmla="*/ 394135 h 604887"/>
                  <a:gd name="connsiteX87" fmla="*/ 333848 w 546670"/>
                  <a:gd name="connsiteY87" fmla="*/ 388136 h 604887"/>
                  <a:gd name="connsiteX88" fmla="*/ 339856 w 546670"/>
                  <a:gd name="connsiteY88" fmla="*/ 302373 h 604887"/>
                  <a:gd name="connsiteX89" fmla="*/ 333848 w 546670"/>
                  <a:gd name="connsiteY89" fmla="*/ 216722 h 604887"/>
                  <a:gd name="connsiteX90" fmla="*/ 247963 w 546670"/>
                  <a:gd name="connsiteY90" fmla="*/ 210723 h 604887"/>
                  <a:gd name="connsiteX91" fmla="*/ 242957 w 546670"/>
                  <a:gd name="connsiteY91" fmla="*/ 210723 h 604887"/>
                  <a:gd name="connsiteX92" fmla="*/ 242957 w 546670"/>
                  <a:gd name="connsiteY92" fmla="*/ 162287 h 604887"/>
                  <a:gd name="connsiteX93" fmla="*/ 247963 w 546670"/>
                  <a:gd name="connsiteY93" fmla="*/ 162176 h 604887"/>
                  <a:gd name="connsiteX94" fmla="*/ 323836 w 546670"/>
                  <a:gd name="connsiteY94" fmla="*/ 166509 h 604887"/>
                  <a:gd name="connsiteX95" fmla="*/ 307705 w 546670"/>
                  <a:gd name="connsiteY95" fmla="*/ 118073 h 604887"/>
                  <a:gd name="connsiteX96" fmla="*/ 247963 w 546670"/>
                  <a:gd name="connsiteY96" fmla="*/ 52640 h 604887"/>
                  <a:gd name="connsiteX97" fmla="*/ 242957 w 546670"/>
                  <a:gd name="connsiteY97" fmla="*/ 53196 h 604887"/>
                  <a:gd name="connsiteX98" fmla="*/ 242957 w 546670"/>
                  <a:gd name="connsiteY98" fmla="*/ 4204 h 604887"/>
                  <a:gd name="connsiteX99" fmla="*/ 247963 w 546670"/>
                  <a:gd name="connsiteY99" fmla="*/ 4093 h 604887"/>
                  <a:gd name="connsiteX100" fmla="*/ 101779 w 546670"/>
                  <a:gd name="connsiteY100" fmla="*/ 0 h 604887"/>
                  <a:gd name="connsiteX101" fmla="*/ 121134 w 546670"/>
                  <a:gd name="connsiteY101" fmla="*/ 0 h 604887"/>
                  <a:gd name="connsiteX102" fmla="*/ 180978 w 546670"/>
                  <a:gd name="connsiteY102" fmla="*/ 59656 h 604887"/>
                  <a:gd name="connsiteX103" fmla="*/ 180978 w 546670"/>
                  <a:gd name="connsiteY103" fmla="*/ 78430 h 604887"/>
                  <a:gd name="connsiteX104" fmla="*/ 184315 w 546670"/>
                  <a:gd name="connsiteY104" fmla="*/ 89095 h 604887"/>
                  <a:gd name="connsiteX105" fmla="*/ 184315 w 546670"/>
                  <a:gd name="connsiteY105" fmla="*/ 102426 h 604887"/>
                  <a:gd name="connsiteX106" fmla="*/ 177752 w 546670"/>
                  <a:gd name="connsiteY106" fmla="*/ 116534 h 604887"/>
                  <a:gd name="connsiteX107" fmla="*/ 173859 w 546670"/>
                  <a:gd name="connsiteY107" fmla="*/ 126643 h 604887"/>
                  <a:gd name="connsiteX108" fmla="*/ 161067 w 546670"/>
                  <a:gd name="connsiteY108" fmla="*/ 150861 h 604887"/>
                  <a:gd name="connsiteX109" fmla="*/ 152502 w 546670"/>
                  <a:gd name="connsiteY109" fmla="*/ 161748 h 604887"/>
                  <a:gd name="connsiteX110" fmla="*/ 160400 w 546670"/>
                  <a:gd name="connsiteY110" fmla="*/ 167747 h 604887"/>
                  <a:gd name="connsiteX111" fmla="*/ 204115 w 546670"/>
                  <a:gd name="connsiteY111" fmla="*/ 176412 h 604887"/>
                  <a:gd name="connsiteX112" fmla="*/ 223692 w 546670"/>
                  <a:gd name="connsiteY112" fmla="*/ 200407 h 604887"/>
                  <a:gd name="connsiteX113" fmla="*/ 223692 w 546670"/>
                  <a:gd name="connsiteY113" fmla="*/ 358044 h 604887"/>
                  <a:gd name="connsiteX114" fmla="*/ 221467 w 546670"/>
                  <a:gd name="connsiteY114" fmla="*/ 368265 h 604887"/>
                  <a:gd name="connsiteX115" fmla="*/ 221467 w 546670"/>
                  <a:gd name="connsiteY115" fmla="*/ 385484 h 604887"/>
                  <a:gd name="connsiteX116" fmla="*/ 200110 w 546670"/>
                  <a:gd name="connsiteY116" fmla="*/ 406813 h 604887"/>
                  <a:gd name="connsiteX117" fmla="*/ 188431 w 546670"/>
                  <a:gd name="connsiteY117" fmla="*/ 403369 h 604887"/>
                  <a:gd name="connsiteX118" fmla="*/ 188431 w 546670"/>
                  <a:gd name="connsiteY118" fmla="*/ 566561 h 604887"/>
                  <a:gd name="connsiteX119" fmla="*/ 150166 w 546670"/>
                  <a:gd name="connsiteY119" fmla="*/ 604887 h 604887"/>
                  <a:gd name="connsiteX120" fmla="*/ 111902 w 546670"/>
                  <a:gd name="connsiteY120" fmla="*/ 566561 h 604887"/>
                  <a:gd name="connsiteX121" fmla="*/ 73526 w 546670"/>
                  <a:gd name="connsiteY121" fmla="*/ 604887 h 604887"/>
                  <a:gd name="connsiteX122" fmla="*/ 35261 w 546670"/>
                  <a:gd name="connsiteY122" fmla="*/ 566561 h 604887"/>
                  <a:gd name="connsiteX123" fmla="*/ 35261 w 546670"/>
                  <a:gd name="connsiteY123" fmla="*/ 403369 h 604887"/>
                  <a:gd name="connsiteX124" fmla="*/ 23582 w 546670"/>
                  <a:gd name="connsiteY124" fmla="*/ 406813 h 604887"/>
                  <a:gd name="connsiteX125" fmla="*/ 2225 w 546670"/>
                  <a:gd name="connsiteY125" fmla="*/ 385484 h 604887"/>
                  <a:gd name="connsiteX126" fmla="*/ 2225 w 546670"/>
                  <a:gd name="connsiteY126" fmla="*/ 368265 h 604887"/>
                  <a:gd name="connsiteX127" fmla="*/ 0 w 546670"/>
                  <a:gd name="connsiteY127" fmla="*/ 358044 h 604887"/>
                  <a:gd name="connsiteX128" fmla="*/ 0 w 546670"/>
                  <a:gd name="connsiteY128" fmla="*/ 200296 h 604887"/>
                  <a:gd name="connsiteX129" fmla="*/ 19577 w 546670"/>
                  <a:gd name="connsiteY129" fmla="*/ 176412 h 604887"/>
                  <a:gd name="connsiteX130" fmla="*/ 62625 w 546670"/>
                  <a:gd name="connsiteY130" fmla="*/ 167747 h 604887"/>
                  <a:gd name="connsiteX131" fmla="*/ 70522 w 546670"/>
                  <a:gd name="connsiteY131" fmla="*/ 161748 h 604887"/>
                  <a:gd name="connsiteX132" fmla="*/ 61957 w 546670"/>
                  <a:gd name="connsiteY132" fmla="*/ 150861 h 604887"/>
                  <a:gd name="connsiteX133" fmla="*/ 49054 w 546670"/>
                  <a:gd name="connsiteY133" fmla="*/ 126643 h 604887"/>
                  <a:gd name="connsiteX134" fmla="*/ 45161 w 546670"/>
                  <a:gd name="connsiteY134" fmla="*/ 116534 h 604887"/>
                  <a:gd name="connsiteX135" fmla="*/ 38598 w 546670"/>
                  <a:gd name="connsiteY135" fmla="*/ 102426 h 604887"/>
                  <a:gd name="connsiteX136" fmla="*/ 38598 w 546670"/>
                  <a:gd name="connsiteY136" fmla="*/ 89095 h 604887"/>
                  <a:gd name="connsiteX137" fmla="*/ 42047 w 546670"/>
                  <a:gd name="connsiteY137" fmla="*/ 78430 h 604887"/>
                  <a:gd name="connsiteX138" fmla="*/ 42047 w 546670"/>
                  <a:gd name="connsiteY138" fmla="*/ 59656 h 604887"/>
                  <a:gd name="connsiteX139" fmla="*/ 101779 w 546670"/>
                  <a:gd name="connsiteY139" fmla="*/ 0 h 6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</a:cxnLst>
                <a:rect l="l" t="t" r="r" b="b"/>
                <a:pathLst>
                  <a:path w="546670" h="604887">
                    <a:moveTo>
                      <a:pt x="481589" y="391913"/>
                    </a:moveTo>
                    <a:cubicBezTo>
                      <a:pt x="472466" y="397134"/>
                      <a:pt x="462454" y="402133"/>
                      <a:pt x="451551" y="406688"/>
                    </a:cubicBezTo>
                    <a:cubicBezTo>
                      <a:pt x="428967" y="416242"/>
                      <a:pt x="403269" y="424018"/>
                      <a:pt x="375678" y="429906"/>
                    </a:cubicBezTo>
                    <a:cubicBezTo>
                      <a:pt x="369782" y="457457"/>
                      <a:pt x="361995" y="483008"/>
                      <a:pt x="352427" y="505670"/>
                    </a:cubicBezTo>
                    <a:cubicBezTo>
                      <a:pt x="347866" y="516446"/>
                      <a:pt x="342860" y="526444"/>
                      <a:pt x="337631" y="535554"/>
                    </a:cubicBezTo>
                    <a:cubicBezTo>
                      <a:pt x="403602" y="510225"/>
                      <a:pt x="456112" y="457790"/>
                      <a:pt x="481589" y="391913"/>
                    </a:cubicBezTo>
                    <a:close/>
                    <a:moveTo>
                      <a:pt x="384133" y="226609"/>
                    </a:moveTo>
                    <a:cubicBezTo>
                      <a:pt x="386915" y="251049"/>
                      <a:pt x="388361" y="276489"/>
                      <a:pt x="388361" y="302373"/>
                    </a:cubicBezTo>
                    <a:cubicBezTo>
                      <a:pt x="388361" y="328369"/>
                      <a:pt x="386915" y="353697"/>
                      <a:pt x="384133" y="378137"/>
                    </a:cubicBezTo>
                    <a:cubicBezTo>
                      <a:pt x="401600" y="373694"/>
                      <a:pt x="417842" y="368250"/>
                      <a:pt x="432639" y="362029"/>
                    </a:cubicBezTo>
                    <a:cubicBezTo>
                      <a:pt x="473690" y="344699"/>
                      <a:pt x="498165" y="322370"/>
                      <a:pt x="498165" y="302373"/>
                    </a:cubicBezTo>
                    <a:cubicBezTo>
                      <a:pt x="498165" y="282377"/>
                      <a:pt x="473690" y="260047"/>
                      <a:pt x="432639" y="242717"/>
                    </a:cubicBezTo>
                    <a:cubicBezTo>
                      <a:pt x="417842" y="236496"/>
                      <a:pt x="401600" y="231164"/>
                      <a:pt x="384133" y="226609"/>
                    </a:cubicBezTo>
                    <a:close/>
                    <a:moveTo>
                      <a:pt x="135706" y="175523"/>
                    </a:moveTo>
                    <a:cubicBezTo>
                      <a:pt x="132591" y="177189"/>
                      <a:pt x="129477" y="178300"/>
                      <a:pt x="126473" y="178856"/>
                    </a:cubicBezTo>
                    <a:cubicBezTo>
                      <a:pt x="124582" y="179189"/>
                      <a:pt x="123248" y="180744"/>
                      <a:pt x="123248" y="182633"/>
                    </a:cubicBezTo>
                    <a:lnTo>
                      <a:pt x="123248" y="192075"/>
                    </a:lnTo>
                    <a:cubicBezTo>
                      <a:pt x="122691" y="192298"/>
                      <a:pt x="122246" y="192631"/>
                      <a:pt x="121801" y="193075"/>
                    </a:cubicBezTo>
                    <a:cubicBezTo>
                      <a:pt x="121134" y="193964"/>
                      <a:pt x="120689" y="194964"/>
                      <a:pt x="120912" y="196075"/>
                    </a:cubicBezTo>
                    <a:lnTo>
                      <a:pt x="122914" y="216404"/>
                    </a:lnTo>
                    <a:cubicBezTo>
                      <a:pt x="123136" y="217960"/>
                      <a:pt x="124249" y="219293"/>
                      <a:pt x="125695" y="219737"/>
                    </a:cubicBezTo>
                    <a:cubicBezTo>
                      <a:pt x="126028" y="219737"/>
                      <a:pt x="126473" y="219848"/>
                      <a:pt x="126807" y="219848"/>
                    </a:cubicBezTo>
                    <a:cubicBezTo>
                      <a:pt x="127919" y="219848"/>
                      <a:pt x="129032" y="219293"/>
                      <a:pt x="129810" y="218293"/>
                    </a:cubicBezTo>
                    <a:lnTo>
                      <a:pt x="140600" y="204073"/>
                    </a:lnTo>
                    <a:cubicBezTo>
                      <a:pt x="141045" y="203407"/>
                      <a:pt x="141379" y="202629"/>
                      <a:pt x="141379" y="201740"/>
                    </a:cubicBezTo>
                    <a:lnTo>
                      <a:pt x="141379" y="178856"/>
                    </a:lnTo>
                    <a:cubicBezTo>
                      <a:pt x="141379" y="177523"/>
                      <a:pt x="140600" y="176301"/>
                      <a:pt x="139488" y="175634"/>
                    </a:cubicBezTo>
                    <a:cubicBezTo>
                      <a:pt x="138375" y="174968"/>
                      <a:pt x="136929" y="174856"/>
                      <a:pt x="135706" y="175523"/>
                    </a:cubicBezTo>
                    <a:close/>
                    <a:moveTo>
                      <a:pt x="87208" y="175523"/>
                    </a:moveTo>
                    <a:cubicBezTo>
                      <a:pt x="86095" y="174856"/>
                      <a:pt x="84649" y="174968"/>
                      <a:pt x="83537" y="175634"/>
                    </a:cubicBezTo>
                    <a:cubicBezTo>
                      <a:pt x="82313" y="176301"/>
                      <a:pt x="81646" y="177523"/>
                      <a:pt x="81646" y="178856"/>
                    </a:cubicBezTo>
                    <a:lnTo>
                      <a:pt x="81646" y="201740"/>
                    </a:lnTo>
                    <a:cubicBezTo>
                      <a:pt x="81646" y="202629"/>
                      <a:pt x="81868" y="203407"/>
                      <a:pt x="82425" y="204073"/>
                    </a:cubicBezTo>
                    <a:lnTo>
                      <a:pt x="93103" y="218293"/>
                    </a:lnTo>
                    <a:cubicBezTo>
                      <a:pt x="93882" y="219293"/>
                      <a:pt x="94994" y="219848"/>
                      <a:pt x="96218" y="219848"/>
                    </a:cubicBezTo>
                    <a:cubicBezTo>
                      <a:pt x="96551" y="219848"/>
                      <a:pt x="96885" y="219848"/>
                      <a:pt x="97219" y="219737"/>
                    </a:cubicBezTo>
                    <a:cubicBezTo>
                      <a:pt x="98776" y="219293"/>
                      <a:pt x="99888" y="217960"/>
                      <a:pt x="100000" y="216404"/>
                    </a:cubicBezTo>
                    <a:lnTo>
                      <a:pt x="102113" y="196075"/>
                    </a:lnTo>
                    <a:cubicBezTo>
                      <a:pt x="102224" y="194964"/>
                      <a:pt x="101891" y="193964"/>
                      <a:pt x="101112" y="193075"/>
                    </a:cubicBezTo>
                    <a:cubicBezTo>
                      <a:pt x="100778" y="192631"/>
                      <a:pt x="100222" y="192298"/>
                      <a:pt x="99666" y="192075"/>
                    </a:cubicBezTo>
                    <a:lnTo>
                      <a:pt x="99666" y="182633"/>
                    </a:lnTo>
                    <a:cubicBezTo>
                      <a:pt x="99666" y="180744"/>
                      <a:pt x="98331" y="179189"/>
                      <a:pt x="96551" y="178856"/>
                    </a:cubicBezTo>
                    <a:cubicBezTo>
                      <a:pt x="93548" y="178300"/>
                      <a:pt x="90433" y="177189"/>
                      <a:pt x="87208" y="175523"/>
                    </a:cubicBezTo>
                    <a:close/>
                    <a:moveTo>
                      <a:pt x="93214" y="72653"/>
                    </a:moveTo>
                    <a:cubicBezTo>
                      <a:pt x="82313" y="72653"/>
                      <a:pt x="71857" y="77097"/>
                      <a:pt x="66629" y="79652"/>
                    </a:cubicBezTo>
                    <a:cubicBezTo>
                      <a:pt x="65294" y="80319"/>
                      <a:pt x="64516" y="81652"/>
                      <a:pt x="64516" y="83096"/>
                    </a:cubicBezTo>
                    <a:lnTo>
                      <a:pt x="64516" y="89872"/>
                    </a:lnTo>
                    <a:lnTo>
                      <a:pt x="62959" y="89872"/>
                    </a:lnTo>
                    <a:cubicBezTo>
                      <a:pt x="60845" y="89872"/>
                      <a:pt x="59065" y="91650"/>
                      <a:pt x="59065" y="93761"/>
                    </a:cubicBezTo>
                    <a:lnTo>
                      <a:pt x="59065" y="99982"/>
                    </a:lnTo>
                    <a:cubicBezTo>
                      <a:pt x="59065" y="101315"/>
                      <a:pt x="59733" y="102537"/>
                      <a:pt x="60845" y="103203"/>
                    </a:cubicBezTo>
                    <a:lnTo>
                      <a:pt x="64516" y="105647"/>
                    </a:lnTo>
                    <a:lnTo>
                      <a:pt x="64738" y="107202"/>
                    </a:lnTo>
                    <a:cubicBezTo>
                      <a:pt x="65962" y="116423"/>
                      <a:pt x="71079" y="128199"/>
                      <a:pt x="78531" y="138974"/>
                    </a:cubicBezTo>
                    <a:cubicBezTo>
                      <a:pt x="87875" y="152527"/>
                      <a:pt x="96663" y="158526"/>
                      <a:pt x="101223" y="158526"/>
                    </a:cubicBezTo>
                    <a:lnTo>
                      <a:pt x="121801" y="158526"/>
                    </a:lnTo>
                    <a:cubicBezTo>
                      <a:pt x="126362" y="158526"/>
                      <a:pt x="135150" y="152527"/>
                      <a:pt x="144493" y="138974"/>
                    </a:cubicBezTo>
                    <a:cubicBezTo>
                      <a:pt x="151835" y="128199"/>
                      <a:pt x="156951" y="116423"/>
                      <a:pt x="158175" y="107202"/>
                    </a:cubicBezTo>
                    <a:lnTo>
                      <a:pt x="158398" y="105647"/>
                    </a:lnTo>
                    <a:lnTo>
                      <a:pt x="162179" y="103203"/>
                    </a:lnTo>
                    <a:cubicBezTo>
                      <a:pt x="163181" y="102537"/>
                      <a:pt x="163848" y="101315"/>
                      <a:pt x="163848" y="100093"/>
                    </a:cubicBezTo>
                    <a:lnTo>
                      <a:pt x="163848" y="93761"/>
                    </a:lnTo>
                    <a:cubicBezTo>
                      <a:pt x="163848" y="91650"/>
                      <a:pt x="162179" y="89872"/>
                      <a:pt x="160066" y="89872"/>
                    </a:cubicBezTo>
                    <a:lnTo>
                      <a:pt x="157953" y="89872"/>
                    </a:lnTo>
                    <a:cubicBezTo>
                      <a:pt x="157619" y="89428"/>
                      <a:pt x="157285" y="88984"/>
                      <a:pt x="156729" y="88650"/>
                    </a:cubicBezTo>
                    <a:cubicBezTo>
                      <a:pt x="155617" y="87984"/>
                      <a:pt x="154282" y="87873"/>
                      <a:pt x="153058" y="88317"/>
                    </a:cubicBezTo>
                    <a:cubicBezTo>
                      <a:pt x="147942" y="90650"/>
                      <a:pt x="142825" y="91761"/>
                      <a:pt x="137930" y="91761"/>
                    </a:cubicBezTo>
                    <a:cubicBezTo>
                      <a:pt x="129254" y="91761"/>
                      <a:pt x="121357" y="88206"/>
                      <a:pt x="114460" y="81207"/>
                    </a:cubicBezTo>
                    <a:cubicBezTo>
                      <a:pt x="109010" y="75542"/>
                      <a:pt x="101779" y="72653"/>
                      <a:pt x="93214" y="72653"/>
                    </a:cubicBezTo>
                    <a:close/>
                    <a:moveTo>
                      <a:pt x="337631" y="69193"/>
                    </a:moveTo>
                    <a:cubicBezTo>
                      <a:pt x="342860" y="78302"/>
                      <a:pt x="347866" y="88300"/>
                      <a:pt x="352427" y="99187"/>
                    </a:cubicBezTo>
                    <a:cubicBezTo>
                      <a:pt x="361995" y="121739"/>
                      <a:pt x="369782" y="147290"/>
                      <a:pt x="375678" y="174952"/>
                    </a:cubicBezTo>
                    <a:cubicBezTo>
                      <a:pt x="403269" y="180728"/>
                      <a:pt x="428967" y="188505"/>
                      <a:pt x="451551" y="198059"/>
                    </a:cubicBezTo>
                    <a:cubicBezTo>
                      <a:pt x="462454" y="202724"/>
                      <a:pt x="472466" y="207612"/>
                      <a:pt x="481589" y="212945"/>
                    </a:cubicBezTo>
                    <a:cubicBezTo>
                      <a:pt x="456112" y="147068"/>
                      <a:pt x="403602" y="94633"/>
                      <a:pt x="337631" y="69193"/>
                    </a:cubicBezTo>
                    <a:close/>
                    <a:moveTo>
                      <a:pt x="247963" y="4093"/>
                    </a:moveTo>
                    <a:cubicBezTo>
                      <a:pt x="412725" y="4093"/>
                      <a:pt x="546670" y="137958"/>
                      <a:pt x="546670" y="302373"/>
                    </a:cubicBezTo>
                    <a:cubicBezTo>
                      <a:pt x="546670" y="466899"/>
                      <a:pt x="412725" y="600653"/>
                      <a:pt x="247963" y="600653"/>
                    </a:cubicBezTo>
                    <a:cubicBezTo>
                      <a:pt x="246295" y="600653"/>
                      <a:pt x="244626" y="600653"/>
                      <a:pt x="242957" y="600653"/>
                    </a:cubicBezTo>
                    <a:lnTo>
                      <a:pt x="242957" y="551662"/>
                    </a:lnTo>
                    <a:cubicBezTo>
                      <a:pt x="244626" y="551995"/>
                      <a:pt x="246295" y="552217"/>
                      <a:pt x="247963" y="552217"/>
                    </a:cubicBezTo>
                    <a:cubicBezTo>
                      <a:pt x="268100" y="552217"/>
                      <a:pt x="290350" y="527666"/>
                      <a:pt x="307705" y="486674"/>
                    </a:cubicBezTo>
                    <a:cubicBezTo>
                      <a:pt x="314046" y="472010"/>
                      <a:pt x="319386" y="455679"/>
                      <a:pt x="323836" y="438238"/>
                    </a:cubicBezTo>
                    <a:cubicBezTo>
                      <a:pt x="299472" y="441126"/>
                      <a:pt x="273996" y="442570"/>
                      <a:pt x="247963" y="442570"/>
                    </a:cubicBezTo>
                    <a:cubicBezTo>
                      <a:pt x="246295" y="442570"/>
                      <a:pt x="244626" y="442570"/>
                      <a:pt x="242957" y="442570"/>
                    </a:cubicBezTo>
                    <a:lnTo>
                      <a:pt x="242957" y="394024"/>
                    </a:lnTo>
                    <a:cubicBezTo>
                      <a:pt x="244626" y="394024"/>
                      <a:pt x="246295" y="394135"/>
                      <a:pt x="247963" y="394135"/>
                    </a:cubicBezTo>
                    <a:cubicBezTo>
                      <a:pt x="277778" y="394135"/>
                      <a:pt x="306703" y="392024"/>
                      <a:pt x="333848" y="388136"/>
                    </a:cubicBezTo>
                    <a:cubicBezTo>
                      <a:pt x="337742" y="361029"/>
                      <a:pt x="339856" y="332146"/>
                      <a:pt x="339856" y="302373"/>
                    </a:cubicBezTo>
                    <a:cubicBezTo>
                      <a:pt x="339856" y="272712"/>
                      <a:pt x="337742" y="243828"/>
                      <a:pt x="333848" y="216722"/>
                    </a:cubicBezTo>
                    <a:cubicBezTo>
                      <a:pt x="306703" y="212723"/>
                      <a:pt x="277778" y="210723"/>
                      <a:pt x="247963" y="210723"/>
                    </a:cubicBezTo>
                    <a:cubicBezTo>
                      <a:pt x="246295" y="210723"/>
                      <a:pt x="244626" y="210723"/>
                      <a:pt x="242957" y="210723"/>
                    </a:cubicBezTo>
                    <a:lnTo>
                      <a:pt x="242957" y="162287"/>
                    </a:lnTo>
                    <a:cubicBezTo>
                      <a:pt x="244626" y="162287"/>
                      <a:pt x="246295" y="162176"/>
                      <a:pt x="247963" y="162176"/>
                    </a:cubicBezTo>
                    <a:cubicBezTo>
                      <a:pt x="273996" y="162176"/>
                      <a:pt x="299472" y="163731"/>
                      <a:pt x="323836" y="166509"/>
                    </a:cubicBezTo>
                    <a:cubicBezTo>
                      <a:pt x="319386" y="149067"/>
                      <a:pt x="314046" y="132848"/>
                      <a:pt x="307705" y="118073"/>
                    </a:cubicBezTo>
                    <a:cubicBezTo>
                      <a:pt x="290350" y="77080"/>
                      <a:pt x="268100" y="52640"/>
                      <a:pt x="247963" y="52640"/>
                    </a:cubicBezTo>
                    <a:cubicBezTo>
                      <a:pt x="246295" y="52640"/>
                      <a:pt x="244626" y="52862"/>
                      <a:pt x="242957" y="53196"/>
                    </a:cubicBezTo>
                    <a:lnTo>
                      <a:pt x="242957" y="4204"/>
                    </a:lnTo>
                    <a:cubicBezTo>
                      <a:pt x="244626" y="4204"/>
                      <a:pt x="246295" y="4093"/>
                      <a:pt x="247963" y="4093"/>
                    </a:cubicBezTo>
                    <a:close/>
                    <a:moveTo>
                      <a:pt x="101779" y="0"/>
                    </a:moveTo>
                    <a:lnTo>
                      <a:pt x="121134" y="0"/>
                    </a:lnTo>
                    <a:cubicBezTo>
                      <a:pt x="154171" y="0"/>
                      <a:pt x="180978" y="26773"/>
                      <a:pt x="180978" y="59656"/>
                    </a:cubicBezTo>
                    <a:lnTo>
                      <a:pt x="180978" y="78430"/>
                    </a:lnTo>
                    <a:cubicBezTo>
                      <a:pt x="183203" y="81541"/>
                      <a:pt x="184315" y="85318"/>
                      <a:pt x="184315" y="89095"/>
                    </a:cubicBezTo>
                    <a:lnTo>
                      <a:pt x="184315" y="102426"/>
                    </a:lnTo>
                    <a:cubicBezTo>
                      <a:pt x="184315" y="107869"/>
                      <a:pt x="181868" y="113090"/>
                      <a:pt x="177752" y="116534"/>
                    </a:cubicBezTo>
                    <a:cubicBezTo>
                      <a:pt x="176751" y="119867"/>
                      <a:pt x="175416" y="123311"/>
                      <a:pt x="173859" y="126643"/>
                    </a:cubicBezTo>
                    <a:cubicBezTo>
                      <a:pt x="170856" y="134753"/>
                      <a:pt x="166406" y="143085"/>
                      <a:pt x="161067" y="150861"/>
                    </a:cubicBezTo>
                    <a:cubicBezTo>
                      <a:pt x="158842" y="154083"/>
                      <a:pt x="155839" y="157860"/>
                      <a:pt x="152502" y="161748"/>
                    </a:cubicBezTo>
                    <a:cubicBezTo>
                      <a:pt x="155505" y="163192"/>
                      <a:pt x="158175" y="165192"/>
                      <a:pt x="160400" y="167747"/>
                    </a:cubicBezTo>
                    <a:lnTo>
                      <a:pt x="204115" y="176412"/>
                    </a:lnTo>
                    <a:cubicBezTo>
                      <a:pt x="215461" y="178745"/>
                      <a:pt x="223692" y="188743"/>
                      <a:pt x="223692" y="200407"/>
                    </a:cubicBezTo>
                    <a:lnTo>
                      <a:pt x="223692" y="358044"/>
                    </a:lnTo>
                    <a:cubicBezTo>
                      <a:pt x="223692" y="361710"/>
                      <a:pt x="222913" y="365154"/>
                      <a:pt x="221467" y="368265"/>
                    </a:cubicBezTo>
                    <a:lnTo>
                      <a:pt x="221467" y="385484"/>
                    </a:lnTo>
                    <a:cubicBezTo>
                      <a:pt x="221467" y="397259"/>
                      <a:pt x="211901" y="406813"/>
                      <a:pt x="200110" y="406813"/>
                    </a:cubicBezTo>
                    <a:cubicBezTo>
                      <a:pt x="195772" y="406813"/>
                      <a:pt x="191879" y="405591"/>
                      <a:pt x="188431" y="403369"/>
                    </a:cubicBezTo>
                    <a:lnTo>
                      <a:pt x="188431" y="566561"/>
                    </a:lnTo>
                    <a:cubicBezTo>
                      <a:pt x="188431" y="587668"/>
                      <a:pt x="171301" y="604887"/>
                      <a:pt x="150166" y="604887"/>
                    </a:cubicBezTo>
                    <a:cubicBezTo>
                      <a:pt x="129032" y="604887"/>
                      <a:pt x="111902" y="587668"/>
                      <a:pt x="111902" y="566561"/>
                    </a:cubicBezTo>
                    <a:cubicBezTo>
                      <a:pt x="111902" y="587668"/>
                      <a:pt x="94772" y="604887"/>
                      <a:pt x="73526" y="604887"/>
                    </a:cubicBezTo>
                    <a:cubicBezTo>
                      <a:pt x="52391" y="604887"/>
                      <a:pt x="35261" y="587668"/>
                      <a:pt x="35261" y="566561"/>
                    </a:cubicBezTo>
                    <a:lnTo>
                      <a:pt x="35261" y="403369"/>
                    </a:lnTo>
                    <a:cubicBezTo>
                      <a:pt x="31924" y="405591"/>
                      <a:pt x="27920" y="406813"/>
                      <a:pt x="23582" y="406813"/>
                    </a:cubicBezTo>
                    <a:cubicBezTo>
                      <a:pt x="11791" y="406813"/>
                      <a:pt x="2225" y="397259"/>
                      <a:pt x="2225" y="385484"/>
                    </a:cubicBezTo>
                    <a:lnTo>
                      <a:pt x="2225" y="368265"/>
                    </a:lnTo>
                    <a:cubicBezTo>
                      <a:pt x="779" y="365154"/>
                      <a:pt x="0" y="361710"/>
                      <a:pt x="0" y="358044"/>
                    </a:cubicBezTo>
                    <a:lnTo>
                      <a:pt x="0" y="200296"/>
                    </a:lnTo>
                    <a:cubicBezTo>
                      <a:pt x="0" y="188743"/>
                      <a:pt x="8231" y="178745"/>
                      <a:pt x="19577" y="176412"/>
                    </a:cubicBezTo>
                    <a:lnTo>
                      <a:pt x="62625" y="167747"/>
                    </a:lnTo>
                    <a:cubicBezTo>
                      <a:pt x="64850" y="165192"/>
                      <a:pt x="67519" y="163192"/>
                      <a:pt x="70522" y="161748"/>
                    </a:cubicBezTo>
                    <a:cubicBezTo>
                      <a:pt x="67074" y="157971"/>
                      <a:pt x="64182" y="154083"/>
                      <a:pt x="61957" y="150861"/>
                    </a:cubicBezTo>
                    <a:cubicBezTo>
                      <a:pt x="56618" y="143085"/>
                      <a:pt x="52169" y="134753"/>
                      <a:pt x="49054" y="126643"/>
                    </a:cubicBezTo>
                    <a:cubicBezTo>
                      <a:pt x="47497" y="123311"/>
                      <a:pt x="46273" y="119867"/>
                      <a:pt x="45161" y="116534"/>
                    </a:cubicBezTo>
                    <a:cubicBezTo>
                      <a:pt x="41045" y="113090"/>
                      <a:pt x="38598" y="107869"/>
                      <a:pt x="38598" y="102426"/>
                    </a:cubicBezTo>
                    <a:lnTo>
                      <a:pt x="38598" y="89095"/>
                    </a:lnTo>
                    <a:cubicBezTo>
                      <a:pt x="38598" y="85318"/>
                      <a:pt x="39822" y="81541"/>
                      <a:pt x="42047" y="78430"/>
                    </a:cubicBezTo>
                    <a:lnTo>
                      <a:pt x="42047" y="59656"/>
                    </a:lnTo>
                    <a:cubicBezTo>
                      <a:pt x="42047" y="26773"/>
                      <a:pt x="68854" y="0"/>
                      <a:pt x="10177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3765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8" name="直接连接符 17"/>
            <p:cNvCxnSpPr/>
            <p:nvPr/>
          </p:nvCxnSpPr>
          <p:spPr>
            <a:xfrm>
              <a:off x="8098576" y="3204556"/>
              <a:ext cx="34734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îs1îďè"/>
          <p:cNvSpPr txBox="1"/>
          <p:nvPr/>
        </p:nvSpPr>
        <p:spPr>
          <a:xfrm flipH="1">
            <a:off x="1416231" y="2512280"/>
            <a:ext cx="2901324" cy="813258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200" dirty="0"/>
              <a:t>往往选择一个行业，对这个行业的了解往往片面。需要进一步了解行业细节。</a:t>
            </a:r>
            <a:endParaRPr lang="zh-CN" altLang="en-US" sz="1200" dirty="0"/>
          </a:p>
        </p:txBody>
      </p:sp>
      <p:sp>
        <p:nvSpPr>
          <p:cNvPr id="40" name="íṣlîḑe"/>
          <p:cNvSpPr/>
          <p:nvPr/>
        </p:nvSpPr>
        <p:spPr>
          <a:xfrm flipH="1">
            <a:off x="2637384" y="2097593"/>
            <a:ext cx="2679699" cy="357534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b="1" dirty="0"/>
              <a:t>缺乏行业认知</a:t>
            </a:r>
            <a:endParaRPr lang="zh-CN" altLang="en-US" b="1" dirty="0"/>
          </a:p>
        </p:txBody>
      </p:sp>
      <p:sp>
        <p:nvSpPr>
          <p:cNvPr id="41" name="íṩḷíḋê"/>
          <p:cNvSpPr txBox="1"/>
          <p:nvPr/>
        </p:nvSpPr>
        <p:spPr>
          <a:xfrm flipH="1">
            <a:off x="1262815" y="5101934"/>
            <a:ext cx="2994118" cy="357533"/>
          </a:xfrm>
          <a:prstGeom prst="rect">
            <a:avLst/>
          </a:prstGeom>
          <a:noFill/>
        </p:spPr>
        <p:txBody>
          <a:bodyPr wrap="square" lIns="91440" tIns="45720" rIns="91440" bIns="4572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FFC000"/>
                </a:solidFill>
              </a:rPr>
              <a:t>书本和努力转化成生产力的必要中间过程</a:t>
            </a:r>
            <a:endParaRPr lang="zh-CN" altLang="en-US" sz="1200" dirty="0">
              <a:solidFill>
                <a:srgbClr val="FFC000"/>
              </a:solidFill>
            </a:endParaRPr>
          </a:p>
        </p:txBody>
      </p:sp>
      <p:sp>
        <p:nvSpPr>
          <p:cNvPr id="42" name="ïşļíḓê"/>
          <p:cNvSpPr/>
          <p:nvPr/>
        </p:nvSpPr>
        <p:spPr>
          <a:xfrm flipH="1">
            <a:off x="2600805" y="4717269"/>
            <a:ext cx="1692236" cy="357534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b="1" dirty="0">
                <a:solidFill>
                  <a:srgbClr val="FFC000"/>
                </a:solidFill>
              </a:rPr>
              <a:t>缺乏非标指导</a:t>
            </a:r>
            <a:endParaRPr lang="zh-CN" altLang="en-US" b="1" dirty="0">
              <a:solidFill>
                <a:srgbClr val="FFC000"/>
              </a:solidFill>
            </a:endParaRPr>
          </a:p>
        </p:txBody>
      </p:sp>
      <p:sp>
        <p:nvSpPr>
          <p:cNvPr id="43" name="ïṩḻíḋé"/>
          <p:cNvSpPr txBox="1"/>
          <p:nvPr/>
        </p:nvSpPr>
        <p:spPr>
          <a:xfrm flipH="1">
            <a:off x="8047036" y="4931016"/>
            <a:ext cx="2679699" cy="973872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030157"/>
                </a:solidFill>
              </a:rPr>
              <a:t>面试套路多，一下就上套。</a:t>
            </a:r>
            <a:endParaRPr lang="zh-CN" altLang="en-US" sz="1200" dirty="0">
              <a:solidFill>
                <a:srgbClr val="030157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030157"/>
                </a:solidFill>
              </a:rPr>
              <a:t>职场套路多，我要回农村。</a:t>
            </a:r>
            <a:endParaRPr lang="zh-CN" altLang="en-US" sz="1200" dirty="0">
              <a:solidFill>
                <a:srgbClr val="030157"/>
              </a:solidFill>
            </a:endParaRPr>
          </a:p>
        </p:txBody>
      </p:sp>
      <p:sp>
        <p:nvSpPr>
          <p:cNvPr id="44" name="íşľiḑe"/>
          <p:cNvSpPr/>
          <p:nvPr/>
        </p:nvSpPr>
        <p:spPr>
          <a:xfrm flipH="1">
            <a:off x="8047038" y="4573481"/>
            <a:ext cx="2679699" cy="357534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b="1" dirty="0">
                <a:solidFill>
                  <a:srgbClr val="030157"/>
                </a:solidFill>
              </a:rPr>
              <a:t>缺乏必要情商</a:t>
            </a:r>
            <a:endParaRPr lang="zh-CN" altLang="en-US" b="1" dirty="0">
              <a:solidFill>
                <a:srgbClr val="030157"/>
              </a:solidFill>
            </a:endParaRPr>
          </a:p>
        </p:txBody>
      </p:sp>
      <p:sp>
        <p:nvSpPr>
          <p:cNvPr id="45" name="íŝļidê"/>
          <p:cNvSpPr txBox="1"/>
          <p:nvPr/>
        </p:nvSpPr>
        <p:spPr>
          <a:xfrm flipH="1">
            <a:off x="8098576" y="2539666"/>
            <a:ext cx="2679699" cy="973872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E99C88"/>
                </a:solidFill>
              </a:rPr>
              <a:t>学校和社会差距很大，需要委屈倾诉、迷惑解答等</a:t>
            </a:r>
            <a:endParaRPr lang="zh-CN" altLang="en-US" sz="1200" dirty="0">
              <a:solidFill>
                <a:srgbClr val="E99C88"/>
              </a:solidFill>
            </a:endParaRPr>
          </a:p>
        </p:txBody>
      </p:sp>
      <p:sp>
        <p:nvSpPr>
          <p:cNvPr id="46" name="iśľïďe"/>
          <p:cNvSpPr/>
          <p:nvPr/>
        </p:nvSpPr>
        <p:spPr>
          <a:xfrm flipH="1">
            <a:off x="8098578" y="2182131"/>
            <a:ext cx="2679699" cy="357534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b="1" dirty="0">
                <a:solidFill>
                  <a:srgbClr val="DC6140"/>
                </a:solidFill>
              </a:rPr>
              <a:t>缺乏情感依赖</a:t>
            </a:r>
            <a:endParaRPr lang="zh-CN" altLang="en-US" b="1" dirty="0">
              <a:solidFill>
                <a:srgbClr val="DC6140"/>
              </a:solidFill>
            </a:endParaRPr>
          </a:p>
        </p:txBody>
      </p:sp>
      <p:cxnSp>
        <p:nvCxnSpPr>
          <p:cNvPr id="47" name="直接连接符 5"/>
          <p:cNvCxnSpPr/>
          <p:nvPr/>
        </p:nvCxnSpPr>
        <p:spPr>
          <a:xfrm>
            <a:off x="669923" y="5557896"/>
            <a:ext cx="347345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17"/>
          <p:cNvCxnSpPr/>
          <p:nvPr/>
        </p:nvCxnSpPr>
        <p:spPr>
          <a:xfrm>
            <a:off x="8047036" y="5589795"/>
            <a:ext cx="347345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kern="0" dirty="0"/>
              <a:t>市场痛点</a:t>
            </a:r>
            <a:endParaRPr lang="zh-CN" altLang="en-US" dirty="0"/>
          </a:p>
        </p:txBody>
      </p:sp>
      <p:grpSp>
        <p:nvGrpSpPr>
          <p:cNvPr id="3" name="21863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591379"/>
            <a:ext cx="10850563" cy="4522714"/>
            <a:chOff x="669925" y="1591379"/>
            <a:chExt cx="10850563" cy="4522714"/>
          </a:xfrm>
        </p:grpSpPr>
        <p:sp>
          <p:nvSpPr>
            <p:cNvPr id="4" name="ïṩ1iḍê"/>
            <p:cNvSpPr/>
            <p:nvPr/>
          </p:nvSpPr>
          <p:spPr>
            <a:xfrm flipH="1">
              <a:off x="5498766" y="5382632"/>
              <a:ext cx="1218021" cy="306508"/>
            </a:xfrm>
            <a:prstGeom prst="parallelogram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ïṩļîḑe"/>
            <p:cNvSpPr/>
            <p:nvPr/>
          </p:nvSpPr>
          <p:spPr>
            <a:xfrm>
              <a:off x="5498766" y="5733722"/>
              <a:ext cx="1218021" cy="306508"/>
            </a:xfrm>
            <a:prstGeom prst="parallelogram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iš1îḋê"/>
            <p:cNvSpPr/>
            <p:nvPr/>
          </p:nvSpPr>
          <p:spPr>
            <a:xfrm>
              <a:off x="5498766" y="5011033"/>
              <a:ext cx="1218021" cy="306508"/>
            </a:xfrm>
            <a:prstGeom prst="parallelogram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7" name="直接连接符 6"/>
            <p:cNvCxnSpPr/>
            <p:nvPr/>
          </p:nvCxnSpPr>
          <p:spPr>
            <a:xfrm flipH="1">
              <a:off x="669925" y="2868637"/>
              <a:ext cx="426961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7"/>
            <p:cNvCxnSpPr>
              <a:stCxn id="15" idx="5"/>
            </p:cNvCxnSpPr>
            <p:nvPr/>
          </p:nvCxnSpPr>
          <p:spPr>
            <a:xfrm>
              <a:off x="7281167" y="2640043"/>
              <a:ext cx="423932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接连接符 9"/>
            <p:cNvCxnSpPr/>
            <p:nvPr/>
          </p:nvCxnSpPr>
          <p:spPr>
            <a:xfrm>
              <a:off x="6489219" y="4804665"/>
              <a:ext cx="5031269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接连接符 10"/>
            <p:cNvCxnSpPr/>
            <p:nvPr/>
          </p:nvCxnSpPr>
          <p:spPr>
            <a:xfrm flipH="1">
              <a:off x="669925" y="4847521"/>
              <a:ext cx="5050469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iṩľíḍê"/>
            <p:cNvSpPr/>
            <p:nvPr/>
          </p:nvSpPr>
          <p:spPr bwMode="auto">
            <a:xfrm>
              <a:off x="5498766" y="4907849"/>
              <a:ext cx="1218021" cy="214220"/>
            </a:xfrm>
            <a:custGeom>
              <a:avLst/>
              <a:gdLst>
                <a:gd name="T0" fmla="*/ 632 w 632"/>
                <a:gd name="T1" fmla="*/ 56 h 111"/>
                <a:gd name="T2" fmla="*/ 616 w 632"/>
                <a:gd name="T3" fmla="*/ 95 h 111"/>
                <a:gd name="T4" fmla="*/ 577 w 632"/>
                <a:gd name="T5" fmla="*/ 111 h 111"/>
                <a:gd name="T6" fmla="*/ 56 w 632"/>
                <a:gd name="T7" fmla="*/ 111 h 111"/>
                <a:gd name="T8" fmla="*/ 53 w 632"/>
                <a:gd name="T9" fmla="*/ 111 h 111"/>
                <a:gd name="T10" fmla="*/ 0 w 632"/>
                <a:gd name="T11" fmla="*/ 56 h 111"/>
                <a:gd name="T12" fmla="*/ 17 w 632"/>
                <a:gd name="T13" fmla="*/ 16 h 111"/>
                <a:gd name="T14" fmla="*/ 56 w 632"/>
                <a:gd name="T15" fmla="*/ 0 h 111"/>
                <a:gd name="T16" fmla="*/ 577 w 632"/>
                <a:gd name="T17" fmla="*/ 0 h 111"/>
                <a:gd name="T18" fmla="*/ 632 w 632"/>
                <a:gd name="T19" fmla="*/ 56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2" h="111">
                  <a:moveTo>
                    <a:pt x="632" y="56"/>
                  </a:moveTo>
                  <a:cubicBezTo>
                    <a:pt x="632" y="71"/>
                    <a:pt x="626" y="85"/>
                    <a:pt x="616" y="95"/>
                  </a:cubicBezTo>
                  <a:cubicBezTo>
                    <a:pt x="606" y="105"/>
                    <a:pt x="592" y="111"/>
                    <a:pt x="577" y="111"/>
                  </a:cubicBezTo>
                  <a:cubicBezTo>
                    <a:pt x="56" y="111"/>
                    <a:pt x="56" y="111"/>
                    <a:pt x="56" y="111"/>
                  </a:cubicBezTo>
                  <a:cubicBezTo>
                    <a:pt x="55" y="111"/>
                    <a:pt x="54" y="111"/>
                    <a:pt x="53" y="111"/>
                  </a:cubicBezTo>
                  <a:cubicBezTo>
                    <a:pt x="23" y="109"/>
                    <a:pt x="0" y="85"/>
                    <a:pt x="0" y="56"/>
                  </a:cubicBezTo>
                  <a:cubicBezTo>
                    <a:pt x="0" y="40"/>
                    <a:pt x="7" y="26"/>
                    <a:pt x="17" y="16"/>
                  </a:cubicBezTo>
                  <a:cubicBezTo>
                    <a:pt x="27" y="6"/>
                    <a:pt x="41" y="0"/>
                    <a:pt x="56" y="0"/>
                  </a:cubicBezTo>
                  <a:cubicBezTo>
                    <a:pt x="577" y="0"/>
                    <a:pt x="577" y="0"/>
                    <a:pt x="577" y="0"/>
                  </a:cubicBezTo>
                  <a:cubicBezTo>
                    <a:pt x="608" y="0"/>
                    <a:pt x="632" y="25"/>
                    <a:pt x="632" y="5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775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sz="1350"/>
            </a:p>
          </p:txBody>
        </p:sp>
        <p:sp>
          <p:nvSpPr>
            <p:cNvPr id="14" name="íṣḻïďê"/>
            <p:cNvSpPr/>
            <p:nvPr/>
          </p:nvSpPr>
          <p:spPr bwMode="auto">
            <a:xfrm>
              <a:off x="5498766" y="5239272"/>
              <a:ext cx="1220264" cy="213098"/>
            </a:xfrm>
            <a:custGeom>
              <a:avLst/>
              <a:gdLst>
                <a:gd name="T0" fmla="*/ 577 w 633"/>
                <a:gd name="T1" fmla="*/ 111 h 111"/>
                <a:gd name="T2" fmla="*/ 56 w 633"/>
                <a:gd name="T3" fmla="*/ 111 h 111"/>
                <a:gd name="T4" fmla="*/ 0 w 633"/>
                <a:gd name="T5" fmla="*/ 56 h 111"/>
                <a:gd name="T6" fmla="*/ 0 w 633"/>
                <a:gd name="T7" fmla="*/ 56 h 111"/>
                <a:gd name="T8" fmla="*/ 56 w 633"/>
                <a:gd name="T9" fmla="*/ 0 h 111"/>
                <a:gd name="T10" fmla="*/ 577 w 633"/>
                <a:gd name="T11" fmla="*/ 0 h 111"/>
                <a:gd name="T12" fmla="*/ 633 w 633"/>
                <a:gd name="T13" fmla="*/ 56 h 111"/>
                <a:gd name="T14" fmla="*/ 633 w 633"/>
                <a:gd name="T15" fmla="*/ 56 h 111"/>
                <a:gd name="T16" fmla="*/ 577 w 633"/>
                <a:gd name="T1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3" h="111">
                  <a:moveTo>
                    <a:pt x="577" y="111"/>
                  </a:moveTo>
                  <a:cubicBezTo>
                    <a:pt x="56" y="111"/>
                    <a:pt x="56" y="111"/>
                    <a:pt x="56" y="111"/>
                  </a:cubicBezTo>
                  <a:cubicBezTo>
                    <a:pt x="25" y="111"/>
                    <a:pt x="0" y="86"/>
                    <a:pt x="0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6" y="0"/>
                  </a:cubicBezTo>
                  <a:cubicBezTo>
                    <a:pt x="577" y="0"/>
                    <a:pt x="577" y="0"/>
                    <a:pt x="577" y="0"/>
                  </a:cubicBezTo>
                  <a:cubicBezTo>
                    <a:pt x="608" y="0"/>
                    <a:pt x="633" y="25"/>
                    <a:pt x="633" y="56"/>
                  </a:cubicBezTo>
                  <a:cubicBezTo>
                    <a:pt x="633" y="56"/>
                    <a:pt x="633" y="56"/>
                    <a:pt x="633" y="56"/>
                  </a:cubicBezTo>
                  <a:cubicBezTo>
                    <a:pt x="633" y="86"/>
                    <a:pt x="608" y="111"/>
                    <a:pt x="577" y="11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70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sz="1350"/>
            </a:p>
          </p:txBody>
        </p:sp>
        <p:sp>
          <p:nvSpPr>
            <p:cNvPr id="15" name="íṣľîdé"/>
            <p:cNvSpPr/>
            <p:nvPr/>
          </p:nvSpPr>
          <p:spPr bwMode="auto">
            <a:xfrm>
              <a:off x="6130206" y="1591379"/>
              <a:ext cx="1241573" cy="1048664"/>
            </a:xfrm>
            <a:custGeom>
              <a:avLst/>
              <a:gdLst>
                <a:gd name="T0" fmla="*/ 0 w 644"/>
                <a:gd name="T1" fmla="*/ 44 h 545"/>
                <a:gd name="T2" fmla="*/ 0 w 644"/>
                <a:gd name="T3" fmla="*/ 131 h 545"/>
                <a:gd name="T4" fmla="*/ 37 w 644"/>
                <a:gd name="T5" fmla="*/ 172 h 545"/>
                <a:gd name="T6" fmla="*/ 463 w 644"/>
                <a:gd name="T7" fmla="*/ 516 h 545"/>
                <a:gd name="T8" fmla="*/ 502 w 644"/>
                <a:gd name="T9" fmla="*/ 545 h 545"/>
                <a:gd name="T10" fmla="*/ 597 w 644"/>
                <a:gd name="T11" fmla="*/ 545 h 545"/>
                <a:gd name="T12" fmla="*/ 637 w 644"/>
                <a:gd name="T13" fmla="*/ 493 h 545"/>
                <a:gd name="T14" fmla="*/ 425 w 644"/>
                <a:gd name="T15" fmla="*/ 170 h 545"/>
                <a:gd name="T16" fmla="*/ 46 w 644"/>
                <a:gd name="T17" fmla="*/ 2 h 545"/>
                <a:gd name="T18" fmla="*/ 0 w 644"/>
                <a:gd name="T19" fmla="*/ 44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4" h="545">
                  <a:moveTo>
                    <a:pt x="0" y="44"/>
                  </a:moveTo>
                  <a:cubicBezTo>
                    <a:pt x="0" y="131"/>
                    <a:pt x="0" y="131"/>
                    <a:pt x="0" y="131"/>
                  </a:cubicBezTo>
                  <a:cubicBezTo>
                    <a:pt x="0" y="152"/>
                    <a:pt x="16" y="170"/>
                    <a:pt x="37" y="172"/>
                  </a:cubicBezTo>
                  <a:cubicBezTo>
                    <a:pt x="222" y="192"/>
                    <a:pt x="402" y="332"/>
                    <a:pt x="463" y="516"/>
                  </a:cubicBezTo>
                  <a:cubicBezTo>
                    <a:pt x="468" y="533"/>
                    <a:pt x="484" y="545"/>
                    <a:pt x="502" y="545"/>
                  </a:cubicBezTo>
                  <a:cubicBezTo>
                    <a:pt x="597" y="545"/>
                    <a:pt x="597" y="545"/>
                    <a:pt x="597" y="545"/>
                  </a:cubicBezTo>
                  <a:cubicBezTo>
                    <a:pt x="624" y="545"/>
                    <a:pt x="644" y="519"/>
                    <a:pt x="637" y="493"/>
                  </a:cubicBezTo>
                  <a:cubicBezTo>
                    <a:pt x="604" y="369"/>
                    <a:pt x="526" y="256"/>
                    <a:pt x="425" y="170"/>
                  </a:cubicBezTo>
                  <a:cubicBezTo>
                    <a:pt x="317" y="78"/>
                    <a:pt x="183" y="16"/>
                    <a:pt x="46" y="2"/>
                  </a:cubicBezTo>
                  <a:cubicBezTo>
                    <a:pt x="21" y="0"/>
                    <a:pt x="0" y="19"/>
                    <a:pt x="0" y="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sz="1350"/>
            </a:p>
          </p:txBody>
        </p:sp>
        <p:sp>
          <p:nvSpPr>
            <p:cNvPr id="16" name="í$ḷïďé"/>
            <p:cNvSpPr/>
            <p:nvPr/>
          </p:nvSpPr>
          <p:spPr bwMode="auto">
            <a:xfrm>
              <a:off x="4839285" y="1591379"/>
              <a:ext cx="1241573" cy="1048664"/>
            </a:xfrm>
            <a:custGeom>
              <a:avLst/>
              <a:gdLst>
                <a:gd name="T0" fmla="*/ 644 w 644"/>
                <a:gd name="T1" fmla="*/ 48 h 545"/>
                <a:gd name="T2" fmla="*/ 644 w 644"/>
                <a:gd name="T3" fmla="*/ 127 h 545"/>
                <a:gd name="T4" fmla="*/ 603 w 644"/>
                <a:gd name="T5" fmla="*/ 173 h 545"/>
                <a:gd name="T6" fmla="*/ 182 w 644"/>
                <a:gd name="T7" fmla="*/ 514 h 545"/>
                <a:gd name="T8" fmla="*/ 139 w 644"/>
                <a:gd name="T9" fmla="*/ 545 h 545"/>
                <a:gd name="T10" fmla="*/ 52 w 644"/>
                <a:gd name="T11" fmla="*/ 545 h 545"/>
                <a:gd name="T12" fmla="*/ 8 w 644"/>
                <a:gd name="T13" fmla="*/ 488 h 545"/>
                <a:gd name="T14" fmla="*/ 219 w 644"/>
                <a:gd name="T15" fmla="*/ 170 h 545"/>
                <a:gd name="T16" fmla="*/ 594 w 644"/>
                <a:gd name="T17" fmla="*/ 3 h 545"/>
                <a:gd name="T18" fmla="*/ 644 w 644"/>
                <a:gd name="T19" fmla="*/ 48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4" h="545">
                  <a:moveTo>
                    <a:pt x="644" y="48"/>
                  </a:moveTo>
                  <a:cubicBezTo>
                    <a:pt x="644" y="127"/>
                    <a:pt x="644" y="127"/>
                    <a:pt x="644" y="127"/>
                  </a:cubicBezTo>
                  <a:cubicBezTo>
                    <a:pt x="644" y="150"/>
                    <a:pt x="627" y="170"/>
                    <a:pt x="603" y="173"/>
                  </a:cubicBezTo>
                  <a:cubicBezTo>
                    <a:pt x="420" y="194"/>
                    <a:pt x="243" y="332"/>
                    <a:pt x="182" y="514"/>
                  </a:cubicBezTo>
                  <a:cubicBezTo>
                    <a:pt x="176" y="533"/>
                    <a:pt x="158" y="545"/>
                    <a:pt x="139" y="545"/>
                  </a:cubicBezTo>
                  <a:cubicBezTo>
                    <a:pt x="52" y="545"/>
                    <a:pt x="52" y="545"/>
                    <a:pt x="52" y="545"/>
                  </a:cubicBezTo>
                  <a:cubicBezTo>
                    <a:pt x="22" y="545"/>
                    <a:pt x="0" y="517"/>
                    <a:pt x="8" y="488"/>
                  </a:cubicBezTo>
                  <a:cubicBezTo>
                    <a:pt x="42" y="366"/>
                    <a:pt x="119" y="255"/>
                    <a:pt x="219" y="170"/>
                  </a:cubicBezTo>
                  <a:cubicBezTo>
                    <a:pt x="326" y="79"/>
                    <a:pt x="459" y="17"/>
                    <a:pt x="594" y="3"/>
                  </a:cubicBezTo>
                  <a:cubicBezTo>
                    <a:pt x="621" y="0"/>
                    <a:pt x="644" y="21"/>
                    <a:pt x="644" y="4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sz="1350"/>
            </a:p>
          </p:txBody>
        </p:sp>
        <p:sp>
          <p:nvSpPr>
            <p:cNvPr id="17" name="îṩļîḍê"/>
            <p:cNvSpPr/>
            <p:nvPr/>
          </p:nvSpPr>
          <p:spPr bwMode="auto">
            <a:xfrm>
              <a:off x="6741462" y="2686028"/>
              <a:ext cx="640413" cy="1023989"/>
            </a:xfrm>
            <a:custGeom>
              <a:avLst/>
              <a:gdLst>
                <a:gd name="T0" fmla="*/ 332 w 332"/>
                <a:gd name="T1" fmla="*/ 95 h 532"/>
                <a:gd name="T2" fmla="*/ 292 w 332"/>
                <a:gd name="T3" fmla="*/ 306 h 532"/>
                <a:gd name="T4" fmla="*/ 292 w 332"/>
                <a:gd name="T5" fmla="*/ 306 h 532"/>
                <a:gd name="T6" fmla="*/ 170 w 332"/>
                <a:gd name="T7" fmla="*/ 518 h 532"/>
                <a:gd name="T8" fmla="*/ 143 w 332"/>
                <a:gd name="T9" fmla="*/ 532 h 532"/>
                <a:gd name="T10" fmla="*/ 41 w 332"/>
                <a:gd name="T11" fmla="*/ 532 h 532"/>
                <a:gd name="T12" fmla="*/ 14 w 332"/>
                <a:gd name="T13" fmla="*/ 482 h 532"/>
                <a:gd name="T14" fmla="*/ 159 w 332"/>
                <a:gd name="T15" fmla="*/ 114 h 532"/>
                <a:gd name="T16" fmla="*/ 154 w 332"/>
                <a:gd name="T17" fmla="*/ 37 h 532"/>
                <a:gd name="T18" fmla="*/ 186 w 332"/>
                <a:gd name="T19" fmla="*/ 0 h 532"/>
                <a:gd name="T20" fmla="*/ 297 w 332"/>
                <a:gd name="T21" fmla="*/ 0 h 532"/>
                <a:gd name="T22" fmla="*/ 329 w 332"/>
                <a:gd name="T23" fmla="*/ 30 h 532"/>
                <a:gd name="T24" fmla="*/ 332 w 332"/>
                <a:gd name="T25" fmla="*/ 95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2" h="532">
                  <a:moveTo>
                    <a:pt x="332" y="95"/>
                  </a:moveTo>
                  <a:cubicBezTo>
                    <a:pt x="332" y="175"/>
                    <a:pt x="317" y="244"/>
                    <a:pt x="292" y="306"/>
                  </a:cubicBezTo>
                  <a:cubicBezTo>
                    <a:pt x="292" y="306"/>
                    <a:pt x="292" y="306"/>
                    <a:pt x="292" y="306"/>
                  </a:cubicBezTo>
                  <a:cubicBezTo>
                    <a:pt x="261" y="384"/>
                    <a:pt x="216" y="451"/>
                    <a:pt x="170" y="518"/>
                  </a:cubicBezTo>
                  <a:cubicBezTo>
                    <a:pt x="164" y="527"/>
                    <a:pt x="154" y="532"/>
                    <a:pt x="143" y="532"/>
                  </a:cubicBezTo>
                  <a:cubicBezTo>
                    <a:pt x="41" y="532"/>
                    <a:pt x="41" y="532"/>
                    <a:pt x="41" y="532"/>
                  </a:cubicBezTo>
                  <a:cubicBezTo>
                    <a:pt x="15" y="532"/>
                    <a:pt x="0" y="503"/>
                    <a:pt x="14" y="482"/>
                  </a:cubicBezTo>
                  <a:cubicBezTo>
                    <a:pt x="89" y="368"/>
                    <a:pt x="159" y="260"/>
                    <a:pt x="159" y="114"/>
                  </a:cubicBezTo>
                  <a:cubicBezTo>
                    <a:pt x="159" y="88"/>
                    <a:pt x="158" y="62"/>
                    <a:pt x="154" y="37"/>
                  </a:cubicBezTo>
                  <a:cubicBezTo>
                    <a:pt x="152" y="18"/>
                    <a:pt x="167" y="0"/>
                    <a:pt x="186" y="0"/>
                  </a:cubicBezTo>
                  <a:cubicBezTo>
                    <a:pt x="297" y="0"/>
                    <a:pt x="297" y="0"/>
                    <a:pt x="297" y="0"/>
                  </a:cubicBezTo>
                  <a:cubicBezTo>
                    <a:pt x="314" y="0"/>
                    <a:pt x="328" y="13"/>
                    <a:pt x="329" y="30"/>
                  </a:cubicBezTo>
                  <a:cubicBezTo>
                    <a:pt x="331" y="51"/>
                    <a:pt x="332" y="73"/>
                    <a:pt x="332" y="9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sz="1350"/>
            </a:p>
          </p:txBody>
        </p:sp>
        <p:sp>
          <p:nvSpPr>
            <p:cNvPr id="18" name="iṥliḓè"/>
            <p:cNvSpPr/>
            <p:nvPr/>
          </p:nvSpPr>
          <p:spPr bwMode="auto">
            <a:xfrm>
              <a:off x="5203793" y="3756001"/>
              <a:ext cx="877065" cy="1048664"/>
            </a:xfrm>
            <a:custGeom>
              <a:avLst/>
              <a:gdLst>
                <a:gd name="T0" fmla="*/ 455 w 455"/>
                <a:gd name="T1" fmla="*/ 374 h 545"/>
                <a:gd name="T2" fmla="*/ 455 w 455"/>
                <a:gd name="T3" fmla="*/ 545 h 545"/>
                <a:gd name="T4" fmla="*/ 268 w 455"/>
                <a:gd name="T5" fmla="*/ 545 h 545"/>
                <a:gd name="T6" fmla="*/ 189 w 455"/>
                <a:gd name="T7" fmla="*/ 512 h 545"/>
                <a:gd name="T8" fmla="*/ 157 w 455"/>
                <a:gd name="T9" fmla="*/ 433 h 545"/>
                <a:gd name="T10" fmla="*/ 154 w 455"/>
                <a:gd name="T11" fmla="*/ 374 h 545"/>
                <a:gd name="T12" fmla="*/ 5 w 455"/>
                <a:gd name="T13" fmla="*/ 18 h 545"/>
                <a:gd name="T14" fmla="*/ 14 w 455"/>
                <a:gd name="T15" fmla="*/ 0 h 545"/>
                <a:gd name="T16" fmla="*/ 133 w 455"/>
                <a:gd name="T17" fmla="*/ 0 h 545"/>
                <a:gd name="T18" fmla="*/ 203 w 455"/>
                <a:gd name="T19" fmla="*/ 43 h 545"/>
                <a:gd name="T20" fmla="*/ 301 w 455"/>
                <a:gd name="T21" fmla="*/ 374 h 545"/>
                <a:gd name="T22" fmla="*/ 455 w 455"/>
                <a:gd name="T23" fmla="*/ 374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5" h="545">
                  <a:moveTo>
                    <a:pt x="455" y="374"/>
                  </a:moveTo>
                  <a:cubicBezTo>
                    <a:pt x="455" y="545"/>
                    <a:pt x="455" y="545"/>
                    <a:pt x="455" y="545"/>
                  </a:cubicBezTo>
                  <a:cubicBezTo>
                    <a:pt x="268" y="545"/>
                    <a:pt x="268" y="545"/>
                    <a:pt x="268" y="545"/>
                  </a:cubicBezTo>
                  <a:cubicBezTo>
                    <a:pt x="237" y="545"/>
                    <a:pt x="210" y="532"/>
                    <a:pt x="189" y="512"/>
                  </a:cubicBezTo>
                  <a:cubicBezTo>
                    <a:pt x="169" y="492"/>
                    <a:pt x="157" y="464"/>
                    <a:pt x="157" y="433"/>
                  </a:cubicBezTo>
                  <a:cubicBezTo>
                    <a:pt x="157" y="413"/>
                    <a:pt x="156" y="393"/>
                    <a:pt x="154" y="374"/>
                  </a:cubicBezTo>
                  <a:cubicBezTo>
                    <a:pt x="139" y="233"/>
                    <a:pt x="75" y="125"/>
                    <a:pt x="5" y="18"/>
                  </a:cubicBezTo>
                  <a:cubicBezTo>
                    <a:pt x="0" y="10"/>
                    <a:pt x="5" y="0"/>
                    <a:pt x="14" y="0"/>
                  </a:cubicBezTo>
                  <a:cubicBezTo>
                    <a:pt x="133" y="0"/>
                    <a:pt x="133" y="0"/>
                    <a:pt x="133" y="0"/>
                  </a:cubicBezTo>
                  <a:cubicBezTo>
                    <a:pt x="163" y="0"/>
                    <a:pt x="190" y="17"/>
                    <a:pt x="203" y="43"/>
                  </a:cubicBezTo>
                  <a:cubicBezTo>
                    <a:pt x="246" y="127"/>
                    <a:pt x="283" y="231"/>
                    <a:pt x="301" y="374"/>
                  </a:cubicBezTo>
                  <a:lnTo>
                    <a:pt x="455" y="37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sz="1350"/>
            </a:p>
          </p:txBody>
        </p:sp>
        <p:sp>
          <p:nvSpPr>
            <p:cNvPr id="19" name="íṥ1iďê"/>
            <p:cNvSpPr/>
            <p:nvPr/>
          </p:nvSpPr>
          <p:spPr bwMode="auto">
            <a:xfrm>
              <a:off x="4810125" y="2686028"/>
              <a:ext cx="641536" cy="1023989"/>
            </a:xfrm>
            <a:custGeom>
              <a:avLst/>
              <a:gdLst>
                <a:gd name="T0" fmla="*/ 0 w 333"/>
                <a:gd name="T1" fmla="*/ 95 h 532"/>
                <a:gd name="T2" fmla="*/ 40 w 333"/>
                <a:gd name="T3" fmla="*/ 306 h 532"/>
                <a:gd name="T4" fmla="*/ 40 w 333"/>
                <a:gd name="T5" fmla="*/ 306 h 532"/>
                <a:gd name="T6" fmla="*/ 162 w 333"/>
                <a:gd name="T7" fmla="*/ 518 h 532"/>
                <a:gd name="T8" fmla="*/ 189 w 333"/>
                <a:gd name="T9" fmla="*/ 532 h 532"/>
                <a:gd name="T10" fmla="*/ 291 w 333"/>
                <a:gd name="T11" fmla="*/ 532 h 532"/>
                <a:gd name="T12" fmla="*/ 318 w 333"/>
                <a:gd name="T13" fmla="*/ 482 h 532"/>
                <a:gd name="T14" fmla="*/ 173 w 333"/>
                <a:gd name="T15" fmla="*/ 114 h 532"/>
                <a:gd name="T16" fmla="*/ 178 w 333"/>
                <a:gd name="T17" fmla="*/ 37 h 532"/>
                <a:gd name="T18" fmla="*/ 146 w 333"/>
                <a:gd name="T19" fmla="*/ 0 h 532"/>
                <a:gd name="T20" fmla="*/ 35 w 333"/>
                <a:gd name="T21" fmla="*/ 0 h 532"/>
                <a:gd name="T22" fmla="*/ 3 w 333"/>
                <a:gd name="T23" fmla="*/ 30 h 532"/>
                <a:gd name="T24" fmla="*/ 0 w 333"/>
                <a:gd name="T25" fmla="*/ 95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3" h="532">
                  <a:moveTo>
                    <a:pt x="0" y="95"/>
                  </a:moveTo>
                  <a:cubicBezTo>
                    <a:pt x="0" y="175"/>
                    <a:pt x="15" y="244"/>
                    <a:pt x="40" y="306"/>
                  </a:cubicBezTo>
                  <a:cubicBezTo>
                    <a:pt x="40" y="306"/>
                    <a:pt x="40" y="306"/>
                    <a:pt x="40" y="306"/>
                  </a:cubicBezTo>
                  <a:cubicBezTo>
                    <a:pt x="71" y="384"/>
                    <a:pt x="116" y="451"/>
                    <a:pt x="162" y="518"/>
                  </a:cubicBezTo>
                  <a:cubicBezTo>
                    <a:pt x="168" y="527"/>
                    <a:pt x="178" y="532"/>
                    <a:pt x="189" y="532"/>
                  </a:cubicBezTo>
                  <a:cubicBezTo>
                    <a:pt x="291" y="532"/>
                    <a:pt x="291" y="532"/>
                    <a:pt x="291" y="532"/>
                  </a:cubicBezTo>
                  <a:cubicBezTo>
                    <a:pt x="317" y="532"/>
                    <a:pt x="333" y="503"/>
                    <a:pt x="318" y="482"/>
                  </a:cubicBezTo>
                  <a:cubicBezTo>
                    <a:pt x="243" y="368"/>
                    <a:pt x="173" y="260"/>
                    <a:pt x="173" y="114"/>
                  </a:cubicBezTo>
                  <a:cubicBezTo>
                    <a:pt x="173" y="88"/>
                    <a:pt x="175" y="62"/>
                    <a:pt x="178" y="37"/>
                  </a:cubicBezTo>
                  <a:cubicBezTo>
                    <a:pt x="181" y="18"/>
                    <a:pt x="166" y="0"/>
                    <a:pt x="14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18" y="0"/>
                    <a:pt x="5" y="13"/>
                    <a:pt x="3" y="30"/>
                  </a:cubicBezTo>
                  <a:cubicBezTo>
                    <a:pt x="1" y="51"/>
                    <a:pt x="0" y="73"/>
                    <a:pt x="0" y="9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sz="1350"/>
            </a:p>
          </p:txBody>
        </p:sp>
        <p:sp>
          <p:nvSpPr>
            <p:cNvPr id="20" name="iSļîḋê"/>
            <p:cNvSpPr/>
            <p:nvPr/>
          </p:nvSpPr>
          <p:spPr bwMode="auto">
            <a:xfrm>
              <a:off x="6129086" y="3756001"/>
              <a:ext cx="878186" cy="1048664"/>
            </a:xfrm>
            <a:custGeom>
              <a:avLst/>
              <a:gdLst>
                <a:gd name="T0" fmla="*/ 0 w 456"/>
                <a:gd name="T1" fmla="*/ 374 h 545"/>
                <a:gd name="T2" fmla="*/ 0 w 456"/>
                <a:gd name="T3" fmla="*/ 545 h 545"/>
                <a:gd name="T4" fmla="*/ 187 w 456"/>
                <a:gd name="T5" fmla="*/ 545 h 545"/>
                <a:gd name="T6" fmla="*/ 266 w 456"/>
                <a:gd name="T7" fmla="*/ 512 h 545"/>
                <a:gd name="T8" fmla="*/ 299 w 456"/>
                <a:gd name="T9" fmla="*/ 433 h 545"/>
                <a:gd name="T10" fmla="*/ 302 w 456"/>
                <a:gd name="T11" fmla="*/ 374 h 545"/>
                <a:gd name="T12" fmla="*/ 451 w 456"/>
                <a:gd name="T13" fmla="*/ 18 h 545"/>
                <a:gd name="T14" fmla="*/ 441 w 456"/>
                <a:gd name="T15" fmla="*/ 0 h 545"/>
                <a:gd name="T16" fmla="*/ 331 w 456"/>
                <a:gd name="T17" fmla="*/ 0 h 545"/>
                <a:gd name="T18" fmla="*/ 248 w 456"/>
                <a:gd name="T19" fmla="*/ 51 h 545"/>
                <a:gd name="T20" fmla="*/ 154 w 456"/>
                <a:gd name="T21" fmla="*/ 374 h 545"/>
                <a:gd name="T22" fmla="*/ 0 w 456"/>
                <a:gd name="T23" fmla="*/ 374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6" h="545">
                  <a:moveTo>
                    <a:pt x="0" y="374"/>
                  </a:moveTo>
                  <a:cubicBezTo>
                    <a:pt x="0" y="545"/>
                    <a:pt x="0" y="545"/>
                    <a:pt x="0" y="545"/>
                  </a:cubicBezTo>
                  <a:cubicBezTo>
                    <a:pt x="187" y="545"/>
                    <a:pt x="187" y="545"/>
                    <a:pt x="187" y="545"/>
                  </a:cubicBezTo>
                  <a:cubicBezTo>
                    <a:pt x="218" y="545"/>
                    <a:pt x="246" y="532"/>
                    <a:pt x="266" y="512"/>
                  </a:cubicBezTo>
                  <a:cubicBezTo>
                    <a:pt x="286" y="492"/>
                    <a:pt x="299" y="464"/>
                    <a:pt x="299" y="433"/>
                  </a:cubicBezTo>
                  <a:cubicBezTo>
                    <a:pt x="299" y="413"/>
                    <a:pt x="300" y="393"/>
                    <a:pt x="302" y="374"/>
                  </a:cubicBezTo>
                  <a:cubicBezTo>
                    <a:pt x="316" y="233"/>
                    <a:pt x="381" y="125"/>
                    <a:pt x="451" y="18"/>
                  </a:cubicBezTo>
                  <a:cubicBezTo>
                    <a:pt x="456" y="10"/>
                    <a:pt x="450" y="0"/>
                    <a:pt x="441" y="0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296" y="0"/>
                    <a:pt x="264" y="20"/>
                    <a:pt x="248" y="51"/>
                  </a:cubicBezTo>
                  <a:cubicBezTo>
                    <a:pt x="207" y="134"/>
                    <a:pt x="172" y="235"/>
                    <a:pt x="154" y="374"/>
                  </a:cubicBezTo>
                  <a:lnTo>
                    <a:pt x="0" y="37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sz="1350"/>
            </a:p>
          </p:txBody>
        </p:sp>
        <p:sp>
          <p:nvSpPr>
            <p:cNvPr id="27" name="iṩ1íḋê"/>
            <p:cNvSpPr/>
            <p:nvPr/>
          </p:nvSpPr>
          <p:spPr bwMode="auto">
            <a:xfrm>
              <a:off x="5705475" y="2468061"/>
              <a:ext cx="781050" cy="632188"/>
            </a:xfrm>
            <a:custGeom>
              <a:avLst/>
              <a:gdLst>
                <a:gd name="connsiteX0" fmla="*/ 355420 w 607568"/>
                <a:gd name="connsiteY0" fmla="*/ 250307 h 491771"/>
                <a:gd name="connsiteX1" fmla="*/ 352312 w 607568"/>
                <a:gd name="connsiteY1" fmla="*/ 251812 h 491771"/>
                <a:gd name="connsiteX2" fmla="*/ 321042 w 607568"/>
                <a:gd name="connsiteY2" fmla="*/ 289814 h 491771"/>
                <a:gd name="connsiteX3" fmla="*/ 321513 w 607568"/>
                <a:gd name="connsiteY3" fmla="*/ 295364 h 491771"/>
                <a:gd name="connsiteX4" fmla="*/ 369736 w 607568"/>
                <a:gd name="connsiteY4" fmla="*/ 338257 h 491771"/>
                <a:gd name="connsiteX5" fmla="*/ 371997 w 607568"/>
                <a:gd name="connsiteY5" fmla="*/ 339104 h 491771"/>
                <a:gd name="connsiteX6" fmla="*/ 373127 w 607568"/>
                <a:gd name="connsiteY6" fmla="*/ 338916 h 491771"/>
                <a:gd name="connsiteX7" fmla="*/ 375293 w 607568"/>
                <a:gd name="connsiteY7" fmla="*/ 336282 h 491771"/>
                <a:gd name="connsiteX8" fmla="*/ 383676 w 607568"/>
                <a:gd name="connsiteY8" fmla="*/ 279467 h 491771"/>
                <a:gd name="connsiteX9" fmla="*/ 376424 w 607568"/>
                <a:gd name="connsiteY9" fmla="*/ 263287 h 491771"/>
                <a:gd name="connsiteX10" fmla="*/ 357681 w 607568"/>
                <a:gd name="connsiteY10" fmla="*/ 250965 h 491771"/>
                <a:gd name="connsiteX11" fmla="*/ 355420 w 607568"/>
                <a:gd name="connsiteY11" fmla="*/ 250307 h 491771"/>
                <a:gd name="connsiteX12" fmla="*/ 258879 w 607568"/>
                <a:gd name="connsiteY12" fmla="*/ 250307 h 491771"/>
                <a:gd name="connsiteX13" fmla="*/ 256712 w 607568"/>
                <a:gd name="connsiteY13" fmla="*/ 250965 h 491771"/>
                <a:gd name="connsiteX14" fmla="*/ 237969 w 607568"/>
                <a:gd name="connsiteY14" fmla="*/ 263287 h 491771"/>
                <a:gd name="connsiteX15" fmla="*/ 230717 w 607568"/>
                <a:gd name="connsiteY15" fmla="*/ 279467 h 491771"/>
                <a:gd name="connsiteX16" fmla="*/ 239100 w 607568"/>
                <a:gd name="connsiteY16" fmla="*/ 336282 h 491771"/>
                <a:gd name="connsiteX17" fmla="*/ 241266 w 607568"/>
                <a:gd name="connsiteY17" fmla="*/ 338916 h 491771"/>
                <a:gd name="connsiteX18" fmla="*/ 242396 w 607568"/>
                <a:gd name="connsiteY18" fmla="*/ 339104 h 491771"/>
                <a:gd name="connsiteX19" fmla="*/ 244657 w 607568"/>
                <a:gd name="connsiteY19" fmla="*/ 338257 h 491771"/>
                <a:gd name="connsiteX20" fmla="*/ 292880 w 607568"/>
                <a:gd name="connsiteY20" fmla="*/ 295364 h 491771"/>
                <a:gd name="connsiteX21" fmla="*/ 293351 w 607568"/>
                <a:gd name="connsiteY21" fmla="*/ 289814 h 491771"/>
                <a:gd name="connsiteX22" fmla="*/ 261987 w 607568"/>
                <a:gd name="connsiteY22" fmla="*/ 251812 h 491771"/>
                <a:gd name="connsiteX23" fmla="*/ 258879 w 607568"/>
                <a:gd name="connsiteY23" fmla="*/ 250307 h 491771"/>
                <a:gd name="connsiteX24" fmla="*/ 500465 w 607568"/>
                <a:gd name="connsiteY24" fmla="*/ 66049 h 491771"/>
                <a:gd name="connsiteX25" fmla="*/ 565743 w 607568"/>
                <a:gd name="connsiteY25" fmla="*/ 130673 h 491771"/>
                <a:gd name="connsiteX26" fmla="*/ 566120 w 607568"/>
                <a:gd name="connsiteY26" fmla="*/ 130673 h 491771"/>
                <a:gd name="connsiteX27" fmla="*/ 580250 w 607568"/>
                <a:gd name="connsiteY27" fmla="*/ 160962 h 491771"/>
                <a:gd name="connsiteX28" fmla="*/ 560939 w 607568"/>
                <a:gd name="connsiteY28" fmla="*/ 182503 h 491771"/>
                <a:gd name="connsiteX29" fmla="*/ 531927 w 607568"/>
                <a:gd name="connsiteY29" fmla="*/ 223799 h 491771"/>
                <a:gd name="connsiteX30" fmla="*/ 528253 w 607568"/>
                <a:gd name="connsiteY30" fmla="*/ 234240 h 491771"/>
                <a:gd name="connsiteX31" fmla="*/ 530797 w 607568"/>
                <a:gd name="connsiteY31" fmla="*/ 246281 h 491771"/>
                <a:gd name="connsiteX32" fmla="*/ 545868 w 607568"/>
                <a:gd name="connsiteY32" fmla="*/ 261143 h 491771"/>
                <a:gd name="connsiteX33" fmla="*/ 558961 w 607568"/>
                <a:gd name="connsiteY33" fmla="*/ 263777 h 491771"/>
                <a:gd name="connsiteX34" fmla="*/ 597299 w 607568"/>
                <a:gd name="connsiteY34" fmla="*/ 301968 h 491771"/>
                <a:gd name="connsiteX35" fmla="*/ 607002 w 607568"/>
                <a:gd name="connsiteY35" fmla="*/ 350788 h 491771"/>
                <a:gd name="connsiteX36" fmla="*/ 601256 w 607568"/>
                <a:gd name="connsiteY36" fmla="*/ 373835 h 491771"/>
                <a:gd name="connsiteX37" fmla="*/ 579685 w 607568"/>
                <a:gd name="connsiteY37" fmla="*/ 384088 h 491771"/>
                <a:gd name="connsiteX38" fmla="*/ 490386 w 607568"/>
                <a:gd name="connsiteY38" fmla="*/ 384088 h 491771"/>
                <a:gd name="connsiteX39" fmla="*/ 467685 w 607568"/>
                <a:gd name="connsiteY39" fmla="*/ 310058 h 491771"/>
                <a:gd name="connsiteX40" fmla="*/ 431702 w 607568"/>
                <a:gd name="connsiteY40" fmla="*/ 267445 h 491771"/>
                <a:gd name="connsiteX41" fmla="*/ 441969 w 607568"/>
                <a:gd name="connsiteY41" fmla="*/ 263777 h 491771"/>
                <a:gd name="connsiteX42" fmla="*/ 455157 w 607568"/>
                <a:gd name="connsiteY42" fmla="*/ 261237 h 491771"/>
                <a:gd name="connsiteX43" fmla="*/ 470228 w 607568"/>
                <a:gd name="connsiteY43" fmla="*/ 246281 h 491771"/>
                <a:gd name="connsiteX44" fmla="*/ 472677 w 607568"/>
                <a:gd name="connsiteY44" fmla="*/ 234240 h 491771"/>
                <a:gd name="connsiteX45" fmla="*/ 469098 w 607568"/>
                <a:gd name="connsiteY45" fmla="*/ 223893 h 491771"/>
                <a:gd name="connsiteX46" fmla="*/ 439991 w 607568"/>
                <a:gd name="connsiteY46" fmla="*/ 182503 h 491771"/>
                <a:gd name="connsiteX47" fmla="*/ 426144 w 607568"/>
                <a:gd name="connsiteY47" fmla="*/ 172720 h 491771"/>
                <a:gd name="connsiteX48" fmla="*/ 441404 w 607568"/>
                <a:gd name="connsiteY48" fmla="*/ 143278 h 491771"/>
                <a:gd name="connsiteX49" fmla="*/ 439708 w 607568"/>
                <a:gd name="connsiteY49" fmla="*/ 107438 h 491771"/>
                <a:gd name="connsiteX50" fmla="*/ 500465 w 607568"/>
                <a:gd name="connsiteY50" fmla="*/ 66049 h 491771"/>
                <a:gd name="connsiteX51" fmla="*/ 107100 w 607568"/>
                <a:gd name="connsiteY51" fmla="*/ 66049 h 491771"/>
                <a:gd name="connsiteX52" fmla="*/ 171341 w 607568"/>
                <a:gd name="connsiteY52" fmla="*/ 123618 h 491771"/>
                <a:gd name="connsiteX53" fmla="*/ 172849 w 607568"/>
                <a:gd name="connsiteY53" fmla="*/ 143278 h 491771"/>
                <a:gd name="connsiteX54" fmla="*/ 184246 w 607568"/>
                <a:gd name="connsiteY54" fmla="*/ 168205 h 491771"/>
                <a:gd name="connsiteX55" fmla="*/ 167574 w 607568"/>
                <a:gd name="connsiteY55" fmla="*/ 182503 h 491771"/>
                <a:gd name="connsiteX56" fmla="*/ 138468 w 607568"/>
                <a:gd name="connsiteY56" fmla="*/ 223799 h 491771"/>
                <a:gd name="connsiteX57" fmla="*/ 134794 w 607568"/>
                <a:gd name="connsiteY57" fmla="*/ 234240 h 491771"/>
                <a:gd name="connsiteX58" fmla="*/ 137337 w 607568"/>
                <a:gd name="connsiteY58" fmla="*/ 246281 h 491771"/>
                <a:gd name="connsiteX59" fmla="*/ 152408 w 607568"/>
                <a:gd name="connsiteY59" fmla="*/ 261143 h 491771"/>
                <a:gd name="connsiteX60" fmla="*/ 165596 w 607568"/>
                <a:gd name="connsiteY60" fmla="*/ 263777 h 491771"/>
                <a:gd name="connsiteX61" fmla="*/ 179442 w 607568"/>
                <a:gd name="connsiteY61" fmla="*/ 268856 h 491771"/>
                <a:gd name="connsiteX62" fmla="*/ 146662 w 607568"/>
                <a:gd name="connsiteY62" fmla="*/ 310058 h 491771"/>
                <a:gd name="connsiteX63" fmla="*/ 123867 w 607568"/>
                <a:gd name="connsiteY63" fmla="*/ 384088 h 491771"/>
                <a:gd name="connsiteX64" fmla="*/ 27883 w 607568"/>
                <a:gd name="connsiteY64" fmla="*/ 384088 h 491771"/>
                <a:gd name="connsiteX65" fmla="*/ 6312 w 607568"/>
                <a:gd name="connsiteY65" fmla="*/ 373835 h 491771"/>
                <a:gd name="connsiteX66" fmla="*/ 566 w 607568"/>
                <a:gd name="connsiteY66" fmla="*/ 350788 h 491771"/>
                <a:gd name="connsiteX67" fmla="*/ 10268 w 607568"/>
                <a:gd name="connsiteY67" fmla="*/ 301968 h 491771"/>
                <a:gd name="connsiteX68" fmla="*/ 48606 w 607568"/>
                <a:gd name="connsiteY68" fmla="*/ 263777 h 491771"/>
                <a:gd name="connsiteX69" fmla="*/ 61699 w 607568"/>
                <a:gd name="connsiteY69" fmla="*/ 261237 h 491771"/>
                <a:gd name="connsiteX70" fmla="*/ 76770 w 607568"/>
                <a:gd name="connsiteY70" fmla="*/ 246281 h 491771"/>
                <a:gd name="connsiteX71" fmla="*/ 79313 w 607568"/>
                <a:gd name="connsiteY71" fmla="*/ 234240 h 491771"/>
                <a:gd name="connsiteX72" fmla="*/ 75639 w 607568"/>
                <a:gd name="connsiteY72" fmla="*/ 223893 h 491771"/>
                <a:gd name="connsiteX73" fmla="*/ 46628 w 607568"/>
                <a:gd name="connsiteY73" fmla="*/ 182503 h 491771"/>
                <a:gd name="connsiteX74" fmla="*/ 27318 w 607568"/>
                <a:gd name="connsiteY74" fmla="*/ 160962 h 491771"/>
                <a:gd name="connsiteX75" fmla="*/ 41447 w 607568"/>
                <a:gd name="connsiteY75" fmla="*/ 130673 h 491771"/>
                <a:gd name="connsiteX76" fmla="*/ 41824 w 607568"/>
                <a:gd name="connsiteY76" fmla="*/ 130673 h 491771"/>
                <a:gd name="connsiteX77" fmla="*/ 107100 w 607568"/>
                <a:gd name="connsiteY77" fmla="*/ 66049 h 491771"/>
                <a:gd name="connsiteX78" fmla="*/ 298626 w 607568"/>
                <a:gd name="connsiteY78" fmla="*/ 0 h 491771"/>
                <a:gd name="connsiteX79" fmla="*/ 315956 w 607568"/>
                <a:gd name="connsiteY79" fmla="*/ 0 h 491771"/>
                <a:gd name="connsiteX80" fmla="*/ 401854 w 607568"/>
                <a:gd name="connsiteY80" fmla="*/ 85787 h 491771"/>
                <a:gd name="connsiteX81" fmla="*/ 401854 w 607568"/>
                <a:gd name="connsiteY81" fmla="*/ 95476 h 491771"/>
                <a:gd name="connsiteX82" fmla="*/ 421633 w 607568"/>
                <a:gd name="connsiteY82" fmla="*/ 138840 h 491771"/>
                <a:gd name="connsiteX83" fmla="*/ 417960 w 607568"/>
                <a:gd name="connsiteY83" fmla="*/ 149281 h 491771"/>
                <a:gd name="connsiteX84" fmla="*/ 417112 w 607568"/>
                <a:gd name="connsiteY84" fmla="*/ 151068 h 491771"/>
                <a:gd name="connsiteX85" fmla="*/ 411273 w 607568"/>
                <a:gd name="connsiteY85" fmla="*/ 159534 h 491771"/>
                <a:gd name="connsiteX86" fmla="*/ 410896 w 607568"/>
                <a:gd name="connsiteY86" fmla="*/ 159910 h 491771"/>
                <a:gd name="connsiteX87" fmla="*/ 394037 w 607568"/>
                <a:gd name="connsiteY87" fmla="*/ 169787 h 491771"/>
                <a:gd name="connsiteX88" fmla="*/ 384900 w 607568"/>
                <a:gd name="connsiteY88" fmla="*/ 189541 h 491771"/>
                <a:gd name="connsiteX89" fmla="*/ 384712 w 607568"/>
                <a:gd name="connsiteY89" fmla="*/ 189823 h 491771"/>
                <a:gd name="connsiteX90" fmla="*/ 373316 w 607568"/>
                <a:gd name="connsiteY90" fmla="*/ 207131 h 491771"/>
                <a:gd name="connsiteX91" fmla="*/ 372750 w 607568"/>
                <a:gd name="connsiteY91" fmla="*/ 207789 h 491771"/>
                <a:gd name="connsiteX92" fmla="*/ 359847 w 607568"/>
                <a:gd name="connsiteY92" fmla="*/ 222275 h 491771"/>
                <a:gd name="connsiteX93" fmla="*/ 359188 w 607568"/>
                <a:gd name="connsiteY93" fmla="*/ 222934 h 491771"/>
                <a:gd name="connsiteX94" fmla="*/ 345154 w 607568"/>
                <a:gd name="connsiteY94" fmla="*/ 234598 h 491771"/>
                <a:gd name="connsiteX95" fmla="*/ 345625 w 607568"/>
                <a:gd name="connsiteY95" fmla="*/ 236855 h 491771"/>
                <a:gd name="connsiteX96" fmla="*/ 348639 w 607568"/>
                <a:gd name="connsiteY96" fmla="*/ 235538 h 491771"/>
                <a:gd name="connsiteX97" fmla="*/ 355514 w 607568"/>
                <a:gd name="connsiteY97" fmla="*/ 234033 h 491771"/>
                <a:gd name="connsiteX98" fmla="*/ 366628 w 607568"/>
                <a:gd name="connsiteY98" fmla="*/ 237326 h 491771"/>
                <a:gd name="connsiteX99" fmla="*/ 385371 w 607568"/>
                <a:gd name="connsiteY99" fmla="*/ 249648 h 491771"/>
                <a:gd name="connsiteX100" fmla="*/ 399876 w 607568"/>
                <a:gd name="connsiteY100" fmla="*/ 279373 h 491771"/>
                <a:gd name="connsiteX101" fmla="*/ 430016 w 607568"/>
                <a:gd name="connsiteY101" fmla="*/ 289814 h 491771"/>
                <a:gd name="connsiteX102" fmla="*/ 448382 w 607568"/>
                <a:gd name="connsiteY102" fmla="*/ 316058 h 491771"/>
                <a:gd name="connsiteX103" fmla="*/ 481630 w 607568"/>
                <a:gd name="connsiteY103" fmla="*/ 424515 h 491771"/>
                <a:gd name="connsiteX104" fmla="*/ 483891 w 607568"/>
                <a:gd name="connsiteY104" fmla="*/ 436461 h 491771"/>
                <a:gd name="connsiteX105" fmla="*/ 473718 w 607568"/>
                <a:gd name="connsiteY105" fmla="*/ 470700 h 491771"/>
                <a:gd name="connsiteX106" fmla="*/ 443956 w 607568"/>
                <a:gd name="connsiteY106" fmla="*/ 490360 h 491771"/>
                <a:gd name="connsiteX107" fmla="*/ 431805 w 607568"/>
                <a:gd name="connsiteY107" fmla="*/ 491771 h 491771"/>
                <a:gd name="connsiteX108" fmla="*/ 325375 w 607568"/>
                <a:gd name="connsiteY108" fmla="*/ 491771 h 491771"/>
                <a:gd name="connsiteX109" fmla="*/ 337430 w 607568"/>
                <a:gd name="connsiteY109" fmla="*/ 415296 h 491771"/>
                <a:gd name="connsiteX110" fmla="*/ 334605 w 607568"/>
                <a:gd name="connsiteY110" fmla="*/ 389052 h 491771"/>
                <a:gd name="connsiteX111" fmla="*/ 323962 w 607568"/>
                <a:gd name="connsiteY111" fmla="*/ 360927 h 491771"/>
                <a:gd name="connsiteX112" fmla="*/ 337430 w 607568"/>
                <a:gd name="connsiteY112" fmla="*/ 347476 h 491771"/>
                <a:gd name="connsiteX113" fmla="*/ 307196 w 607568"/>
                <a:gd name="connsiteY113" fmla="*/ 317281 h 491771"/>
                <a:gd name="connsiteX114" fmla="*/ 276868 w 607568"/>
                <a:gd name="connsiteY114" fmla="*/ 347476 h 491771"/>
                <a:gd name="connsiteX115" fmla="*/ 290337 w 607568"/>
                <a:gd name="connsiteY115" fmla="*/ 360927 h 491771"/>
                <a:gd name="connsiteX116" fmla="*/ 279694 w 607568"/>
                <a:gd name="connsiteY116" fmla="*/ 389052 h 491771"/>
                <a:gd name="connsiteX117" fmla="*/ 276963 w 607568"/>
                <a:gd name="connsiteY117" fmla="*/ 415296 h 491771"/>
                <a:gd name="connsiteX118" fmla="*/ 288736 w 607568"/>
                <a:gd name="connsiteY118" fmla="*/ 491771 h 491771"/>
                <a:gd name="connsiteX119" fmla="*/ 182493 w 607568"/>
                <a:gd name="connsiteY119" fmla="*/ 491771 h 491771"/>
                <a:gd name="connsiteX120" fmla="*/ 170437 w 607568"/>
                <a:gd name="connsiteY120" fmla="*/ 490360 h 491771"/>
                <a:gd name="connsiteX121" fmla="*/ 140675 w 607568"/>
                <a:gd name="connsiteY121" fmla="*/ 470700 h 491771"/>
                <a:gd name="connsiteX122" fmla="*/ 132669 w 607568"/>
                <a:gd name="connsiteY122" fmla="*/ 424515 h 491771"/>
                <a:gd name="connsiteX123" fmla="*/ 166011 w 607568"/>
                <a:gd name="connsiteY123" fmla="*/ 316058 h 491771"/>
                <a:gd name="connsiteX124" fmla="*/ 184377 w 607568"/>
                <a:gd name="connsiteY124" fmla="*/ 289814 h 491771"/>
                <a:gd name="connsiteX125" fmla="*/ 214517 w 607568"/>
                <a:gd name="connsiteY125" fmla="*/ 279373 h 491771"/>
                <a:gd name="connsiteX126" fmla="*/ 214517 w 607568"/>
                <a:gd name="connsiteY126" fmla="*/ 279279 h 491771"/>
                <a:gd name="connsiteX127" fmla="*/ 229022 w 607568"/>
                <a:gd name="connsiteY127" fmla="*/ 249648 h 491771"/>
                <a:gd name="connsiteX128" fmla="*/ 247765 w 607568"/>
                <a:gd name="connsiteY128" fmla="*/ 237326 h 491771"/>
                <a:gd name="connsiteX129" fmla="*/ 258879 w 607568"/>
                <a:gd name="connsiteY129" fmla="*/ 234033 h 491771"/>
                <a:gd name="connsiteX130" fmla="*/ 265754 w 607568"/>
                <a:gd name="connsiteY130" fmla="*/ 235538 h 491771"/>
                <a:gd name="connsiteX131" fmla="*/ 268768 w 607568"/>
                <a:gd name="connsiteY131" fmla="*/ 236855 h 491771"/>
                <a:gd name="connsiteX132" fmla="*/ 269239 w 607568"/>
                <a:gd name="connsiteY132" fmla="*/ 234598 h 491771"/>
                <a:gd name="connsiteX133" fmla="*/ 255205 w 607568"/>
                <a:gd name="connsiteY133" fmla="*/ 222934 h 491771"/>
                <a:gd name="connsiteX134" fmla="*/ 254546 w 607568"/>
                <a:gd name="connsiteY134" fmla="*/ 222275 h 491771"/>
                <a:gd name="connsiteX135" fmla="*/ 241548 w 607568"/>
                <a:gd name="connsiteY135" fmla="*/ 207789 h 491771"/>
                <a:gd name="connsiteX136" fmla="*/ 241077 w 607568"/>
                <a:gd name="connsiteY136" fmla="*/ 207225 h 491771"/>
                <a:gd name="connsiteX137" fmla="*/ 229681 w 607568"/>
                <a:gd name="connsiteY137" fmla="*/ 189823 h 491771"/>
                <a:gd name="connsiteX138" fmla="*/ 229493 w 607568"/>
                <a:gd name="connsiteY138" fmla="*/ 189635 h 491771"/>
                <a:gd name="connsiteX139" fmla="*/ 220356 w 607568"/>
                <a:gd name="connsiteY139" fmla="*/ 169787 h 491771"/>
                <a:gd name="connsiteX140" fmla="*/ 203497 w 607568"/>
                <a:gd name="connsiteY140" fmla="*/ 159910 h 491771"/>
                <a:gd name="connsiteX141" fmla="*/ 203120 w 607568"/>
                <a:gd name="connsiteY141" fmla="*/ 159534 h 491771"/>
                <a:gd name="connsiteX142" fmla="*/ 197281 w 607568"/>
                <a:gd name="connsiteY142" fmla="*/ 151068 h 491771"/>
                <a:gd name="connsiteX143" fmla="*/ 196433 w 607568"/>
                <a:gd name="connsiteY143" fmla="*/ 149281 h 491771"/>
                <a:gd name="connsiteX144" fmla="*/ 192666 w 607568"/>
                <a:gd name="connsiteY144" fmla="*/ 138840 h 491771"/>
                <a:gd name="connsiteX145" fmla="*/ 212727 w 607568"/>
                <a:gd name="connsiteY145" fmla="*/ 95476 h 491771"/>
                <a:gd name="connsiteX146" fmla="*/ 212727 w 607568"/>
                <a:gd name="connsiteY146" fmla="*/ 85787 h 491771"/>
                <a:gd name="connsiteX147" fmla="*/ 298626 w 607568"/>
                <a:gd name="connsiteY147" fmla="*/ 0 h 49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607568" h="491771">
                  <a:moveTo>
                    <a:pt x="355420" y="250307"/>
                  </a:moveTo>
                  <a:cubicBezTo>
                    <a:pt x="354290" y="250307"/>
                    <a:pt x="353160" y="250871"/>
                    <a:pt x="352312" y="251812"/>
                  </a:cubicBezTo>
                  <a:lnTo>
                    <a:pt x="321042" y="289814"/>
                  </a:lnTo>
                  <a:cubicBezTo>
                    <a:pt x="319723" y="291507"/>
                    <a:pt x="319912" y="293953"/>
                    <a:pt x="321513" y="295364"/>
                  </a:cubicBezTo>
                  <a:lnTo>
                    <a:pt x="369736" y="338257"/>
                  </a:lnTo>
                  <a:cubicBezTo>
                    <a:pt x="370396" y="338822"/>
                    <a:pt x="371149" y="339104"/>
                    <a:pt x="371997" y="339104"/>
                  </a:cubicBezTo>
                  <a:cubicBezTo>
                    <a:pt x="372374" y="339104"/>
                    <a:pt x="372750" y="339010"/>
                    <a:pt x="373127" y="338916"/>
                  </a:cubicBezTo>
                  <a:cubicBezTo>
                    <a:pt x="374257" y="338539"/>
                    <a:pt x="375105" y="337505"/>
                    <a:pt x="375293" y="336282"/>
                  </a:cubicBezTo>
                  <a:lnTo>
                    <a:pt x="383676" y="279467"/>
                  </a:lnTo>
                  <a:cubicBezTo>
                    <a:pt x="384618" y="273164"/>
                    <a:pt x="381792" y="266768"/>
                    <a:pt x="376424" y="263287"/>
                  </a:cubicBezTo>
                  <a:lnTo>
                    <a:pt x="357681" y="250965"/>
                  </a:lnTo>
                  <a:cubicBezTo>
                    <a:pt x="357021" y="250495"/>
                    <a:pt x="356174" y="250307"/>
                    <a:pt x="355420" y="250307"/>
                  </a:cubicBezTo>
                  <a:close/>
                  <a:moveTo>
                    <a:pt x="258879" y="250307"/>
                  </a:moveTo>
                  <a:cubicBezTo>
                    <a:pt x="258125" y="250307"/>
                    <a:pt x="257372" y="250495"/>
                    <a:pt x="256712" y="250965"/>
                  </a:cubicBezTo>
                  <a:lnTo>
                    <a:pt x="237969" y="263287"/>
                  </a:lnTo>
                  <a:cubicBezTo>
                    <a:pt x="232601" y="266768"/>
                    <a:pt x="229775" y="273164"/>
                    <a:pt x="230717" y="279467"/>
                  </a:cubicBezTo>
                  <a:lnTo>
                    <a:pt x="239100" y="336282"/>
                  </a:lnTo>
                  <a:cubicBezTo>
                    <a:pt x="239288" y="337505"/>
                    <a:pt x="240136" y="338539"/>
                    <a:pt x="241266" y="338916"/>
                  </a:cubicBezTo>
                  <a:cubicBezTo>
                    <a:pt x="241643" y="339010"/>
                    <a:pt x="242019" y="339104"/>
                    <a:pt x="242396" y="339104"/>
                  </a:cubicBezTo>
                  <a:cubicBezTo>
                    <a:pt x="243244" y="339104"/>
                    <a:pt x="243997" y="338822"/>
                    <a:pt x="244657" y="338257"/>
                  </a:cubicBezTo>
                  <a:lnTo>
                    <a:pt x="292880" y="295364"/>
                  </a:lnTo>
                  <a:cubicBezTo>
                    <a:pt x="294481" y="293953"/>
                    <a:pt x="294670" y="291507"/>
                    <a:pt x="293351" y="289814"/>
                  </a:cubicBezTo>
                  <a:lnTo>
                    <a:pt x="261987" y="251812"/>
                  </a:lnTo>
                  <a:cubicBezTo>
                    <a:pt x="261233" y="250871"/>
                    <a:pt x="260103" y="250307"/>
                    <a:pt x="258879" y="250307"/>
                  </a:cubicBezTo>
                  <a:close/>
                  <a:moveTo>
                    <a:pt x="500465" y="66049"/>
                  </a:moveTo>
                  <a:cubicBezTo>
                    <a:pt x="548129" y="66049"/>
                    <a:pt x="562447" y="93516"/>
                    <a:pt x="565743" y="130673"/>
                  </a:cubicBezTo>
                  <a:cubicBezTo>
                    <a:pt x="565932" y="130673"/>
                    <a:pt x="566026" y="130673"/>
                    <a:pt x="566120" y="130673"/>
                  </a:cubicBezTo>
                  <a:cubicBezTo>
                    <a:pt x="577141" y="133118"/>
                    <a:pt x="583358" y="146664"/>
                    <a:pt x="580250" y="160962"/>
                  </a:cubicBezTo>
                  <a:cubicBezTo>
                    <a:pt x="577706" y="172532"/>
                    <a:pt x="569700" y="180904"/>
                    <a:pt x="560939" y="182503"/>
                  </a:cubicBezTo>
                  <a:cubicBezTo>
                    <a:pt x="554628" y="199529"/>
                    <a:pt x="543796" y="214016"/>
                    <a:pt x="531927" y="223799"/>
                  </a:cubicBezTo>
                  <a:cubicBezTo>
                    <a:pt x="528913" y="226338"/>
                    <a:pt x="527500" y="230383"/>
                    <a:pt x="528253" y="234240"/>
                  </a:cubicBezTo>
                  <a:lnTo>
                    <a:pt x="530797" y="246281"/>
                  </a:lnTo>
                  <a:cubicBezTo>
                    <a:pt x="532304" y="253806"/>
                    <a:pt x="538238" y="259732"/>
                    <a:pt x="545868" y="261143"/>
                  </a:cubicBezTo>
                  <a:lnTo>
                    <a:pt x="558961" y="263777"/>
                  </a:lnTo>
                  <a:cubicBezTo>
                    <a:pt x="578366" y="267634"/>
                    <a:pt x="593437" y="282684"/>
                    <a:pt x="597299" y="301968"/>
                  </a:cubicBezTo>
                  <a:lnTo>
                    <a:pt x="607002" y="350788"/>
                  </a:lnTo>
                  <a:cubicBezTo>
                    <a:pt x="608697" y="358972"/>
                    <a:pt x="606531" y="367438"/>
                    <a:pt x="601256" y="373835"/>
                  </a:cubicBezTo>
                  <a:cubicBezTo>
                    <a:pt x="595981" y="380325"/>
                    <a:pt x="588068" y="384088"/>
                    <a:pt x="579685" y="384088"/>
                  </a:cubicBezTo>
                  <a:lnTo>
                    <a:pt x="490386" y="384088"/>
                  </a:lnTo>
                  <a:lnTo>
                    <a:pt x="467685" y="310058"/>
                  </a:lnTo>
                  <a:cubicBezTo>
                    <a:pt x="461845" y="291150"/>
                    <a:pt x="448563" y="276194"/>
                    <a:pt x="431702" y="267445"/>
                  </a:cubicBezTo>
                  <a:cubicBezTo>
                    <a:pt x="434999" y="265940"/>
                    <a:pt x="438295" y="264529"/>
                    <a:pt x="441969" y="263777"/>
                  </a:cubicBezTo>
                  <a:lnTo>
                    <a:pt x="455157" y="261237"/>
                  </a:lnTo>
                  <a:cubicBezTo>
                    <a:pt x="462692" y="259732"/>
                    <a:pt x="468627" y="253806"/>
                    <a:pt x="470228" y="246281"/>
                  </a:cubicBezTo>
                  <a:lnTo>
                    <a:pt x="472677" y="234240"/>
                  </a:lnTo>
                  <a:cubicBezTo>
                    <a:pt x="473525" y="230383"/>
                    <a:pt x="472112" y="226338"/>
                    <a:pt x="469098" y="223893"/>
                  </a:cubicBezTo>
                  <a:cubicBezTo>
                    <a:pt x="457229" y="214016"/>
                    <a:pt x="446302" y="199529"/>
                    <a:pt x="439991" y="182503"/>
                  </a:cubicBezTo>
                  <a:cubicBezTo>
                    <a:pt x="434716" y="181563"/>
                    <a:pt x="429818" y="177894"/>
                    <a:pt x="426144" y="172720"/>
                  </a:cubicBezTo>
                  <a:cubicBezTo>
                    <a:pt x="433303" y="164725"/>
                    <a:pt x="438861" y="154754"/>
                    <a:pt x="441404" y="143278"/>
                  </a:cubicBezTo>
                  <a:cubicBezTo>
                    <a:pt x="444324" y="130485"/>
                    <a:pt x="443476" y="118068"/>
                    <a:pt x="439708" y="107438"/>
                  </a:cubicBezTo>
                  <a:cubicBezTo>
                    <a:pt x="447244" y="82699"/>
                    <a:pt x="464200" y="66049"/>
                    <a:pt x="500465" y="66049"/>
                  </a:cubicBezTo>
                  <a:close/>
                  <a:moveTo>
                    <a:pt x="107100" y="66049"/>
                  </a:moveTo>
                  <a:cubicBezTo>
                    <a:pt x="151561" y="66049"/>
                    <a:pt x="166820" y="90130"/>
                    <a:pt x="171341" y="123618"/>
                  </a:cubicBezTo>
                  <a:cubicBezTo>
                    <a:pt x="170965" y="129920"/>
                    <a:pt x="171436" y="136505"/>
                    <a:pt x="172849" y="143278"/>
                  </a:cubicBezTo>
                  <a:cubicBezTo>
                    <a:pt x="174921" y="152590"/>
                    <a:pt x="178971" y="161056"/>
                    <a:pt x="184246" y="168205"/>
                  </a:cubicBezTo>
                  <a:cubicBezTo>
                    <a:pt x="180573" y="175919"/>
                    <a:pt x="174356" y="181281"/>
                    <a:pt x="167574" y="182503"/>
                  </a:cubicBezTo>
                  <a:cubicBezTo>
                    <a:pt x="161263" y="199529"/>
                    <a:pt x="150336" y="214016"/>
                    <a:pt x="138468" y="223799"/>
                  </a:cubicBezTo>
                  <a:cubicBezTo>
                    <a:pt x="135453" y="226338"/>
                    <a:pt x="134040" y="230383"/>
                    <a:pt x="134794" y="234240"/>
                  </a:cubicBezTo>
                  <a:lnTo>
                    <a:pt x="137337" y="246281"/>
                  </a:lnTo>
                  <a:cubicBezTo>
                    <a:pt x="138939" y="253806"/>
                    <a:pt x="144873" y="259732"/>
                    <a:pt x="152408" y="261143"/>
                  </a:cubicBezTo>
                  <a:lnTo>
                    <a:pt x="165596" y="263777"/>
                  </a:lnTo>
                  <a:cubicBezTo>
                    <a:pt x="170494" y="264812"/>
                    <a:pt x="175203" y="266505"/>
                    <a:pt x="179442" y="268856"/>
                  </a:cubicBezTo>
                  <a:cubicBezTo>
                    <a:pt x="164088" y="277793"/>
                    <a:pt x="152126" y="292279"/>
                    <a:pt x="146662" y="310058"/>
                  </a:cubicBezTo>
                  <a:lnTo>
                    <a:pt x="123867" y="384088"/>
                  </a:lnTo>
                  <a:lnTo>
                    <a:pt x="27883" y="384088"/>
                  </a:lnTo>
                  <a:cubicBezTo>
                    <a:pt x="19499" y="384088"/>
                    <a:pt x="11587" y="380325"/>
                    <a:pt x="6312" y="373835"/>
                  </a:cubicBezTo>
                  <a:cubicBezTo>
                    <a:pt x="1037" y="367438"/>
                    <a:pt x="-1129" y="358972"/>
                    <a:pt x="566" y="350788"/>
                  </a:cubicBezTo>
                  <a:lnTo>
                    <a:pt x="10268" y="301968"/>
                  </a:lnTo>
                  <a:cubicBezTo>
                    <a:pt x="14130" y="282684"/>
                    <a:pt x="29202" y="267634"/>
                    <a:pt x="48606" y="263777"/>
                  </a:cubicBezTo>
                  <a:lnTo>
                    <a:pt x="61699" y="261237"/>
                  </a:lnTo>
                  <a:cubicBezTo>
                    <a:pt x="69328" y="259732"/>
                    <a:pt x="75263" y="253806"/>
                    <a:pt x="76770" y="246281"/>
                  </a:cubicBezTo>
                  <a:lnTo>
                    <a:pt x="79313" y="234240"/>
                  </a:lnTo>
                  <a:cubicBezTo>
                    <a:pt x="80067" y="230383"/>
                    <a:pt x="78654" y="226338"/>
                    <a:pt x="75639" y="223893"/>
                  </a:cubicBezTo>
                  <a:cubicBezTo>
                    <a:pt x="63771" y="214016"/>
                    <a:pt x="52939" y="199623"/>
                    <a:pt x="46628" y="182503"/>
                  </a:cubicBezTo>
                  <a:cubicBezTo>
                    <a:pt x="37867" y="180904"/>
                    <a:pt x="29861" y="172532"/>
                    <a:pt x="27318" y="160962"/>
                  </a:cubicBezTo>
                  <a:cubicBezTo>
                    <a:pt x="24115" y="146664"/>
                    <a:pt x="30426" y="133118"/>
                    <a:pt x="41447" y="130673"/>
                  </a:cubicBezTo>
                  <a:cubicBezTo>
                    <a:pt x="41541" y="130673"/>
                    <a:pt x="41729" y="130673"/>
                    <a:pt x="41824" y="130673"/>
                  </a:cubicBezTo>
                  <a:cubicBezTo>
                    <a:pt x="45403" y="93516"/>
                    <a:pt x="60192" y="66049"/>
                    <a:pt x="107100" y="66049"/>
                  </a:cubicBezTo>
                  <a:close/>
                  <a:moveTo>
                    <a:pt x="298626" y="0"/>
                  </a:moveTo>
                  <a:lnTo>
                    <a:pt x="315956" y="0"/>
                  </a:lnTo>
                  <a:cubicBezTo>
                    <a:pt x="363426" y="0"/>
                    <a:pt x="401854" y="38378"/>
                    <a:pt x="401854" y="85787"/>
                  </a:cubicBezTo>
                  <a:lnTo>
                    <a:pt x="401854" y="95476"/>
                  </a:lnTo>
                  <a:cubicBezTo>
                    <a:pt x="417301" y="99238"/>
                    <a:pt x="426154" y="118522"/>
                    <a:pt x="421633" y="138840"/>
                  </a:cubicBezTo>
                  <a:cubicBezTo>
                    <a:pt x="420880" y="142602"/>
                    <a:pt x="419467" y="146083"/>
                    <a:pt x="417960" y="149281"/>
                  </a:cubicBezTo>
                  <a:cubicBezTo>
                    <a:pt x="417677" y="149939"/>
                    <a:pt x="417395" y="150504"/>
                    <a:pt x="417112" y="151068"/>
                  </a:cubicBezTo>
                  <a:cubicBezTo>
                    <a:pt x="415417" y="154172"/>
                    <a:pt x="413533" y="157088"/>
                    <a:pt x="411273" y="159534"/>
                  </a:cubicBezTo>
                  <a:cubicBezTo>
                    <a:pt x="411179" y="159628"/>
                    <a:pt x="410990" y="159816"/>
                    <a:pt x="410896" y="159910"/>
                  </a:cubicBezTo>
                  <a:cubicBezTo>
                    <a:pt x="406092" y="165084"/>
                    <a:pt x="400159" y="168658"/>
                    <a:pt x="394037" y="169787"/>
                  </a:cubicBezTo>
                  <a:cubicBezTo>
                    <a:pt x="391494" y="176654"/>
                    <a:pt x="388385" y="183332"/>
                    <a:pt x="384900" y="189541"/>
                  </a:cubicBezTo>
                  <a:cubicBezTo>
                    <a:pt x="384806" y="189635"/>
                    <a:pt x="384806" y="189729"/>
                    <a:pt x="384712" y="189823"/>
                  </a:cubicBezTo>
                  <a:cubicBezTo>
                    <a:pt x="381227" y="196031"/>
                    <a:pt x="377460" y="201769"/>
                    <a:pt x="373316" y="207131"/>
                  </a:cubicBezTo>
                  <a:cubicBezTo>
                    <a:pt x="373127" y="207413"/>
                    <a:pt x="372939" y="207601"/>
                    <a:pt x="372750" y="207789"/>
                  </a:cubicBezTo>
                  <a:cubicBezTo>
                    <a:pt x="368700" y="213057"/>
                    <a:pt x="364368" y="217948"/>
                    <a:pt x="359847" y="222275"/>
                  </a:cubicBezTo>
                  <a:cubicBezTo>
                    <a:pt x="359658" y="222463"/>
                    <a:pt x="359376" y="222651"/>
                    <a:pt x="359188" y="222934"/>
                  </a:cubicBezTo>
                  <a:cubicBezTo>
                    <a:pt x="354667" y="227261"/>
                    <a:pt x="349957" y="231211"/>
                    <a:pt x="345154" y="234598"/>
                  </a:cubicBezTo>
                  <a:lnTo>
                    <a:pt x="345625" y="236855"/>
                  </a:lnTo>
                  <a:cubicBezTo>
                    <a:pt x="346567" y="236385"/>
                    <a:pt x="347603" y="235915"/>
                    <a:pt x="348639" y="235538"/>
                  </a:cubicBezTo>
                  <a:cubicBezTo>
                    <a:pt x="350899" y="234786"/>
                    <a:pt x="353065" y="234033"/>
                    <a:pt x="355514" y="234033"/>
                  </a:cubicBezTo>
                  <a:cubicBezTo>
                    <a:pt x="359470" y="234033"/>
                    <a:pt x="363238" y="235162"/>
                    <a:pt x="366628" y="237326"/>
                  </a:cubicBezTo>
                  <a:cubicBezTo>
                    <a:pt x="366628" y="237326"/>
                    <a:pt x="380756" y="246450"/>
                    <a:pt x="385371" y="249648"/>
                  </a:cubicBezTo>
                  <a:cubicBezTo>
                    <a:pt x="401854" y="261030"/>
                    <a:pt x="399876" y="279373"/>
                    <a:pt x="399876" y="279373"/>
                  </a:cubicBezTo>
                  <a:cubicBezTo>
                    <a:pt x="410990" y="279655"/>
                    <a:pt x="421822" y="283041"/>
                    <a:pt x="430016" y="289814"/>
                  </a:cubicBezTo>
                  <a:cubicBezTo>
                    <a:pt x="445180" y="302324"/>
                    <a:pt x="447535" y="313330"/>
                    <a:pt x="448382" y="316058"/>
                  </a:cubicBezTo>
                  <a:lnTo>
                    <a:pt x="481630" y="424515"/>
                  </a:lnTo>
                  <a:cubicBezTo>
                    <a:pt x="482855" y="428371"/>
                    <a:pt x="483608" y="432416"/>
                    <a:pt x="483891" y="436461"/>
                  </a:cubicBezTo>
                  <a:cubicBezTo>
                    <a:pt x="484644" y="448595"/>
                    <a:pt x="481159" y="460730"/>
                    <a:pt x="473718" y="470700"/>
                  </a:cubicBezTo>
                  <a:cubicBezTo>
                    <a:pt x="466372" y="480671"/>
                    <a:pt x="455823" y="487538"/>
                    <a:pt x="443956" y="490360"/>
                  </a:cubicBezTo>
                  <a:cubicBezTo>
                    <a:pt x="440000" y="491301"/>
                    <a:pt x="435950" y="491771"/>
                    <a:pt x="431805" y="491771"/>
                  </a:cubicBezTo>
                  <a:lnTo>
                    <a:pt x="325375" y="491771"/>
                  </a:lnTo>
                  <a:lnTo>
                    <a:pt x="337430" y="415296"/>
                  </a:lnTo>
                  <a:cubicBezTo>
                    <a:pt x="338749" y="406454"/>
                    <a:pt x="337807" y="397424"/>
                    <a:pt x="334605" y="389052"/>
                  </a:cubicBezTo>
                  <a:lnTo>
                    <a:pt x="323962" y="360927"/>
                  </a:lnTo>
                  <a:lnTo>
                    <a:pt x="337430" y="347476"/>
                  </a:lnTo>
                  <a:lnTo>
                    <a:pt x="307196" y="317281"/>
                  </a:lnTo>
                  <a:lnTo>
                    <a:pt x="276868" y="347476"/>
                  </a:lnTo>
                  <a:lnTo>
                    <a:pt x="290337" y="360927"/>
                  </a:lnTo>
                  <a:lnTo>
                    <a:pt x="279694" y="389052"/>
                  </a:lnTo>
                  <a:cubicBezTo>
                    <a:pt x="276586" y="397424"/>
                    <a:pt x="275644" y="406454"/>
                    <a:pt x="276963" y="415296"/>
                  </a:cubicBezTo>
                  <a:lnTo>
                    <a:pt x="288736" y="491771"/>
                  </a:lnTo>
                  <a:lnTo>
                    <a:pt x="182493" y="491771"/>
                  </a:lnTo>
                  <a:cubicBezTo>
                    <a:pt x="178443" y="491771"/>
                    <a:pt x="174299" y="491301"/>
                    <a:pt x="170437" y="490360"/>
                  </a:cubicBezTo>
                  <a:cubicBezTo>
                    <a:pt x="158570" y="487538"/>
                    <a:pt x="148021" y="480671"/>
                    <a:pt x="140675" y="470700"/>
                  </a:cubicBezTo>
                  <a:cubicBezTo>
                    <a:pt x="130785" y="457343"/>
                    <a:pt x="127865" y="440223"/>
                    <a:pt x="132669" y="424515"/>
                  </a:cubicBezTo>
                  <a:lnTo>
                    <a:pt x="166011" y="316058"/>
                  </a:lnTo>
                  <a:cubicBezTo>
                    <a:pt x="166858" y="313330"/>
                    <a:pt x="170908" y="300631"/>
                    <a:pt x="184377" y="289814"/>
                  </a:cubicBezTo>
                  <a:cubicBezTo>
                    <a:pt x="192666" y="283229"/>
                    <a:pt x="203403" y="279655"/>
                    <a:pt x="214517" y="279373"/>
                  </a:cubicBezTo>
                  <a:lnTo>
                    <a:pt x="214517" y="279279"/>
                  </a:lnTo>
                  <a:cubicBezTo>
                    <a:pt x="214140" y="273447"/>
                    <a:pt x="211880" y="260654"/>
                    <a:pt x="229022" y="249648"/>
                  </a:cubicBezTo>
                  <a:cubicBezTo>
                    <a:pt x="233731" y="246638"/>
                    <a:pt x="247765" y="237326"/>
                    <a:pt x="247765" y="237326"/>
                  </a:cubicBezTo>
                  <a:cubicBezTo>
                    <a:pt x="251061" y="235162"/>
                    <a:pt x="254923" y="234033"/>
                    <a:pt x="258879" y="234033"/>
                  </a:cubicBezTo>
                  <a:cubicBezTo>
                    <a:pt x="261328" y="234033"/>
                    <a:pt x="263494" y="234786"/>
                    <a:pt x="265754" y="235538"/>
                  </a:cubicBezTo>
                  <a:cubicBezTo>
                    <a:pt x="266790" y="236009"/>
                    <a:pt x="267826" y="236385"/>
                    <a:pt x="268768" y="236855"/>
                  </a:cubicBezTo>
                  <a:lnTo>
                    <a:pt x="269239" y="234598"/>
                  </a:lnTo>
                  <a:cubicBezTo>
                    <a:pt x="264436" y="231211"/>
                    <a:pt x="259726" y="227261"/>
                    <a:pt x="255205" y="222934"/>
                  </a:cubicBezTo>
                  <a:cubicBezTo>
                    <a:pt x="254923" y="222651"/>
                    <a:pt x="254735" y="222463"/>
                    <a:pt x="254546" y="222275"/>
                  </a:cubicBezTo>
                  <a:cubicBezTo>
                    <a:pt x="250025" y="217948"/>
                    <a:pt x="245693" y="213057"/>
                    <a:pt x="241548" y="207789"/>
                  </a:cubicBezTo>
                  <a:cubicBezTo>
                    <a:pt x="241454" y="207601"/>
                    <a:pt x="241266" y="207413"/>
                    <a:pt x="241077" y="207225"/>
                  </a:cubicBezTo>
                  <a:cubicBezTo>
                    <a:pt x="236933" y="201769"/>
                    <a:pt x="233072" y="196031"/>
                    <a:pt x="229681" y="189823"/>
                  </a:cubicBezTo>
                  <a:cubicBezTo>
                    <a:pt x="229587" y="189729"/>
                    <a:pt x="229587" y="189635"/>
                    <a:pt x="229493" y="189635"/>
                  </a:cubicBezTo>
                  <a:cubicBezTo>
                    <a:pt x="226008" y="183332"/>
                    <a:pt x="222899" y="176654"/>
                    <a:pt x="220356" y="169787"/>
                  </a:cubicBezTo>
                  <a:cubicBezTo>
                    <a:pt x="214140" y="168658"/>
                    <a:pt x="208301" y="165084"/>
                    <a:pt x="203497" y="159910"/>
                  </a:cubicBezTo>
                  <a:cubicBezTo>
                    <a:pt x="203309" y="159722"/>
                    <a:pt x="203214" y="159628"/>
                    <a:pt x="203120" y="159534"/>
                  </a:cubicBezTo>
                  <a:cubicBezTo>
                    <a:pt x="200860" y="157088"/>
                    <a:pt x="198976" y="154172"/>
                    <a:pt x="197281" y="151068"/>
                  </a:cubicBezTo>
                  <a:cubicBezTo>
                    <a:pt x="196998" y="150504"/>
                    <a:pt x="196716" y="149939"/>
                    <a:pt x="196433" y="149281"/>
                  </a:cubicBezTo>
                  <a:cubicBezTo>
                    <a:pt x="194832" y="146083"/>
                    <a:pt x="193513" y="142602"/>
                    <a:pt x="192666" y="138840"/>
                  </a:cubicBezTo>
                  <a:cubicBezTo>
                    <a:pt x="188145" y="118428"/>
                    <a:pt x="197092" y="99050"/>
                    <a:pt x="212727" y="95476"/>
                  </a:cubicBezTo>
                  <a:lnTo>
                    <a:pt x="212727" y="85787"/>
                  </a:lnTo>
                  <a:cubicBezTo>
                    <a:pt x="212727" y="38378"/>
                    <a:pt x="251155" y="0"/>
                    <a:pt x="29862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28" name="îṡľiḍê"/>
            <p:cNvSpPr/>
            <p:nvPr/>
          </p:nvSpPr>
          <p:spPr bwMode="auto">
            <a:xfrm>
              <a:off x="5498766" y="5569573"/>
              <a:ext cx="1218021" cy="214220"/>
            </a:xfrm>
            <a:custGeom>
              <a:avLst/>
              <a:gdLst>
                <a:gd name="T0" fmla="*/ 632 w 632"/>
                <a:gd name="T1" fmla="*/ 56 h 111"/>
                <a:gd name="T2" fmla="*/ 616 w 632"/>
                <a:gd name="T3" fmla="*/ 95 h 111"/>
                <a:gd name="T4" fmla="*/ 577 w 632"/>
                <a:gd name="T5" fmla="*/ 111 h 111"/>
                <a:gd name="T6" fmla="*/ 56 w 632"/>
                <a:gd name="T7" fmla="*/ 111 h 111"/>
                <a:gd name="T8" fmla="*/ 53 w 632"/>
                <a:gd name="T9" fmla="*/ 111 h 111"/>
                <a:gd name="T10" fmla="*/ 0 w 632"/>
                <a:gd name="T11" fmla="*/ 56 h 111"/>
                <a:gd name="T12" fmla="*/ 17 w 632"/>
                <a:gd name="T13" fmla="*/ 16 h 111"/>
                <a:gd name="T14" fmla="*/ 56 w 632"/>
                <a:gd name="T15" fmla="*/ 0 h 111"/>
                <a:gd name="T16" fmla="*/ 577 w 632"/>
                <a:gd name="T17" fmla="*/ 0 h 111"/>
                <a:gd name="T18" fmla="*/ 632 w 632"/>
                <a:gd name="T19" fmla="*/ 56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2" h="111">
                  <a:moveTo>
                    <a:pt x="632" y="56"/>
                  </a:moveTo>
                  <a:cubicBezTo>
                    <a:pt x="632" y="71"/>
                    <a:pt x="626" y="85"/>
                    <a:pt x="616" y="95"/>
                  </a:cubicBezTo>
                  <a:cubicBezTo>
                    <a:pt x="606" y="105"/>
                    <a:pt x="592" y="111"/>
                    <a:pt x="577" y="111"/>
                  </a:cubicBezTo>
                  <a:cubicBezTo>
                    <a:pt x="56" y="111"/>
                    <a:pt x="56" y="111"/>
                    <a:pt x="56" y="111"/>
                  </a:cubicBezTo>
                  <a:cubicBezTo>
                    <a:pt x="55" y="111"/>
                    <a:pt x="54" y="111"/>
                    <a:pt x="53" y="111"/>
                  </a:cubicBezTo>
                  <a:cubicBezTo>
                    <a:pt x="23" y="109"/>
                    <a:pt x="0" y="85"/>
                    <a:pt x="0" y="56"/>
                  </a:cubicBezTo>
                  <a:cubicBezTo>
                    <a:pt x="0" y="40"/>
                    <a:pt x="7" y="26"/>
                    <a:pt x="17" y="16"/>
                  </a:cubicBezTo>
                  <a:cubicBezTo>
                    <a:pt x="27" y="6"/>
                    <a:pt x="41" y="0"/>
                    <a:pt x="56" y="0"/>
                  </a:cubicBezTo>
                  <a:cubicBezTo>
                    <a:pt x="577" y="0"/>
                    <a:pt x="577" y="0"/>
                    <a:pt x="577" y="0"/>
                  </a:cubicBezTo>
                  <a:cubicBezTo>
                    <a:pt x="608" y="0"/>
                    <a:pt x="632" y="25"/>
                    <a:pt x="632" y="5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775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sz="1350"/>
            </a:p>
          </p:txBody>
        </p:sp>
        <p:sp>
          <p:nvSpPr>
            <p:cNvPr id="29" name="íṧliḑè"/>
            <p:cNvSpPr/>
            <p:nvPr/>
          </p:nvSpPr>
          <p:spPr bwMode="auto">
            <a:xfrm>
              <a:off x="5498766" y="5900995"/>
              <a:ext cx="1220264" cy="213098"/>
            </a:xfrm>
            <a:custGeom>
              <a:avLst/>
              <a:gdLst>
                <a:gd name="T0" fmla="*/ 577 w 633"/>
                <a:gd name="T1" fmla="*/ 111 h 111"/>
                <a:gd name="T2" fmla="*/ 56 w 633"/>
                <a:gd name="T3" fmla="*/ 111 h 111"/>
                <a:gd name="T4" fmla="*/ 0 w 633"/>
                <a:gd name="T5" fmla="*/ 56 h 111"/>
                <a:gd name="T6" fmla="*/ 0 w 633"/>
                <a:gd name="T7" fmla="*/ 56 h 111"/>
                <a:gd name="T8" fmla="*/ 56 w 633"/>
                <a:gd name="T9" fmla="*/ 0 h 111"/>
                <a:gd name="T10" fmla="*/ 577 w 633"/>
                <a:gd name="T11" fmla="*/ 0 h 111"/>
                <a:gd name="T12" fmla="*/ 633 w 633"/>
                <a:gd name="T13" fmla="*/ 56 h 111"/>
                <a:gd name="T14" fmla="*/ 633 w 633"/>
                <a:gd name="T15" fmla="*/ 56 h 111"/>
                <a:gd name="T16" fmla="*/ 577 w 633"/>
                <a:gd name="T1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3" h="111">
                  <a:moveTo>
                    <a:pt x="577" y="111"/>
                  </a:moveTo>
                  <a:cubicBezTo>
                    <a:pt x="56" y="111"/>
                    <a:pt x="56" y="111"/>
                    <a:pt x="56" y="111"/>
                  </a:cubicBezTo>
                  <a:cubicBezTo>
                    <a:pt x="25" y="111"/>
                    <a:pt x="0" y="86"/>
                    <a:pt x="0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6" y="0"/>
                  </a:cubicBezTo>
                  <a:cubicBezTo>
                    <a:pt x="577" y="0"/>
                    <a:pt x="577" y="0"/>
                    <a:pt x="577" y="0"/>
                  </a:cubicBezTo>
                  <a:cubicBezTo>
                    <a:pt x="608" y="0"/>
                    <a:pt x="633" y="25"/>
                    <a:pt x="633" y="56"/>
                  </a:cubicBezTo>
                  <a:cubicBezTo>
                    <a:pt x="633" y="56"/>
                    <a:pt x="633" y="56"/>
                    <a:pt x="633" y="56"/>
                  </a:cubicBezTo>
                  <a:cubicBezTo>
                    <a:pt x="633" y="86"/>
                    <a:pt x="608" y="111"/>
                    <a:pt x="577" y="11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70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sz="1350"/>
            </a:p>
          </p:txBody>
        </p:sp>
      </p:grpSp>
      <p:sp>
        <p:nvSpPr>
          <p:cNvPr id="43" name="ïṩ1ide"/>
          <p:cNvSpPr/>
          <p:nvPr/>
        </p:nvSpPr>
        <p:spPr>
          <a:xfrm flipH="1">
            <a:off x="4241877" y="2997441"/>
            <a:ext cx="3774418" cy="622554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2000" b="1" dirty="0"/>
              <a:t>社会诉求</a:t>
            </a:r>
            <a:endParaRPr lang="zh-CN" altLang="en-US" sz="2000" b="1" dirty="0"/>
          </a:p>
        </p:txBody>
      </p:sp>
      <p:sp>
        <p:nvSpPr>
          <p:cNvPr id="44" name="îs1îďè"/>
          <p:cNvSpPr txBox="1"/>
          <p:nvPr/>
        </p:nvSpPr>
        <p:spPr>
          <a:xfrm flipH="1">
            <a:off x="996905" y="1928304"/>
            <a:ext cx="3917320" cy="935990"/>
          </a:xfrm>
          <a:prstGeom prst="rect">
            <a:avLst/>
          </a:prstGeom>
          <a:noFill/>
        </p:spPr>
        <p:txBody>
          <a:bodyPr wrap="square" lIns="91440" tIns="45720" rIns="91440" bIns="45720">
            <a:normAutofit fontScale="975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200" dirty="0"/>
              <a:t>人各有不同、公司各有不同。求职就不是一个标准化的过程、任何标准化的操作（如网课、职业培训等）等都不是就业产生生产力的关键环节，只是基础环节。</a:t>
            </a:r>
            <a:endParaRPr lang="zh-CN" altLang="en-US" sz="1200" dirty="0"/>
          </a:p>
        </p:txBody>
      </p:sp>
      <p:sp>
        <p:nvSpPr>
          <p:cNvPr id="45" name="íṣlîḑe"/>
          <p:cNvSpPr/>
          <p:nvPr/>
        </p:nvSpPr>
        <p:spPr>
          <a:xfrm flipH="1">
            <a:off x="3960361" y="1496267"/>
            <a:ext cx="1046718" cy="357534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b="1" dirty="0"/>
              <a:t>就业难</a:t>
            </a:r>
            <a:endParaRPr lang="zh-CN" altLang="en-US" b="1" dirty="0"/>
          </a:p>
        </p:txBody>
      </p:sp>
      <p:sp>
        <p:nvSpPr>
          <p:cNvPr id="46" name="íṩḷíḋê"/>
          <p:cNvSpPr txBox="1"/>
          <p:nvPr/>
        </p:nvSpPr>
        <p:spPr>
          <a:xfrm flipH="1">
            <a:off x="971547" y="3923862"/>
            <a:ext cx="3867737" cy="1164590"/>
          </a:xfrm>
          <a:prstGeom prst="rect">
            <a:avLst/>
          </a:prstGeom>
          <a:noFill/>
        </p:spPr>
        <p:txBody>
          <a:bodyPr wrap="square" lIns="91440" tIns="45720" rIns="91440" bIns="45720">
            <a:normAutofit fontScale="975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D7A202"/>
                </a:solidFill>
              </a:rPr>
              <a:t>各大招聘平台都是以求职者和公司的信息差赚差价。公司招聘一个合适的人需要看的简历越多、越</a:t>
            </a:r>
            <a:r>
              <a:rPr lang="zh-CN" altLang="en-US" sz="1200" dirty="0" smtClean="0">
                <a:solidFill>
                  <a:srgbClr val="D7A202"/>
                </a:solidFill>
              </a:rPr>
              <a:t>挣钱，跟</a:t>
            </a:r>
            <a:r>
              <a:rPr lang="zh-CN" altLang="en-US" sz="1200" dirty="0">
                <a:solidFill>
                  <a:srgbClr val="D7A202"/>
                </a:solidFill>
              </a:rPr>
              <a:t>平台跟公司利益是冲突</a:t>
            </a:r>
            <a:r>
              <a:rPr lang="zh-CN" altLang="en-US" sz="1200" dirty="0" smtClean="0">
                <a:solidFill>
                  <a:srgbClr val="D7A202"/>
                </a:solidFill>
              </a:rPr>
              <a:t>的。</a:t>
            </a:r>
            <a:endParaRPr lang="zh-CN" altLang="en-US" sz="1200" dirty="0">
              <a:solidFill>
                <a:srgbClr val="D7A202"/>
              </a:solidFill>
            </a:endParaRPr>
          </a:p>
        </p:txBody>
      </p:sp>
      <p:sp>
        <p:nvSpPr>
          <p:cNvPr id="47" name="ïşļíḓê"/>
          <p:cNvSpPr/>
          <p:nvPr/>
        </p:nvSpPr>
        <p:spPr>
          <a:xfrm flipH="1">
            <a:off x="3940063" y="3557966"/>
            <a:ext cx="1058334" cy="357534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b="1" dirty="0">
                <a:solidFill>
                  <a:srgbClr val="FFC000"/>
                </a:solidFill>
              </a:rPr>
              <a:t>招聘难</a:t>
            </a:r>
            <a:endParaRPr lang="zh-CN" altLang="en-US" b="1" dirty="0">
              <a:solidFill>
                <a:srgbClr val="FFC000"/>
              </a:solidFill>
            </a:endParaRPr>
          </a:p>
        </p:txBody>
      </p:sp>
      <p:sp>
        <p:nvSpPr>
          <p:cNvPr id="48" name="ïṩḻíḋé"/>
          <p:cNvSpPr txBox="1"/>
          <p:nvPr/>
        </p:nvSpPr>
        <p:spPr>
          <a:xfrm flipH="1">
            <a:off x="7321729" y="1996689"/>
            <a:ext cx="4233350" cy="632185"/>
          </a:xfrm>
          <a:prstGeom prst="rect">
            <a:avLst/>
          </a:prstGeom>
          <a:noFill/>
        </p:spPr>
        <p:txBody>
          <a:bodyPr wrap="square" lIns="91440" tIns="45720" rIns="91440" bIns="45720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030157"/>
                </a:solidFill>
              </a:rPr>
              <a:t>大众创业、大学生就业等。政府已经给出了大量的补贴和政策，但是未能解决行业视野、情商、技术落地等非标知识。</a:t>
            </a:r>
            <a:endParaRPr lang="zh-CN" altLang="en-US" sz="1200" dirty="0">
              <a:solidFill>
                <a:srgbClr val="030157"/>
              </a:solidFill>
            </a:endParaRPr>
          </a:p>
        </p:txBody>
      </p:sp>
      <p:sp>
        <p:nvSpPr>
          <p:cNvPr id="49" name="íşľiḑe"/>
          <p:cNvSpPr/>
          <p:nvPr/>
        </p:nvSpPr>
        <p:spPr>
          <a:xfrm flipH="1">
            <a:off x="6495796" y="1594788"/>
            <a:ext cx="2679699" cy="357534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b="1" dirty="0">
                <a:solidFill>
                  <a:srgbClr val="030157"/>
                </a:solidFill>
              </a:rPr>
              <a:t>社会需要</a:t>
            </a:r>
            <a:endParaRPr lang="zh-CN" altLang="en-US" b="1" dirty="0">
              <a:solidFill>
                <a:srgbClr val="030157"/>
              </a:solidFill>
            </a:endParaRPr>
          </a:p>
        </p:txBody>
      </p:sp>
      <p:sp>
        <p:nvSpPr>
          <p:cNvPr id="50" name="íŝļidê"/>
          <p:cNvSpPr txBox="1"/>
          <p:nvPr/>
        </p:nvSpPr>
        <p:spPr>
          <a:xfrm flipH="1">
            <a:off x="7252595" y="4145775"/>
            <a:ext cx="4239321" cy="876272"/>
          </a:xfrm>
          <a:prstGeom prst="rect">
            <a:avLst/>
          </a:prstGeom>
          <a:noFill/>
        </p:spPr>
        <p:txBody>
          <a:bodyPr wrap="square" lIns="91440" tIns="45720" rIns="91440" bIns="45720">
            <a:normAutofit fontScale="975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D35D3E"/>
                </a:solidFill>
              </a:rPr>
              <a:t>师徒之情本身就是可以和亲情、爱情等相提并论的情感之一。</a:t>
            </a:r>
            <a:endParaRPr lang="zh-CN" altLang="en-US" sz="1200" dirty="0">
              <a:solidFill>
                <a:srgbClr val="D35D3E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D35D3E"/>
                </a:solidFill>
              </a:rPr>
              <a:t>在家有父母，学校有老师，社会当然也需要一个师傅。</a:t>
            </a:r>
            <a:endParaRPr lang="zh-CN" altLang="en-US" sz="1200" dirty="0">
              <a:solidFill>
                <a:srgbClr val="D35D3E"/>
              </a:solidFill>
            </a:endParaRPr>
          </a:p>
        </p:txBody>
      </p:sp>
      <p:sp>
        <p:nvSpPr>
          <p:cNvPr id="51" name="iśľïďe"/>
          <p:cNvSpPr/>
          <p:nvPr/>
        </p:nvSpPr>
        <p:spPr>
          <a:xfrm flipH="1">
            <a:off x="7247921" y="3647041"/>
            <a:ext cx="1286876" cy="357534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b="1" dirty="0">
                <a:solidFill>
                  <a:srgbClr val="DC6140"/>
                </a:solidFill>
              </a:rPr>
              <a:t>情感诉求</a:t>
            </a:r>
            <a:endParaRPr lang="zh-CN" altLang="en-US" b="1" dirty="0">
              <a:solidFill>
                <a:srgbClr val="DC6140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262840" y="2258535"/>
            <a:ext cx="4621853" cy="1375181"/>
          </a:xfrm>
        </p:spPr>
        <p:txBody>
          <a:bodyPr anchor="ctr">
            <a:normAutofit/>
          </a:bodyPr>
          <a:lstStyle/>
          <a:p>
            <a:r>
              <a:rPr lang="zh-CN" altLang="en-US" sz="3600" dirty="0">
                <a:solidFill>
                  <a:srgbClr val="030157"/>
                </a:solidFill>
              </a:rPr>
              <a:t>产品形态</a:t>
            </a:r>
            <a:endParaRPr lang="zh-CN" altLang="en-US" sz="3600" dirty="0">
              <a:solidFill>
                <a:srgbClr val="030157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3177491" y="256707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25989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1130300"/>
            <a:ext cx="10858500" cy="3691363"/>
            <a:chOff x="660400" y="1130300"/>
            <a:chExt cx="10858500" cy="3691363"/>
          </a:xfrm>
        </p:grpSpPr>
        <p:sp>
          <p:nvSpPr>
            <p:cNvPr id="6" name="išḻîḍé"/>
            <p:cNvSpPr/>
            <p:nvPr/>
          </p:nvSpPr>
          <p:spPr bwMode="auto">
            <a:xfrm>
              <a:off x="660400" y="2519021"/>
              <a:ext cx="10858500" cy="360040"/>
            </a:xfrm>
            <a:prstGeom prst="rightArrow">
              <a:avLst/>
            </a:prstGeom>
            <a:solidFill>
              <a:schemeClr val="tx1">
                <a:lumMod val="50000"/>
                <a:lumOff val="50000"/>
              </a:schemeClr>
            </a:solidFill>
            <a:ln w="381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rtlCol="0" anchor="ctr">
              <a:normAutofit fontScale="400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90204"/>
                <a:ea typeface="微软雅黑"/>
                <a:cs typeface="+mn-cs"/>
              </a:endParaRPr>
            </a:p>
          </p:txBody>
        </p:sp>
        <p:grpSp>
          <p:nvGrpSpPr>
            <p:cNvPr id="7" name="íṣľîďè"/>
            <p:cNvGrpSpPr/>
            <p:nvPr/>
          </p:nvGrpSpPr>
          <p:grpSpPr>
            <a:xfrm>
              <a:off x="4698811" y="3545270"/>
              <a:ext cx="2794377" cy="1276393"/>
              <a:chOff x="4698811" y="3545270"/>
              <a:chExt cx="2794377" cy="1276393"/>
            </a:xfrm>
          </p:grpSpPr>
          <p:sp>
            <p:nvSpPr>
              <p:cNvPr id="78" name="îṣ1íďé"/>
              <p:cNvSpPr txBox="1"/>
              <p:nvPr/>
            </p:nvSpPr>
            <p:spPr bwMode="auto">
              <a:xfrm>
                <a:off x="4698811" y="4361860"/>
                <a:ext cx="2794377" cy="4598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/>
                  <a:ea typeface="微软雅黑"/>
                  <a:cs typeface="+mn-cs"/>
                </a:endParaRPr>
              </a:p>
            </p:txBody>
          </p:sp>
          <p:grpSp>
            <p:nvGrpSpPr>
              <p:cNvPr id="75" name="ïṥ1iḑe"/>
              <p:cNvGrpSpPr/>
              <p:nvPr/>
            </p:nvGrpSpPr>
            <p:grpSpPr>
              <a:xfrm>
                <a:off x="5671375" y="3545270"/>
                <a:ext cx="816590" cy="816590"/>
                <a:chOff x="1489146" y="2392983"/>
                <a:chExt cx="816590" cy="816590"/>
              </a:xfrm>
            </p:grpSpPr>
            <p:sp>
              <p:nvSpPr>
                <p:cNvPr id="76" name="íṥḻïḍê"/>
                <p:cNvSpPr/>
                <p:nvPr/>
              </p:nvSpPr>
              <p:spPr bwMode="auto">
                <a:xfrm>
                  <a:off x="1489146" y="2392983"/>
                  <a:ext cx="816590" cy="816590"/>
                </a:xfrm>
                <a:prstGeom prst="ellipse">
                  <a:avLst/>
                </a:prstGeom>
                <a:solidFill>
                  <a:schemeClr val="accent1"/>
                </a:solidFill>
                <a:ln w="38100">
                  <a:solidFill>
                    <a:schemeClr val="bg1"/>
                  </a:solidFill>
                  <a:round/>
                </a:ln>
              </p:spPr>
              <p:txBody>
                <a:bodyPr vert="horz" wrap="square" lIns="91440" tIns="45720" rIns="91440" bIns="45720" numCol="1" rtlCol="0" anchor="ctr" anchorCtr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Impact" panose="020B0806030902050204" pitchFamily="34" charset="0"/>
                    <a:ea typeface="微软雅黑"/>
                    <a:cs typeface="+mn-cs"/>
                  </a:endParaRPr>
                </a:p>
              </p:txBody>
            </p:sp>
            <p:sp>
              <p:nvSpPr>
                <p:cNvPr id="77" name="îşḻïḍê"/>
                <p:cNvSpPr/>
                <p:nvPr/>
              </p:nvSpPr>
              <p:spPr bwMode="auto">
                <a:xfrm>
                  <a:off x="1719008" y="2624555"/>
                  <a:ext cx="389524" cy="353444"/>
                </a:xfrm>
                <a:custGeom>
                  <a:avLst/>
                  <a:gdLst>
                    <a:gd name="connsiteX0" fmla="*/ 116112 w 607919"/>
                    <a:gd name="connsiteY0" fmla="*/ 473652 h 551610"/>
                    <a:gd name="connsiteX1" fmla="*/ 118901 w 607919"/>
                    <a:gd name="connsiteY1" fmla="*/ 480423 h 551610"/>
                    <a:gd name="connsiteX2" fmla="*/ 118901 w 607919"/>
                    <a:gd name="connsiteY2" fmla="*/ 551610 h 551610"/>
                    <a:gd name="connsiteX3" fmla="*/ 55604 w 607919"/>
                    <a:gd name="connsiteY3" fmla="*/ 551610 h 551610"/>
                    <a:gd name="connsiteX4" fmla="*/ 55604 w 607919"/>
                    <a:gd name="connsiteY4" fmla="*/ 540851 h 551610"/>
                    <a:gd name="connsiteX5" fmla="*/ 65255 w 607919"/>
                    <a:gd name="connsiteY5" fmla="*/ 520583 h 551610"/>
                    <a:gd name="connsiteX6" fmla="*/ 83555 w 607919"/>
                    <a:gd name="connsiteY6" fmla="*/ 502317 h 551610"/>
                    <a:gd name="connsiteX7" fmla="*/ 109375 w 607919"/>
                    <a:gd name="connsiteY7" fmla="*/ 476545 h 551610"/>
                    <a:gd name="connsiteX8" fmla="*/ 116112 w 607919"/>
                    <a:gd name="connsiteY8" fmla="*/ 473652 h 551610"/>
                    <a:gd name="connsiteX9" fmla="*/ 199155 w 607919"/>
                    <a:gd name="connsiteY9" fmla="*/ 390799 h 551610"/>
                    <a:gd name="connsiteX10" fmla="*/ 201956 w 607919"/>
                    <a:gd name="connsiteY10" fmla="*/ 397632 h 551610"/>
                    <a:gd name="connsiteX11" fmla="*/ 201956 w 607919"/>
                    <a:gd name="connsiteY11" fmla="*/ 551610 h 551610"/>
                    <a:gd name="connsiteX12" fmla="*/ 145363 w 607919"/>
                    <a:gd name="connsiteY12" fmla="*/ 551610 h 551610"/>
                    <a:gd name="connsiteX13" fmla="*/ 145363 w 607919"/>
                    <a:gd name="connsiteY13" fmla="*/ 454170 h 551610"/>
                    <a:gd name="connsiteX14" fmla="*/ 154879 w 607919"/>
                    <a:gd name="connsiteY14" fmla="*/ 431030 h 551610"/>
                    <a:gd name="connsiteX15" fmla="*/ 192315 w 607919"/>
                    <a:gd name="connsiteY15" fmla="*/ 393630 h 551610"/>
                    <a:gd name="connsiteX16" fmla="*/ 199155 w 607919"/>
                    <a:gd name="connsiteY16" fmla="*/ 390799 h 551610"/>
                    <a:gd name="connsiteX17" fmla="*/ 231082 w 607919"/>
                    <a:gd name="connsiteY17" fmla="*/ 388245 h 551610"/>
                    <a:gd name="connsiteX18" fmla="*/ 237930 w 607919"/>
                    <a:gd name="connsiteY18" fmla="*/ 391091 h 551610"/>
                    <a:gd name="connsiteX19" fmla="*/ 266763 w 607919"/>
                    <a:gd name="connsiteY19" fmla="*/ 419867 h 551610"/>
                    <a:gd name="connsiteX20" fmla="*/ 275915 w 607919"/>
                    <a:gd name="connsiteY20" fmla="*/ 428875 h 551610"/>
                    <a:gd name="connsiteX21" fmla="*/ 284941 w 607919"/>
                    <a:gd name="connsiteY21" fmla="*/ 451520 h 551610"/>
                    <a:gd name="connsiteX22" fmla="*/ 284941 w 607919"/>
                    <a:gd name="connsiteY22" fmla="*/ 551610 h 551610"/>
                    <a:gd name="connsiteX23" fmla="*/ 228277 w 607919"/>
                    <a:gd name="connsiteY23" fmla="*/ 551610 h 551610"/>
                    <a:gd name="connsiteX24" fmla="*/ 228277 w 607919"/>
                    <a:gd name="connsiteY24" fmla="*/ 394969 h 551610"/>
                    <a:gd name="connsiteX25" fmla="*/ 231082 w 607919"/>
                    <a:gd name="connsiteY25" fmla="*/ 388245 h 551610"/>
                    <a:gd name="connsiteX26" fmla="*/ 365148 w 607919"/>
                    <a:gd name="connsiteY26" fmla="*/ 381336 h 551610"/>
                    <a:gd name="connsiteX27" fmla="*/ 367997 w 607919"/>
                    <a:gd name="connsiteY27" fmla="*/ 388122 h 551610"/>
                    <a:gd name="connsiteX28" fmla="*/ 367997 w 607919"/>
                    <a:gd name="connsiteY28" fmla="*/ 551610 h 551610"/>
                    <a:gd name="connsiteX29" fmla="*/ 311262 w 607919"/>
                    <a:gd name="connsiteY29" fmla="*/ 551610 h 551610"/>
                    <a:gd name="connsiteX30" fmla="*/ 311262 w 607919"/>
                    <a:gd name="connsiteY30" fmla="*/ 444661 h 551610"/>
                    <a:gd name="connsiteX31" fmla="*/ 316898 w 607919"/>
                    <a:gd name="connsiteY31" fmla="*/ 425523 h 551610"/>
                    <a:gd name="connsiteX32" fmla="*/ 322534 w 607919"/>
                    <a:gd name="connsiteY32" fmla="*/ 419894 h 551610"/>
                    <a:gd name="connsiteX33" fmla="*/ 358353 w 607919"/>
                    <a:gd name="connsiteY33" fmla="*/ 384120 h 551610"/>
                    <a:gd name="connsiteX34" fmla="*/ 365148 w 607919"/>
                    <a:gd name="connsiteY34" fmla="*/ 381336 h 551610"/>
                    <a:gd name="connsiteX35" fmla="*/ 448177 w 607919"/>
                    <a:gd name="connsiteY35" fmla="*/ 298352 h 551610"/>
                    <a:gd name="connsiteX36" fmla="*/ 450982 w 607919"/>
                    <a:gd name="connsiteY36" fmla="*/ 305139 h 551610"/>
                    <a:gd name="connsiteX37" fmla="*/ 450982 w 607919"/>
                    <a:gd name="connsiteY37" fmla="*/ 551610 h 551610"/>
                    <a:gd name="connsiteX38" fmla="*/ 394318 w 607919"/>
                    <a:gd name="connsiteY38" fmla="*/ 551610 h 551610"/>
                    <a:gd name="connsiteX39" fmla="*/ 394318 w 607919"/>
                    <a:gd name="connsiteY39" fmla="*/ 361815 h 551610"/>
                    <a:gd name="connsiteX40" fmla="*/ 403846 w 607919"/>
                    <a:gd name="connsiteY40" fmla="*/ 338669 h 551610"/>
                    <a:gd name="connsiteX41" fmla="*/ 441329 w 607919"/>
                    <a:gd name="connsiteY41" fmla="*/ 301136 h 551610"/>
                    <a:gd name="connsiteX42" fmla="*/ 448177 w 607919"/>
                    <a:gd name="connsiteY42" fmla="*/ 298352 h 551610"/>
                    <a:gd name="connsiteX43" fmla="*/ 527085 w 607919"/>
                    <a:gd name="connsiteY43" fmla="*/ 219452 h 551610"/>
                    <a:gd name="connsiteX44" fmla="*/ 529874 w 607919"/>
                    <a:gd name="connsiteY44" fmla="*/ 226177 h 551610"/>
                    <a:gd name="connsiteX45" fmla="*/ 529874 w 607919"/>
                    <a:gd name="connsiteY45" fmla="*/ 551610 h 551610"/>
                    <a:gd name="connsiteX46" fmla="*/ 477232 w 607919"/>
                    <a:gd name="connsiteY46" fmla="*/ 551610 h 551610"/>
                    <a:gd name="connsiteX47" fmla="*/ 477232 w 607919"/>
                    <a:gd name="connsiteY47" fmla="*/ 278727 h 551610"/>
                    <a:gd name="connsiteX48" fmla="*/ 486883 w 607919"/>
                    <a:gd name="connsiteY48" fmla="*/ 255580 h 551610"/>
                    <a:gd name="connsiteX49" fmla="*/ 520348 w 607919"/>
                    <a:gd name="connsiteY49" fmla="*/ 222298 h 551610"/>
                    <a:gd name="connsiteX50" fmla="*/ 527085 w 607919"/>
                    <a:gd name="connsiteY50" fmla="*/ 219452 h 551610"/>
                    <a:gd name="connsiteX51" fmla="*/ 387769 w 607919"/>
                    <a:gd name="connsiteY51" fmla="*/ 0 h 551610"/>
                    <a:gd name="connsiteX52" fmla="*/ 580729 w 607919"/>
                    <a:gd name="connsiteY52" fmla="*/ 0 h 551610"/>
                    <a:gd name="connsiteX53" fmla="*/ 607919 w 607919"/>
                    <a:gd name="connsiteY53" fmla="*/ 26022 h 551610"/>
                    <a:gd name="connsiteX54" fmla="*/ 607919 w 607919"/>
                    <a:gd name="connsiteY54" fmla="*/ 219812 h 551610"/>
                    <a:gd name="connsiteX55" fmla="*/ 598271 w 607919"/>
                    <a:gd name="connsiteY55" fmla="*/ 223815 h 551610"/>
                    <a:gd name="connsiteX56" fmla="*/ 530610 w 607919"/>
                    <a:gd name="connsiteY56" fmla="*/ 156258 h 551610"/>
                    <a:gd name="connsiteX57" fmla="*/ 304320 w 607919"/>
                    <a:gd name="connsiteY57" fmla="*/ 382325 h 551610"/>
                    <a:gd name="connsiteX58" fmla="*/ 285024 w 607919"/>
                    <a:gd name="connsiteY58" fmla="*/ 382325 h 551610"/>
                    <a:gd name="connsiteX59" fmla="*/ 216360 w 607919"/>
                    <a:gd name="connsiteY59" fmla="*/ 313767 h 551610"/>
                    <a:gd name="connsiteX60" fmla="*/ 94068 w 607919"/>
                    <a:gd name="connsiteY60" fmla="*/ 435996 h 551610"/>
                    <a:gd name="connsiteX61" fmla="*/ 17260 w 607919"/>
                    <a:gd name="connsiteY61" fmla="*/ 435996 h 551610"/>
                    <a:gd name="connsiteX62" fmla="*/ 15882 w 607919"/>
                    <a:gd name="connsiteY62" fmla="*/ 434745 h 551610"/>
                    <a:gd name="connsiteX63" fmla="*/ 15882 w 607919"/>
                    <a:gd name="connsiteY63" fmla="*/ 358055 h 551610"/>
                    <a:gd name="connsiteX64" fmla="*/ 206837 w 607919"/>
                    <a:gd name="connsiteY64" fmla="*/ 167267 h 551610"/>
                    <a:gd name="connsiteX65" fmla="*/ 226008 w 607919"/>
                    <a:gd name="connsiteY65" fmla="*/ 167267 h 551610"/>
                    <a:gd name="connsiteX66" fmla="*/ 294672 w 607919"/>
                    <a:gd name="connsiteY66" fmla="*/ 235701 h 551610"/>
                    <a:gd name="connsiteX67" fmla="*/ 424481 w 607919"/>
                    <a:gd name="connsiteY67" fmla="*/ 105965 h 551610"/>
                    <a:gd name="connsiteX68" fmla="*/ 452423 w 607919"/>
                    <a:gd name="connsiteY68" fmla="*/ 78192 h 551610"/>
                    <a:gd name="connsiteX69" fmla="*/ 383885 w 607919"/>
                    <a:gd name="connsiteY69" fmla="*/ 9633 h 551610"/>
                    <a:gd name="connsiteX70" fmla="*/ 387769 w 607919"/>
                    <a:gd name="connsiteY70" fmla="*/ 0 h 551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607919" h="551610">
                      <a:moveTo>
                        <a:pt x="116112" y="473652"/>
                      </a:moveTo>
                      <a:cubicBezTo>
                        <a:pt x="117836" y="474356"/>
                        <a:pt x="118901" y="476670"/>
                        <a:pt x="118901" y="480423"/>
                      </a:cubicBezTo>
                      <a:lnTo>
                        <a:pt x="118901" y="551610"/>
                      </a:lnTo>
                      <a:lnTo>
                        <a:pt x="55604" y="551610"/>
                      </a:lnTo>
                      <a:lnTo>
                        <a:pt x="55604" y="540851"/>
                      </a:lnTo>
                      <a:cubicBezTo>
                        <a:pt x="55604" y="534971"/>
                        <a:pt x="59991" y="525838"/>
                        <a:pt x="65255" y="520583"/>
                      </a:cubicBezTo>
                      <a:lnTo>
                        <a:pt x="83555" y="502317"/>
                      </a:lnTo>
                      <a:lnTo>
                        <a:pt x="109375" y="476545"/>
                      </a:lnTo>
                      <a:cubicBezTo>
                        <a:pt x="112007" y="473855"/>
                        <a:pt x="114389" y="472948"/>
                        <a:pt x="116112" y="473652"/>
                      </a:cubicBezTo>
                      <a:close/>
                      <a:moveTo>
                        <a:pt x="199155" y="390799"/>
                      </a:moveTo>
                      <a:cubicBezTo>
                        <a:pt x="200892" y="391534"/>
                        <a:pt x="201956" y="393880"/>
                        <a:pt x="201956" y="397632"/>
                      </a:cubicBezTo>
                      <a:lnTo>
                        <a:pt x="201956" y="551610"/>
                      </a:lnTo>
                      <a:lnTo>
                        <a:pt x="145363" y="551610"/>
                      </a:lnTo>
                      <a:lnTo>
                        <a:pt x="145363" y="454170"/>
                      </a:lnTo>
                      <a:cubicBezTo>
                        <a:pt x="145363" y="446665"/>
                        <a:pt x="149620" y="436283"/>
                        <a:pt x="154879" y="431030"/>
                      </a:cubicBezTo>
                      <a:lnTo>
                        <a:pt x="192315" y="393630"/>
                      </a:lnTo>
                      <a:cubicBezTo>
                        <a:pt x="195007" y="390941"/>
                        <a:pt x="197417" y="390065"/>
                        <a:pt x="199155" y="390799"/>
                      </a:cubicBezTo>
                      <a:close/>
                      <a:moveTo>
                        <a:pt x="231082" y="388245"/>
                      </a:moveTo>
                      <a:cubicBezTo>
                        <a:pt x="232822" y="387525"/>
                        <a:pt x="235235" y="388401"/>
                        <a:pt x="237930" y="391091"/>
                      </a:cubicBezTo>
                      <a:lnTo>
                        <a:pt x="266763" y="419867"/>
                      </a:lnTo>
                      <a:lnTo>
                        <a:pt x="275915" y="428875"/>
                      </a:lnTo>
                      <a:cubicBezTo>
                        <a:pt x="280929" y="433879"/>
                        <a:pt x="284941" y="444013"/>
                        <a:pt x="284941" y="451520"/>
                      </a:cubicBezTo>
                      <a:lnTo>
                        <a:pt x="284941" y="551610"/>
                      </a:lnTo>
                      <a:lnTo>
                        <a:pt x="228277" y="551610"/>
                      </a:lnTo>
                      <a:lnTo>
                        <a:pt x="228277" y="394969"/>
                      </a:lnTo>
                      <a:cubicBezTo>
                        <a:pt x="228277" y="391278"/>
                        <a:pt x="229343" y="388964"/>
                        <a:pt x="231082" y="388245"/>
                      </a:cubicBezTo>
                      <a:close/>
                      <a:moveTo>
                        <a:pt x="365148" y="381336"/>
                      </a:moveTo>
                      <a:cubicBezTo>
                        <a:pt x="366901" y="382055"/>
                        <a:pt x="367997" y="384370"/>
                        <a:pt x="367997" y="388122"/>
                      </a:cubicBezTo>
                      <a:lnTo>
                        <a:pt x="367997" y="551610"/>
                      </a:lnTo>
                      <a:lnTo>
                        <a:pt x="311262" y="551610"/>
                      </a:lnTo>
                      <a:lnTo>
                        <a:pt x="311262" y="444661"/>
                      </a:lnTo>
                      <a:cubicBezTo>
                        <a:pt x="311262" y="437156"/>
                        <a:pt x="313767" y="428650"/>
                        <a:pt x="316898" y="425523"/>
                      </a:cubicBezTo>
                      <a:cubicBezTo>
                        <a:pt x="320029" y="422396"/>
                        <a:pt x="322534" y="419894"/>
                        <a:pt x="322534" y="419894"/>
                      </a:cubicBezTo>
                      <a:lnTo>
                        <a:pt x="358353" y="384120"/>
                      </a:lnTo>
                      <a:cubicBezTo>
                        <a:pt x="360983" y="381493"/>
                        <a:pt x="363394" y="380617"/>
                        <a:pt x="365148" y="381336"/>
                      </a:cubicBezTo>
                      <a:close/>
                      <a:moveTo>
                        <a:pt x="448177" y="298352"/>
                      </a:moveTo>
                      <a:cubicBezTo>
                        <a:pt x="449916" y="299071"/>
                        <a:pt x="450982" y="301386"/>
                        <a:pt x="450982" y="305139"/>
                      </a:cubicBezTo>
                      <a:lnTo>
                        <a:pt x="450982" y="551610"/>
                      </a:lnTo>
                      <a:lnTo>
                        <a:pt x="394318" y="551610"/>
                      </a:lnTo>
                      <a:lnTo>
                        <a:pt x="394318" y="361815"/>
                      </a:lnTo>
                      <a:cubicBezTo>
                        <a:pt x="394318" y="354308"/>
                        <a:pt x="398580" y="343924"/>
                        <a:pt x="403846" y="338669"/>
                      </a:cubicBezTo>
                      <a:lnTo>
                        <a:pt x="441329" y="301136"/>
                      </a:lnTo>
                      <a:cubicBezTo>
                        <a:pt x="444024" y="298508"/>
                        <a:pt x="446438" y="297633"/>
                        <a:pt x="448177" y="298352"/>
                      </a:cubicBezTo>
                      <a:close/>
                      <a:moveTo>
                        <a:pt x="527085" y="219452"/>
                      </a:moveTo>
                      <a:cubicBezTo>
                        <a:pt x="528809" y="220171"/>
                        <a:pt x="529874" y="222486"/>
                        <a:pt x="529874" y="226177"/>
                      </a:cubicBezTo>
                      <a:lnTo>
                        <a:pt x="529874" y="551610"/>
                      </a:lnTo>
                      <a:lnTo>
                        <a:pt x="477232" y="551610"/>
                      </a:lnTo>
                      <a:lnTo>
                        <a:pt x="477232" y="278727"/>
                      </a:lnTo>
                      <a:cubicBezTo>
                        <a:pt x="477232" y="271345"/>
                        <a:pt x="481494" y="260960"/>
                        <a:pt x="486883" y="255580"/>
                      </a:cubicBezTo>
                      <a:lnTo>
                        <a:pt x="520348" y="222298"/>
                      </a:lnTo>
                      <a:cubicBezTo>
                        <a:pt x="522980" y="219608"/>
                        <a:pt x="525362" y="218732"/>
                        <a:pt x="527085" y="219452"/>
                      </a:cubicBezTo>
                      <a:close/>
                      <a:moveTo>
                        <a:pt x="387769" y="0"/>
                      </a:moveTo>
                      <a:lnTo>
                        <a:pt x="580729" y="0"/>
                      </a:lnTo>
                      <a:cubicBezTo>
                        <a:pt x="594512" y="0"/>
                        <a:pt x="607919" y="12135"/>
                        <a:pt x="607919" y="26022"/>
                      </a:cubicBezTo>
                      <a:lnTo>
                        <a:pt x="607919" y="219812"/>
                      </a:lnTo>
                      <a:cubicBezTo>
                        <a:pt x="607919" y="227318"/>
                        <a:pt x="603534" y="229070"/>
                        <a:pt x="598271" y="223815"/>
                      </a:cubicBezTo>
                      <a:lnTo>
                        <a:pt x="530610" y="156258"/>
                      </a:lnTo>
                      <a:lnTo>
                        <a:pt x="304320" y="382325"/>
                      </a:lnTo>
                      <a:cubicBezTo>
                        <a:pt x="298932" y="387580"/>
                        <a:pt x="290412" y="387580"/>
                        <a:pt x="285024" y="382325"/>
                      </a:cubicBezTo>
                      <a:lnTo>
                        <a:pt x="216360" y="313767"/>
                      </a:lnTo>
                      <a:lnTo>
                        <a:pt x="94068" y="435996"/>
                      </a:lnTo>
                      <a:cubicBezTo>
                        <a:pt x="72767" y="457264"/>
                        <a:pt x="38435" y="457264"/>
                        <a:pt x="17260" y="435996"/>
                      </a:cubicBezTo>
                      <a:lnTo>
                        <a:pt x="15882" y="434745"/>
                      </a:lnTo>
                      <a:cubicBezTo>
                        <a:pt x="-5294" y="413477"/>
                        <a:pt x="-5294" y="379198"/>
                        <a:pt x="15882" y="358055"/>
                      </a:cubicBezTo>
                      <a:lnTo>
                        <a:pt x="206837" y="167267"/>
                      </a:lnTo>
                      <a:cubicBezTo>
                        <a:pt x="212100" y="161888"/>
                        <a:pt x="220745" y="161888"/>
                        <a:pt x="226008" y="167267"/>
                      </a:cubicBezTo>
                      <a:lnTo>
                        <a:pt x="294672" y="235701"/>
                      </a:lnTo>
                      <a:lnTo>
                        <a:pt x="424481" y="105965"/>
                      </a:lnTo>
                      <a:lnTo>
                        <a:pt x="452423" y="78192"/>
                      </a:lnTo>
                      <a:lnTo>
                        <a:pt x="383885" y="9633"/>
                      </a:lnTo>
                      <a:cubicBezTo>
                        <a:pt x="378497" y="4379"/>
                        <a:pt x="380376" y="0"/>
                        <a:pt x="38776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8100">
                  <a:noFill/>
                  <a:round/>
                </a:ln>
              </p:spPr>
              <p:txBody>
                <a:bodyPr vert="horz" wrap="square" lIns="91440" tIns="45720" rIns="91440" bIns="45720" numCol="1" rtlCol="0" anchor="ctr" anchorCtr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Impact" panose="020B0806030902050204" pitchFamily="34" charset="0"/>
                    <a:ea typeface="微软雅黑"/>
                    <a:cs typeface="+mn-cs"/>
                  </a:endParaRPr>
                </a:p>
              </p:txBody>
            </p:sp>
          </p:grpSp>
        </p:grpSp>
        <p:sp>
          <p:nvSpPr>
            <p:cNvPr id="72" name="iṣľïďe"/>
            <p:cNvSpPr txBox="1"/>
            <p:nvPr/>
          </p:nvSpPr>
          <p:spPr bwMode="auto">
            <a:xfrm>
              <a:off x="673099" y="3210670"/>
              <a:ext cx="2794377" cy="4598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>
                  <a:solidFill>
                    <a:srgbClr val="1D25AA"/>
                  </a:solidFill>
                  <a:cs typeface="+mn-ea"/>
                  <a:sym typeface="+mn-lt"/>
                </a:rPr>
                <a:t>学校的基础知识</a:t>
              </a:r>
              <a:endParaRPr lang="zh-CN" altLang="en-US" b="1" dirty="0">
                <a:solidFill>
                  <a:srgbClr val="1D25AA"/>
                </a:solidFill>
                <a:cs typeface="+mn-ea"/>
                <a:sym typeface="+mn-lt"/>
              </a:endParaRPr>
            </a:p>
          </p:txBody>
        </p:sp>
        <p:sp>
          <p:nvSpPr>
            <p:cNvPr id="66" name="î$ľiďè"/>
            <p:cNvSpPr txBox="1"/>
            <p:nvPr/>
          </p:nvSpPr>
          <p:spPr bwMode="auto">
            <a:xfrm>
              <a:off x="8719015" y="3210670"/>
              <a:ext cx="2794377" cy="4598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 algn="ctr"/>
              <a:r>
                <a:rPr lang="zh-CN" altLang="en-US" b="1" dirty="0">
                  <a:solidFill>
                    <a:srgbClr val="D9AB00"/>
                  </a:solidFill>
                  <a:cs typeface="+mn-ea"/>
                  <a:sym typeface="+mn-lt"/>
                </a:rPr>
                <a:t>职场技能</a:t>
              </a:r>
              <a:endParaRPr lang="en-US" altLang="zh-CN" b="1" dirty="0">
                <a:solidFill>
                  <a:srgbClr val="D9AB00"/>
                </a:solidFill>
                <a:cs typeface="+mn-ea"/>
                <a:sym typeface="+mn-lt"/>
              </a:endParaRPr>
            </a:p>
          </p:txBody>
        </p:sp>
        <p:grpSp>
          <p:nvGrpSpPr>
            <p:cNvPr id="10" name="išlïḍé"/>
            <p:cNvGrpSpPr/>
            <p:nvPr/>
          </p:nvGrpSpPr>
          <p:grpSpPr>
            <a:xfrm>
              <a:off x="4920562" y="1130300"/>
              <a:ext cx="2338176" cy="2338948"/>
              <a:chOff x="4920562" y="1529567"/>
              <a:chExt cx="2338176" cy="2338948"/>
            </a:xfrm>
          </p:grpSpPr>
          <p:sp>
            <p:nvSpPr>
              <p:cNvPr id="11" name="ïşlíḑè"/>
              <p:cNvSpPr/>
              <p:nvPr/>
            </p:nvSpPr>
            <p:spPr bwMode="auto">
              <a:xfrm>
                <a:off x="4920562" y="1529567"/>
                <a:ext cx="2338176" cy="2338948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101600" sx="102000" sy="102000" algn="ctr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/>
                  <a:ea typeface="微软雅黑"/>
                  <a:cs typeface="+mn-cs"/>
                </a:endParaRPr>
              </a:p>
            </p:txBody>
          </p:sp>
          <p:grpSp>
            <p:nvGrpSpPr>
              <p:cNvPr id="12" name="îṧḻïḑ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<p:cNvGrpSpPr>
                <a:grpSpLocks noChangeAspect="1"/>
              </p:cNvGrpSpPr>
              <p:nvPr/>
            </p:nvGrpSpPr>
            <p:grpSpPr>
              <a:xfrm>
                <a:off x="5177437" y="2058521"/>
                <a:ext cx="1824426" cy="1656081"/>
                <a:chOff x="3683001" y="1263650"/>
                <a:chExt cx="4765675" cy="4325938"/>
              </a:xfrm>
            </p:grpSpPr>
            <p:sp>
              <p:nvSpPr>
                <p:cNvPr id="13" name="ïşḷidê"/>
                <p:cNvSpPr/>
                <p:nvPr/>
              </p:nvSpPr>
              <p:spPr bwMode="auto">
                <a:xfrm>
                  <a:off x="7434263" y="1708150"/>
                  <a:ext cx="1014413" cy="841375"/>
                </a:xfrm>
                <a:custGeom>
                  <a:avLst/>
                  <a:gdLst>
                    <a:gd name="T0" fmla="*/ 64 w 202"/>
                    <a:gd name="T1" fmla="*/ 168 h 168"/>
                    <a:gd name="T2" fmla="*/ 83 w 202"/>
                    <a:gd name="T3" fmla="*/ 156 h 168"/>
                    <a:gd name="T4" fmla="*/ 123 w 202"/>
                    <a:gd name="T5" fmla="*/ 156 h 168"/>
                    <a:gd name="T6" fmla="*/ 137 w 202"/>
                    <a:gd name="T7" fmla="*/ 45 h 168"/>
                    <a:gd name="T8" fmla="*/ 16 w 202"/>
                    <a:gd name="T9" fmla="*/ 107 h 168"/>
                    <a:gd name="T10" fmla="*/ 62 w 202"/>
                    <a:gd name="T11" fmla="*/ 149 h 168"/>
                    <a:gd name="T12" fmla="*/ 64 w 202"/>
                    <a:gd name="T13" fmla="*/ 168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68">
                      <a:moveTo>
                        <a:pt x="64" y="168"/>
                      </a:moveTo>
                      <a:cubicBezTo>
                        <a:pt x="76" y="161"/>
                        <a:pt x="83" y="156"/>
                        <a:pt x="83" y="156"/>
                      </a:cubicBezTo>
                      <a:cubicBezTo>
                        <a:pt x="92" y="160"/>
                        <a:pt x="104" y="159"/>
                        <a:pt x="123" y="156"/>
                      </a:cubicBezTo>
                      <a:cubicBezTo>
                        <a:pt x="169" y="146"/>
                        <a:pt x="202" y="73"/>
                        <a:pt x="137" y="45"/>
                      </a:cubicBezTo>
                      <a:cubicBezTo>
                        <a:pt x="31" y="0"/>
                        <a:pt x="0" y="73"/>
                        <a:pt x="16" y="107"/>
                      </a:cubicBezTo>
                      <a:cubicBezTo>
                        <a:pt x="32" y="142"/>
                        <a:pt x="62" y="149"/>
                        <a:pt x="62" y="149"/>
                      </a:cubicBezTo>
                      <a:cubicBezTo>
                        <a:pt x="68" y="153"/>
                        <a:pt x="64" y="168"/>
                        <a:pt x="64" y="168"/>
                      </a:cubicBezTo>
                      <a:close/>
                    </a:path>
                  </a:pathLst>
                </a:custGeom>
                <a:solidFill>
                  <a:srgbClr val="FFBA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14" name="îŝ1iḍé"/>
                <p:cNvSpPr/>
                <p:nvPr/>
              </p:nvSpPr>
              <p:spPr bwMode="auto">
                <a:xfrm>
                  <a:off x="3683001" y="1773238"/>
                  <a:ext cx="1008063" cy="847725"/>
                </a:xfrm>
                <a:custGeom>
                  <a:avLst/>
                  <a:gdLst>
                    <a:gd name="T0" fmla="*/ 138 w 201"/>
                    <a:gd name="T1" fmla="*/ 169 h 169"/>
                    <a:gd name="T2" fmla="*/ 118 w 201"/>
                    <a:gd name="T3" fmla="*/ 157 h 169"/>
                    <a:gd name="T4" fmla="*/ 78 w 201"/>
                    <a:gd name="T5" fmla="*/ 156 h 169"/>
                    <a:gd name="T6" fmla="*/ 64 w 201"/>
                    <a:gd name="T7" fmla="*/ 46 h 169"/>
                    <a:gd name="T8" fmla="*/ 185 w 201"/>
                    <a:gd name="T9" fmla="*/ 108 h 169"/>
                    <a:gd name="T10" fmla="*/ 139 w 201"/>
                    <a:gd name="T11" fmla="*/ 150 h 169"/>
                    <a:gd name="T12" fmla="*/ 138 w 201"/>
                    <a:gd name="T13" fmla="*/ 169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1" h="169">
                      <a:moveTo>
                        <a:pt x="138" y="169"/>
                      </a:moveTo>
                      <a:cubicBezTo>
                        <a:pt x="125" y="162"/>
                        <a:pt x="118" y="157"/>
                        <a:pt x="118" y="157"/>
                      </a:cubicBezTo>
                      <a:cubicBezTo>
                        <a:pt x="109" y="160"/>
                        <a:pt x="97" y="160"/>
                        <a:pt x="78" y="156"/>
                      </a:cubicBezTo>
                      <a:cubicBezTo>
                        <a:pt x="33" y="147"/>
                        <a:pt x="0" y="73"/>
                        <a:pt x="64" y="46"/>
                      </a:cubicBezTo>
                      <a:cubicBezTo>
                        <a:pt x="170" y="0"/>
                        <a:pt x="201" y="73"/>
                        <a:pt x="185" y="108"/>
                      </a:cubicBezTo>
                      <a:cubicBezTo>
                        <a:pt x="170" y="142"/>
                        <a:pt x="139" y="150"/>
                        <a:pt x="139" y="150"/>
                      </a:cubicBezTo>
                      <a:cubicBezTo>
                        <a:pt x="133" y="154"/>
                        <a:pt x="138" y="169"/>
                        <a:pt x="138" y="169"/>
                      </a:cubicBezTo>
                      <a:close/>
                    </a:path>
                  </a:pathLst>
                </a:custGeom>
                <a:solidFill>
                  <a:srgbClr val="FF572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15" name="ïśľîḑé"/>
                <p:cNvSpPr/>
                <p:nvPr/>
              </p:nvSpPr>
              <p:spPr bwMode="auto">
                <a:xfrm>
                  <a:off x="5594351" y="1263650"/>
                  <a:ext cx="1033463" cy="725488"/>
                </a:xfrm>
                <a:custGeom>
                  <a:avLst/>
                  <a:gdLst>
                    <a:gd name="T0" fmla="*/ 76 w 206"/>
                    <a:gd name="T1" fmla="*/ 145 h 145"/>
                    <a:gd name="T2" fmla="*/ 83 w 206"/>
                    <a:gd name="T3" fmla="*/ 127 h 145"/>
                    <a:gd name="T4" fmla="*/ 44 w 206"/>
                    <a:gd name="T5" fmla="*/ 123 h 145"/>
                    <a:gd name="T6" fmla="*/ 68 w 206"/>
                    <a:gd name="T7" fmla="*/ 4 h 145"/>
                    <a:gd name="T8" fmla="*/ 178 w 206"/>
                    <a:gd name="T9" fmla="*/ 22 h 145"/>
                    <a:gd name="T10" fmla="*/ 176 w 206"/>
                    <a:gd name="T11" fmla="*/ 115 h 145"/>
                    <a:gd name="T12" fmla="*/ 108 w 206"/>
                    <a:gd name="T13" fmla="*/ 128 h 145"/>
                    <a:gd name="T14" fmla="*/ 76 w 206"/>
                    <a:gd name="T15" fmla="*/ 145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6" h="145">
                      <a:moveTo>
                        <a:pt x="76" y="145"/>
                      </a:moveTo>
                      <a:cubicBezTo>
                        <a:pt x="88" y="135"/>
                        <a:pt x="83" y="127"/>
                        <a:pt x="83" y="127"/>
                      </a:cubicBezTo>
                      <a:cubicBezTo>
                        <a:pt x="74" y="128"/>
                        <a:pt x="59" y="128"/>
                        <a:pt x="44" y="123"/>
                      </a:cubicBezTo>
                      <a:cubicBezTo>
                        <a:pt x="3" y="107"/>
                        <a:pt x="0" y="10"/>
                        <a:pt x="68" y="4"/>
                      </a:cubicBezTo>
                      <a:cubicBezTo>
                        <a:pt x="109" y="0"/>
                        <a:pt x="149" y="1"/>
                        <a:pt x="178" y="22"/>
                      </a:cubicBezTo>
                      <a:cubicBezTo>
                        <a:pt x="206" y="42"/>
                        <a:pt x="199" y="98"/>
                        <a:pt x="176" y="115"/>
                      </a:cubicBezTo>
                      <a:cubicBezTo>
                        <a:pt x="153" y="132"/>
                        <a:pt x="108" y="128"/>
                        <a:pt x="108" y="128"/>
                      </a:cubicBezTo>
                      <a:cubicBezTo>
                        <a:pt x="97" y="145"/>
                        <a:pt x="76" y="145"/>
                        <a:pt x="76" y="145"/>
                      </a:cubicBezTo>
                      <a:close/>
                    </a:path>
                  </a:pathLst>
                </a:custGeom>
                <a:solidFill>
                  <a:srgbClr val="4D99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16" name="ïSḷîďé"/>
                <p:cNvSpPr/>
                <p:nvPr/>
              </p:nvSpPr>
              <p:spPr bwMode="auto">
                <a:xfrm>
                  <a:off x="4641851" y="2555875"/>
                  <a:ext cx="436563" cy="1065213"/>
                </a:xfrm>
                <a:custGeom>
                  <a:avLst/>
                  <a:gdLst>
                    <a:gd name="T0" fmla="*/ 53 w 87"/>
                    <a:gd name="T1" fmla="*/ 0 h 213"/>
                    <a:gd name="T2" fmla="*/ 4 w 87"/>
                    <a:gd name="T3" fmla="*/ 104 h 213"/>
                    <a:gd name="T4" fmla="*/ 28 w 87"/>
                    <a:gd name="T5" fmla="*/ 213 h 213"/>
                    <a:gd name="T6" fmla="*/ 47 w 87"/>
                    <a:gd name="T7" fmla="*/ 206 h 213"/>
                    <a:gd name="T8" fmla="*/ 39 w 87"/>
                    <a:gd name="T9" fmla="*/ 118 h 213"/>
                    <a:gd name="T10" fmla="*/ 77 w 87"/>
                    <a:gd name="T11" fmla="*/ 64 h 213"/>
                    <a:gd name="T12" fmla="*/ 53 w 87"/>
                    <a:gd name="T13" fmla="*/ 0 h 2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7" h="213">
                      <a:moveTo>
                        <a:pt x="53" y="0"/>
                      </a:moveTo>
                      <a:cubicBezTo>
                        <a:pt x="53" y="0"/>
                        <a:pt x="8" y="91"/>
                        <a:pt x="4" y="104"/>
                      </a:cubicBezTo>
                      <a:cubicBezTo>
                        <a:pt x="0" y="118"/>
                        <a:pt x="28" y="213"/>
                        <a:pt x="28" y="213"/>
                      </a:cubicBezTo>
                      <a:cubicBezTo>
                        <a:pt x="28" y="213"/>
                        <a:pt x="43" y="212"/>
                        <a:pt x="47" y="206"/>
                      </a:cubicBezTo>
                      <a:cubicBezTo>
                        <a:pt x="39" y="118"/>
                        <a:pt x="39" y="118"/>
                        <a:pt x="39" y="118"/>
                      </a:cubicBezTo>
                      <a:cubicBezTo>
                        <a:pt x="39" y="118"/>
                        <a:pt x="67" y="99"/>
                        <a:pt x="77" y="64"/>
                      </a:cubicBezTo>
                      <a:cubicBezTo>
                        <a:pt x="87" y="28"/>
                        <a:pt x="53" y="0"/>
                        <a:pt x="53" y="0"/>
                      </a:cubicBezTo>
                      <a:close/>
                    </a:path>
                  </a:pathLst>
                </a:custGeom>
                <a:solidFill>
                  <a:srgbClr val="133A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17" name="išḷîḍê"/>
                <p:cNvSpPr/>
                <p:nvPr/>
              </p:nvSpPr>
              <p:spPr bwMode="auto">
                <a:xfrm>
                  <a:off x="4595813" y="3341688"/>
                  <a:ext cx="622300" cy="415925"/>
                </a:xfrm>
                <a:custGeom>
                  <a:avLst/>
                  <a:gdLst>
                    <a:gd name="T0" fmla="*/ 18 w 124"/>
                    <a:gd name="T1" fmla="*/ 0 h 83"/>
                    <a:gd name="T2" fmla="*/ 116 w 124"/>
                    <a:gd name="T3" fmla="*/ 2 h 83"/>
                    <a:gd name="T4" fmla="*/ 123 w 124"/>
                    <a:gd name="T5" fmla="*/ 8 h 83"/>
                    <a:gd name="T6" fmla="*/ 117 w 124"/>
                    <a:gd name="T7" fmla="*/ 78 h 83"/>
                    <a:gd name="T8" fmla="*/ 108 w 124"/>
                    <a:gd name="T9" fmla="*/ 83 h 83"/>
                    <a:gd name="T10" fmla="*/ 10 w 124"/>
                    <a:gd name="T11" fmla="*/ 82 h 83"/>
                    <a:gd name="T12" fmla="*/ 1 w 124"/>
                    <a:gd name="T13" fmla="*/ 75 h 83"/>
                    <a:gd name="T14" fmla="*/ 7 w 124"/>
                    <a:gd name="T15" fmla="*/ 6 h 83"/>
                    <a:gd name="T16" fmla="*/ 18 w 124"/>
                    <a:gd name="T17" fmla="*/ 0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4" h="83">
                      <a:moveTo>
                        <a:pt x="18" y="0"/>
                      </a:moveTo>
                      <a:cubicBezTo>
                        <a:pt x="116" y="2"/>
                        <a:pt x="116" y="2"/>
                        <a:pt x="116" y="2"/>
                      </a:cubicBezTo>
                      <a:cubicBezTo>
                        <a:pt x="120" y="2"/>
                        <a:pt x="124" y="5"/>
                        <a:pt x="123" y="8"/>
                      </a:cubicBezTo>
                      <a:cubicBezTo>
                        <a:pt x="117" y="78"/>
                        <a:pt x="117" y="78"/>
                        <a:pt x="117" y="78"/>
                      </a:cubicBezTo>
                      <a:cubicBezTo>
                        <a:pt x="116" y="81"/>
                        <a:pt x="112" y="83"/>
                        <a:pt x="108" y="83"/>
                      </a:cubicBezTo>
                      <a:cubicBezTo>
                        <a:pt x="10" y="82"/>
                        <a:pt x="10" y="82"/>
                        <a:pt x="10" y="82"/>
                      </a:cubicBezTo>
                      <a:cubicBezTo>
                        <a:pt x="3" y="80"/>
                        <a:pt x="0" y="79"/>
                        <a:pt x="1" y="75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3"/>
                        <a:pt x="10" y="1"/>
                        <a:pt x="18" y="0"/>
                      </a:cubicBezTo>
                      <a:close/>
                    </a:path>
                  </a:pathLst>
                </a:custGeom>
                <a:solidFill>
                  <a:srgbClr val="97A3C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18" name="iṡ1ïdè"/>
                <p:cNvSpPr/>
                <p:nvPr/>
              </p:nvSpPr>
              <p:spPr bwMode="auto">
                <a:xfrm>
                  <a:off x="4616451" y="3341688"/>
                  <a:ext cx="617538" cy="420688"/>
                </a:xfrm>
                <a:custGeom>
                  <a:avLst/>
                  <a:gdLst>
                    <a:gd name="T0" fmla="*/ 16 w 123"/>
                    <a:gd name="T1" fmla="*/ 0 h 84"/>
                    <a:gd name="T2" fmla="*/ 115 w 123"/>
                    <a:gd name="T3" fmla="*/ 2 h 84"/>
                    <a:gd name="T4" fmla="*/ 122 w 123"/>
                    <a:gd name="T5" fmla="*/ 8 h 84"/>
                    <a:gd name="T6" fmla="*/ 115 w 123"/>
                    <a:gd name="T7" fmla="*/ 78 h 84"/>
                    <a:gd name="T8" fmla="*/ 107 w 123"/>
                    <a:gd name="T9" fmla="*/ 83 h 84"/>
                    <a:gd name="T10" fmla="*/ 9 w 123"/>
                    <a:gd name="T11" fmla="*/ 82 h 84"/>
                    <a:gd name="T12" fmla="*/ 1 w 123"/>
                    <a:gd name="T13" fmla="*/ 76 h 84"/>
                    <a:gd name="T14" fmla="*/ 7 w 123"/>
                    <a:gd name="T15" fmla="*/ 6 h 84"/>
                    <a:gd name="T16" fmla="*/ 16 w 123"/>
                    <a:gd name="T17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3" h="84">
                      <a:moveTo>
                        <a:pt x="16" y="0"/>
                      </a:moveTo>
                      <a:cubicBezTo>
                        <a:pt x="115" y="2"/>
                        <a:pt x="115" y="2"/>
                        <a:pt x="115" y="2"/>
                      </a:cubicBezTo>
                      <a:cubicBezTo>
                        <a:pt x="119" y="2"/>
                        <a:pt x="123" y="5"/>
                        <a:pt x="122" y="8"/>
                      </a:cubicBezTo>
                      <a:cubicBezTo>
                        <a:pt x="115" y="78"/>
                        <a:pt x="115" y="78"/>
                        <a:pt x="115" y="78"/>
                      </a:cubicBezTo>
                      <a:cubicBezTo>
                        <a:pt x="115" y="81"/>
                        <a:pt x="111" y="84"/>
                        <a:pt x="107" y="83"/>
                      </a:cubicBezTo>
                      <a:cubicBezTo>
                        <a:pt x="9" y="82"/>
                        <a:pt x="9" y="82"/>
                        <a:pt x="9" y="82"/>
                      </a:cubicBezTo>
                      <a:cubicBezTo>
                        <a:pt x="4" y="82"/>
                        <a:pt x="0" y="79"/>
                        <a:pt x="1" y="7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8" y="2"/>
                        <a:pt x="12" y="0"/>
                        <a:pt x="16" y="0"/>
                      </a:cubicBezTo>
                      <a:close/>
                    </a:path>
                  </a:pathLst>
                </a:custGeom>
                <a:solidFill>
                  <a:srgbClr val="EDF1F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19" name="îśḻïḓê"/>
                <p:cNvSpPr/>
                <p:nvPr/>
              </p:nvSpPr>
              <p:spPr bwMode="auto">
                <a:xfrm>
                  <a:off x="6116638" y="3160713"/>
                  <a:ext cx="225425" cy="134938"/>
                </a:xfrm>
                <a:custGeom>
                  <a:avLst/>
                  <a:gdLst>
                    <a:gd name="T0" fmla="*/ 5 w 45"/>
                    <a:gd name="T1" fmla="*/ 0 h 27"/>
                    <a:gd name="T2" fmla="*/ 22 w 45"/>
                    <a:gd name="T3" fmla="*/ 3 h 27"/>
                    <a:gd name="T4" fmla="*/ 37 w 45"/>
                    <a:gd name="T5" fmla="*/ 10 h 27"/>
                    <a:gd name="T6" fmla="*/ 44 w 45"/>
                    <a:gd name="T7" fmla="*/ 22 h 27"/>
                    <a:gd name="T8" fmla="*/ 39 w 45"/>
                    <a:gd name="T9" fmla="*/ 23 h 27"/>
                    <a:gd name="T10" fmla="*/ 31 w 45"/>
                    <a:gd name="T11" fmla="*/ 24 h 27"/>
                    <a:gd name="T12" fmla="*/ 18 w 45"/>
                    <a:gd name="T13" fmla="*/ 25 h 27"/>
                    <a:gd name="T14" fmla="*/ 9 w 45"/>
                    <a:gd name="T15" fmla="*/ 19 h 27"/>
                    <a:gd name="T16" fmla="*/ 0 w 45"/>
                    <a:gd name="T17" fmla="*/ 13 h 27"/>
                    <a:gd name="T18" fmla="*/ 5 w 45"/>
                    <a:gd name="T19" fmla="*/ 0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5" h="27">
                      <a:moveTo>
                        <a:pt x="5" y="0"/>
                      </a:moveTo>
                      <a:cubicBezTo>
                        <a:pt x="5" y="0"/>
                        <a:pt x="19" y="2"/>
                        <a:pt x="22" y="3"/>
                      </a:cubicBezTo>
                      <a:cubicBezTo>
                        <a:pt x="25" y="4"/>
                        <a:pt x="36" y="8"/>
                        <a:pt x="37" y="10"/>
                      </a:cubicBezTo>
                      <a:cubicBezTo>
                        <a:pt x="39" y="12"/>
                        <a:pt x="45" y="21"/>
                        <a:pt x="44" y="22"/>
                      </a:cubicBezTo>
                      <a:cubicBezTo>
                        <a:pt x="44" y="22"/>
                        <a:pt x="41" y="23"/>
                        <a:pt x="39" y="23"/>
                      </a:cubicBezTo>
                      <a:cubicBezTo>
                        <a:pt x="38" y="23"/>
                        <a:pt x="37" y="22"/>
                        <a:pt x="31" y="24"/>
                      </a:cubicBezTo>
                      <a:cubicBezTo>
                        <a:pt x="26" y="25"/>
                        <a:pt x="22" y="27"/>
                        <a:pt x="18" y="25"/>
                      </a:cubicBezTo>
                      <a:cubicBezTo>
                        <a:pt x="14" y="24"/>
                        <a:pt x="12" y="23"/>
                        <a:pt x="9" y="19"/>
                      </a:cubicBezTo>
                      <a:cubicBezTo>
                        <a:pt x="6" y="16"/>
                        <a:pt x="1" y="13"/>
                        <a:pt x="0" y="13"/>
                      </a:cubicBez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EC4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20" name="íśḻîďe"/>
                <p:cNvSpPr/>
                <p:nvPr/>
              </p:nvSpPr>
              <p:spPr bwMode="auto">
                <a:xfrm>
                  <a:off x="6242051" y="3151188"/>
                  <a:ext cx="69850" cy="49213"/>
                </a:xfrm>
                <a:custGeom>
                  <a:avLst/>
                  <a:gdLst>
                    <a:gd name="T0" fmla="*/ 2 w 14"/>
                    <a:gd name="T1" fmla="*/ 0 h 10"/>
                    <a:gd name="T2" fmla="*/ 0 w 14"/>
                    <a:gd name="T3" fmla="*/ 8 h 10"/>
                    <a:gd name="T4" fmla="*/ 5 w 14"/>
                    <a:gd name="T5" fmla="*/ 10 h 10"/>
                    <a:gd name="T6" fmla="*/ 9 w 14"/>
                    <a:gd name="T7" fmla="*/ 7 h 10"/>
                    <a:gd name="T8" fmla="*/ 14 w 14"/>
                    <a:gd name="T9" fmla="*/ 8 h 10"/>
                    <a:gd name="T10" fmla="*/ 2 w 14"/>
                    <a:gd name="T11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4" h="10">
                      <a:moveTo>
                        <a:pt x="2" y="0"/>
                      </a:moveTo>
                      <a:cubicBezTo>
                        <a:pt x="1" y="3"/>
                        <a:pt x="0" y="8"/>
                        <a:pt x="0" y="8"/>
                      </a:cubicBezTo>
                      <a:cubicBezTo>
                        <a:pt x="5" y="10"/>
                        <a:pt x="5" y="10"/>
                        <a:pt x="5" y="10"/>
                      </a:cubicBezTo>
                      <a:cubicBezTo>
                        <a:pt x="9" y="7"/>
                        <a:pt x="9" y="7"/>
                        <a:pt x="9" y="7"/>
                      </a:cubicBezTo>
                      <a:cubicBezTo>
                        <a:pt x="14" y="8"/>
                        <a:pt x="14" y="8"/>
                        <a:pt x="14" y="8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EC4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21" name="îsľîḋé"/>
                <p:cNvSpPr/>
                <p:nvPr/>
              </p:nvSpPr>
              <p:spPr bwMode="auto">
                <a:xfrm>
                  <a:off x="6191251" y="3176588"/>
                  <a:ext cx="204788" cy="125413"/>
                </a:xfrm>
                <a:custGeom>
                  <a:avLst/>
                  <a:gdLst>
                    <a:gd name="T0" fmla="*/ 36 w 41"/>
                    <a:gd name="T1" fmla="*/ 1 h 25"/>
                    <a:gd name="T2" fmla="*/ 24 w 41"/>
                    <a:gd name="T3" fmla="*/ 3 h 25"/>
                    <a:gd name="T4" fmla="*/ 16 w 41"/>
                    <a:gd name="T5" fmla="*/ 0 h 25"/>
                    <a:gd name="T6" fmla="*/ 13 w 41"/>
                    <a:gd name="T7" fmla="*/ 3 h 25"/>
                    <a:gd name="T8" fmla="*/ 0 w 41"/>
                    <a:gd name="T9" fmla="*/ 18 h 25"/>
                    <a:gd name="T10" fmla="*/ 15 w 41"/>
                    <a:gd name="T11" fmla="*/ 25 h 25"/>
                    <a:gd name="T12" fmla="*/ 23 w 41"/>
                    <a:gd name="T13" fmla="*/ 25 h 25"/>
                    <a:gd name="T14" fmla="*/ 30 w 41"/>
                    <a:gd name="T15" fmla="*/ 19 h 25"/>
                    <a:gd name="T16" fmla="*/ 41 w 41"/>
                    <a:gd name="T17" fmla="*/ 15 h 25"/>
                    <a:gd name="T18" fmla="*/ 36 w 41"/>
                    <a:gd name="T19" fmla="*/ 1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1" h="25">
                      <a:moveTo>
                        <a:pt x="36" y="1"/>
                      </a:moveTo>
                      <a:cubicBezTo>
                        <a:pt x="24" y="3"/>
                        <a:pt x="24" y="3"/>
                        <a:pt x="24" y="3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13" y="3"/>
                        <a:pt x="13" y="3"/>
                        <a:pt x="13" y="3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15" y="25"/>
                        <a:pt x="15" y="25"/>
                        <a:pt x="15" y="25"/>
                      </a:cubicBezTo>
                      <a:cubicBezTo>
                        <a:pt x="23" y="25"/>
                        <a:pt x="23" y="25"/>
                        <a:pt x="23" y="25"/>
                      </a:cubicBezTo>
                      <a:cubicBezTo>
                        <a:pt x="23" y="25"/>
                        <a:pt x="27" y="19"/>
                        <a:pt x="30" y="19"/>
                      </a:cubicBezTo>
                      <a:cubicBezTo>
                        <a:pt x="33" y="18"/>
                        <a:pt x="41" y="15"/>
                        <a:pt x="41" y="15"/>
                      </a:cubicBezTo>
                      <a:lnTo>
                        <a:pt x="36" y="1"/>
                      </a:lnTo>
                      <a:close/>
                    </a:path>
                  </a:pathLst>
                </a:custGeom>
                <a:solidFill>
                  <a:srgbClr val="FEC4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22" name="îṡ1iďe"/>
                <p:cNvSpPr/>
                <p:nvPr/>
              </p:nvSpPr>
              <p:spPr bwMode="auto">
                <a:xfrm>
                  <a:off x="6326188" y="2595563"/>
                  <a:ext cx="647700" cy="685800"/>
                </a:xfrm>
                <a:custGeom>
                  <a:avLst/>
                  <a:gdLst>
                    <a:gd name="T0" fmla="*/ 0 w 129"/>
                    <a:gd name="T1" fmla="*/ 118 h 137"/>
                    <a:gd name="T2" fmla="*/ 7 w 129"/>
                    <a:gd name="T3" fmla="*/ 137 h 137"/>
                    <a:gd name="T4" fmla="*/ 74 w 129"/>
                    <a:gd name="T5" fmla="*/ 114 h 137"/>
                    <a:gd name="T6" fmla="*/ 129 w 129"/>
                    <a:gd name="T7" fmla="*/ 46 h 137"/>
                    <a:gd name="T8" fmla="*/ 114 w 129"/>
                    <a:gd name="T9" fmla="*/ 8 h 137"/>
                    <a:gd name="T10" fmla="*/ 93 w 129"/>
                    <a:gd name="T11" fmla="*/ 0 h 137"/>
                    <a:gd name="T12" fmla="*/ 50 w 129"/>
                    <a:gd name="T13" fmla="*/ 83 h 137"/>
                    <a:gd name="T14" fmla="*/ 0 w 129"/>
                    <a:gd name="T15" fmla="*/ 118 h 1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9" h="137">
                      <a:moveTo>
                        <a:pt x="0" y="118"/>
                      </a:moveTo>
                      <a:cubicBezTo>
                        <a:pt x="7" y="137"/>
                        <a:pt x="7" y="137"/>
                        <a:pt x="7" y="137"/>
                      </a:cubicBezTo>
                      <a:cubicBezTo>
                        <a:pt x="7" y="137"/>
                        <a:pt x="71" y="117"/>
                        <a:pt x="74" y="114"/>
                      </a:cubicBezTo>
                      <a:cubicBezTo>
                        <a:pt x="78" y="111"/>
                        <a:pt x="129" y="46"/>
                        <a:pt x="129" y="46"/>
                      </a:cubicBezTo>
                      <a:cubicBezTo>
                        <a:pt x="129" y="46"/>
                        <a:pt x="125" y="15"/>
                        <a:pt x="114" y="8"/>
                      </a:cubicBezTo>
                      <a:cubicBezTo>
                        <a:pt x="103" y="0"/>
                        <a:pt x="93" y="0"/>
                        <a:pt x="93" y="0"/>
                      </a:cubicBezTo>
                      <a:cubicBezTo>
                        <a:pt x="50" y="83"/>
                        <a:pt x="50" y="83"/>
                        <a:pt x="50" y="83"/>
                      </a:cubicBezTo>
                      <a:lnTo>
                        <a:pt x="0" y="118"/>
                      </a:lnTo>
                      <a:close/>
                    </a:path>
                  </a:pathLst>
                </a:custGeom>
                <a:solidFill>
                  <a:srgbClr val="3644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23" name="iSľiďe"/>
                <p:cNvSpPr/>
                <p:nvPr/>
              </p:nvSpPr>
              <p:spPr bwMode="auto">
                <a:xfrm>
                  <a:off x="7129463" y="5489575"/>
                  <a:ext cx="195263" cy="100013"/>
                </a:xfrm>
                <a:custGeom>
                  <a:avLst/>
                  <a:gdLst>
                    <a:gd name="T0" fmla="*/ 39 w 39"/>
                    <a:gd name="T1" fmla="*/ 0 h 20"/>
                    <a:gd name="T2" fmla="*/ 39 w 39"/>
                    <a:gd name="T3" fmla="*/ 20 h 20"/>
                    <a:gd name="T4" fmla="*/ 0 w 39"/>
                    <a:gd name="T5" fmla="*/ 20 h 20"/>
                    <a:gd name="T6" fmla="*/ 20 w 39"/>
                    <a:gd name="T7" fmla="*/ 9 h 20"/>
                    <a:gd name="T8" fmla="*/ 23 w 39"/>
                    <a:gd name="T9" fmla="*/ 0 h 20"/>
                    <a:gd name="T10" fmla="*/ 39 w 39"/>
                    <a:gd name="T11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9" h="20">
                      <a:moveTo>
                        <a:pt x="39" y="0"/>
                      </a:moveTo>
                      <a:cubicBezTo>
                        <a:pt x="39" y="20"/>
                        <a:pt x="39" y="20"/>
                        <a:pt x="39" y="20"/>
                      </a:cubicBez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0" y="20"/>
                        <a:pt x="2" y="13"/>
                        <a:pt x="20" y="9"/>
                      </a:cubicBezTo>
                      <a:cubicBezTo>
                        <a:pt x="23" y="0"/>
                        <a:pt x="23" y="0"/>
                        <a:pt x="23" y="0"/>
                      </a:cubicBez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133A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24" name="îslïdè"/>
                <p:cNvSpPr/>
                <p:nvPr/>
              </p:nvSpPr>
              <p:spPr bwMode="auto">
                <a:xfrm>
                  <a:off x="6757988" y="5489575"/>
                  <a:ext cx="190500" cy="100013"/>
                </a:xfrm>
                <a:custGeom>
                  <a:avLst/>
                  <a:gdLst>
                    <a:gd name="T0" fmla="*/ 38 w 38"/>
                    <a:gd name="T1" fmla="*/ 0 h 20"/>
                    <a:gd name="T2" fmla="*/ 38 w 38"/>
                    <a:gd name="T3" fmla="*/ 20 h 20"/>
                    <a:gd name="T4" fmla="*/ 0 w 38"/>
                    <a:gd name="T5" fmla="*/ 20 h 20"/>
                    <a:gd name="T6" fmla="*/ 20 w 38"/>
                    <a:gd name="T7" fmla="*/ 9 h 20"/>
                    <a:gd name="T8" fmla="*/ 22 w 38"/>
                    <a:gd name="T9" fmla="*/ 0 h 20"/>
                    <a:gd name="T10" fmla="*/ 38 w 38"/>
                    <a:gd name="T11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8" h="20">
                      <a:moveTo>
                        <a:pt x="38" y="0"/>
                      </a:moveTo>
                      <a:cubicBezTo>
                        <a:pt x="38" y="20"/>
                        <a:pt x="38" y="20"/>
                        <a:pt x="38" y="20"/>
                      </a:cubicBez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0" y="20"/>
                        <a:pt x="1" y="13"/>
                        <a:pt x="20" y="9"/>
                      </a:cubicBezTo>
                      <a:cubicBezTo>
                        <a:pt x="22" y="0"/>
                        <a:pt x="22" y="0"/>
                        <a:pt x="22" y="0"/>
                      </a:cubicBez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133A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25" name="îSlïḋé"/>
                <p:cNvSpPr/>
                <p:nvPr/>
              </p:nvSpPr>
              <p:spPr bwMode="auto">
                <a:xfrm>
                  <a:off x="6762751" y="2249488"/>
                  <a:ext cx="471488" cy="576263"/>
                </a:xfrm>
                <a:custGeom>
                  <a:avLst/>
                  <a:gdLst>
                    <a:gd name="T0" fmla="*/ 70 w 94"/>
                    <a:gd name="T1" fmla="*/ 25 h 115"/>
                    <a:gd name="T2" fmla="*/ 74 w 94"/>
                    <a:gd name="T3" fmla="*/ 45 h 115"/>
                    <a:gd name="T4" fmla="*/ 94 w 94"/>
                    <a:gd name="T5" fmla="*/ 56 h 115"/>
                    <a:gd name="T6" fmla="*/ 20 w 94"/>
                    <a:gd name="T7" fmla="*/ 115 h 115"/>
                    <a:gd name="T8" fmla="*/ 29 w 94"/>
                    <a:gd name="T9" fmla="*/ 59 h 115"/>
                    <a:gd name="T10" fmla="*/ 40 w 94"/>
                    <a:gd name="T11" fmla="*/ 49 h 115"/>
                    <a:gd name="T12" fmla="*/ 43 w 94"/>
                    <a:gd name="T13" fmla="*/ 30 h 115"/>
                    <a:gd name="T14" fmla="*/ 67 w 94"/>
                    <a:gd name="T15" fmla="*/ 0 h 115"/>
                    <a:gd name="T16" fmla="*/ 70 w 94"/>
                    <a:gd name="T17" fmla="*/ 25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4" h="115">
                      <a:moveTo>
                        <a:pt x="70" y="25"/>
                      </a:moveTo>
                      <a:cubicBezTo>
                        <a:pt x="70" y="35"/>
                        <a:pt x="72" y="40"/>
                        <a:pt x="74" y="45"/>
                      </a:cubicBezTo>
                      <a:cubicBezTo>
                        <a:pt x="76" y="51"/>
                        <a:pt x="94" y="56"/>
                        <a:pt x="94" y="56"/>
                      </a:cubicBezTo>
                      <a:cubicBezTo>
                        <a:pt x="94" y="56"/>
                        <a:pt x="41" y="115"/>
                        <a:pt x="20" y="115"/>
                      </a:cubicBezTo>
                      <a:cubicBezTo>
                        <a:pt x="0" y="115"/>
                        <a:pt x="29" y="59"/>
                        <a:pt x="29" y="59"/>
                      </a:cubicBezTo>
                      <a:cubicBezTo>
                        <a:pt x="29" y="59"/>
                        <a:pt x="38" y="54"/>
                        <a:pt x="40" y="49"/>
                      </a:cubicBezTo>
                      <a:cubicBezTo>
                        <a:pt x="42" y="43"/>
                        <a:pt x="43" y="30"/>
                        <a:pt x="43" y="30"/>
                      </a:cubicBezTo>
                      <a:cubicBezTo>
                        <a:pt x="67" y="0"/>
                        <a:pt x="67" y="0"/>
                        <a:pt x="67" y="0"/>
                      </a:cubicBezTo>
                      <a:lnTo>
                        <a:pt x="70" y="25"/>
                      </a:lnTo>
                      <a:close/>
                    </a:path>
                  </a:pathLst>
                </a:custGeom>
                <a:solidFill>
                  <a:srgbClr val="FEC4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5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26" name="ïś1íde"/>
                <p:cNvSpPr/>
                <p:nvPr/>
              </p:nvSpPr>
              <p:spPr bwMode="auto">
                <a:xfrm>
                  <a:off x="6862763" y="2079625"/>
                  <a:ext cx="306388" cy="390525"/>
                </a:xfrm>
                <a:custGeom>
                  <a:avLst/>
                  <a:gdLst>
                    <a:gd name="T0" fmla="*/ 11 w 61"/>
                    <a:gd name="T1" fmla="*/ 0 h 78"/>
                    <a:gd name="T2" fmla="*/ 1 w 61"/>
                    <a:gd name="T3" fmla="*/ 11 h 78"/>
                    <a:gd name="T4" fmla="*/ 0 w 61"/>
                    <a:gd name="T5" fmla="*/ 30 h 78"/>
                    <a:gd name="T6" fmla="*/ 2 w 61"/>
                    <a:gd name="T7" fmla="*/ 59 h 78"/>
                    <a:gd name="T8" fmla="*/ 6 w 61"/>
                    <a:gd name="T9" fmla="*/ 76 h 78"/>
                    <a:gd name="T10" fmla="*/ 27 w 61"/>
                    <a:gd name="T11" fmla="*/ 76 h 78"/>
                    <a:gd name="T12" fmla="*/ 47 w 61"/>
                    <a:gd name="T13" fmla="*/ 43 h 78"/>
                    <a:gd name="T14" fmla="*/ 59 w 61"/>
                    <a:gd name="T15" fmla="*/ 32 h 78"/>
                    <a:gd name="T16" fmla="*/ 47 w 61"/>
                    <a:gd name="T17" fmla="*/ 11 h 78"/>
                    <a:gd name="T18" fmla="*/ 18 w 61"/>
                    <a:gd name="T19" fmla="*/ 3 h 78"/>
                    <a:gd name="T20" fmla="*/ 11 w 61"/>
                    <a:gd name="T21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1" h="78">
                      <a:moveTo>
                        <a:pt x="11" y="0"/>
                      </a:moveTo>
                      <a:cubicBezTo>
                        <a:pt x="8" y="3"/>
                        <a:pt x="2" y="7"/>
                        <a:pt x="1" y="11"/>
                      </a:cubicBezTo>
                      <a:cubicBezTo>
                        <a:pt x="1" y="14"/>
                        <a:pt x="0" y="25"/>
                        <a:pt x="0" y="30"/>
                      </a:cubicBezTo>
                      <a:cubicBezTo>
                        <a:pt x="1" y="36"/>
                        <a:pt x="1" y="52"/>
                        <a:pt x="2" y="59"/>
                      </a:cubicBezTo>
                      <a:cubicBezTo>
                        <a:pt x="3" y="66"/>
                        <a:pt x="4" y="75"/>
                        <a:pt x="6" y="76"/>
                      </a:cubicBezTo>
                      <a:cubicBezTo>
                        <a:pt x="7" y="78"/>
                        <a:pt x="24" y="78"/>
                        <a:pt x="27" y="76"/>
                      </a:cubicBezTo>
                      <a:cubicBezTo>
                        <a:pt x="31" y="75"/>
                        <a:pt x="48" y="58"/>
                        <a:pt x="47" y="43"/>
                      </a:cubicBezTo>
                      <a:cubicBezTo>
                        <a:pt x="47" y="43"/>
                        <a:pt x="54" y="46"/>
                        <a:pt x="59" y="32"/>
                      </a:cubicBezTo>
                      <a:cubicBezTo>
                        <a:pt x="61" y="29"/>
                        <a:pt x="49" y="15"/>
                        <a:pt x="47" y="11"/>
                      </a:cubicBezTo>
                      <a:cubicBezTo>
                        <a:pt x="44" y="1"/>
                        <a:pt x="24" y="4"/>
                        <a:pt x="18" y="3"/>
                      </a:cubicBezTo>
                      <a:cubicBezTo>
                        <a:pt x="13" y="3"/>
                        <a:pt x="11" y="0"/>
                        <a:pt x="11" y="0"/>
                      </a:cubicBezTo>
                      <a:close/>
                    </a:path>
                  </a:pathLst>
                </a:custGeom>
                <a:solidFill>
                  <a:srgbClr val="FEC4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27" name="íṩ1íḋé"/>
                <p:cNvSpPr/>
                <p:nvPr/>
              </p:nvSpPr>
              <p:spPr bwMode="auto">
                <a:xfrm>
                  <a:off x="6832601" y="1979613"/>
                  <a:ext cx="387350" cy="395288"/>
                </a:xfrm>
                <a:custGeom>
                  <a:avLst/>
                  <a:gdLst>
                    <a:gd name="T0" fmla="*/ 7 w 77"/>
                    <a:gd name="T1" fmla="*/ 31 h 79"/>
                    <a:gd name="T2" fmla="*/ 13 w 77"/>
                    <a:gd name="T3" fmla="*/ 28 h 79"/>
                    <a:gd name="T4" fmla="*/ 32 w 77"/>
                    <a:gd name="T5" fmla="*/ 31 h 79"/>
                    <a:gd name="T6" fmla="*/ 45 w 77"/>
                    <a:gd name="T7" fmla="*/ 28 h 79"/>
                    <a:gd name="T8" fmla="*/ 47 w 77"/>
                    <a:gd name="T9" fmla="*/ 39 h 79"/>
                    <a:gd name="T10" fmla="*/ 53 w 77"/>
                    <a:gd name="T11" fmla="*/ 48 h 79"/>
                    <a:gd name="T12" fmla="*/ 53 w 77"/>
                    <a:gd name="T13" fmla="*/ 54 h 79"/>
                    <a:gd name="T14" fmla="*/ 60 w 77"/>
                    <a:gd name="T15" fmla="*/ 49 h 79"/>
                    <a:gd name="T16" fmla="*/ 60 w 77"/>
                    <a:gd name="T17" fmla="*/ 58 h 79"/>
                    <a:gd name="T18" fmla="*/ 53 w 77"/>
                    <a:gd name="T19" fmla="*/ 63 h 79"/>
                    <a:gd name="T20" fmla="*/ 54 w 77"/>
                    <a:gd name="T21" fmla="*/ 70 h 79"/>
                    <a:gd name="T22" fmla="*/ 56 w 77"/>
                    <a:gd name="T23" fmla="*/ 79 h 79"/>
                    <a:gd name="T24" fmla="*/ 69 w 77"/>
                    <a:gd name="T25" fmla="*/ 52 h 79"/>
                    <a:gd name="T26" fmla="*/ 66 w 77"/>
                    <a:gd name="T27" fmla="*/ 23 h 79"/>
                    <a:gd name="T28" fmla="*/ 51 w 77"/>
                    <a:gd name="T29" fmla="*/ 5 h 79"/>
                    <a:gd name="T30" fmla="*/ 15 w 77"/>
                    <a:gd name="T31" fmla="*/ 4 h 79"/>
                    <a:gd name="T32" fmla="*/ 6 w 77"/>
                    <a:gd name="T33" fmla="*/ 0 h 79"/>
                    <a:gd name="T34" fmla="*/ 4 w 77"/>
                    <a:gd name="T35" fmla="*/ 19 h 79"/>
                    <a:gd name="T36" fmla="*/ 7 w 77"/>
                    <a:gd name="T37" fmla="*/ 31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77" h="79">
                      <a:moveTo>
                        <a:pt x="7" y="31"/>
                      </a:moveTo>
                      <a:cubicBezTo>
                        <a:pt x="7" y="31"/>
                        <a:pt x="9" y="26"/>
                        <a:pt x="13" y="28"/>
                      </a:cubicBezTo>
                      <a:cubicBezTo>
                        <a:pt x="17" y="30"/>
                        <a:pt x="26" y="31"/>
                        <a:pt x="32" y="31"/>
                      </a:cubicBezTo>
                      <a:cubicBezTo>
                        <a:pt x="39" y="30"/>
                        <a:pt x="45" y="28"/>
                        <a:pt x="45" y="28"/>
                      </a:cubicBezTo>
                      <a:cubicBezTo>
                        <a:pt x="45" y="28"/>
                        <a:pt x="45" y="37"/>
                        <a:pt x="47" y="39"/>
                      </a:cubicBezTo>
                      <a:cubicBezTo>
                        <a:pt x="48" y="42"/>
                        <a:pt x="52" y="45"/>
                        <a:pt x="53" y="48"/>
                      </a:cubicBezTo>
                      <a:cubicBezTo>
                        <a:pt x="53" y="51"/>
                        <a:pt x="53" y="54"/>
                        <a:pt x="53" y="54"/>
                      </a:cubicBezTo>
                      <a:cubicBezTo>
                        <a:pt x="53" y="54"/>
                        <a:pt x="57" y="48"/>
                        <a:pt x="60" y="49"/>
                      </a:cubicBezTo>
                      <a:cubicBezTo>
                        <a:pt x="63" y="50"/>
                        <a:pt x="63" y="56"/>
                        <a:pt x="60" y="58"/>
                      </a:cubicBezTo>
                      <a:cubicBezTo>
                        <a:pt x="57" y="61"/>
                        <a:pt x="53" y="63"/>
                        <a:pt x="53" y="63"/>
                      </a:cubicBezTo>
                      <a:cubicBezTo>
                        <a:pt x="53" y="63"/>
                        <a:pt x="53" y="67"/>
                        <a:pt x="54" y="70"/>
                      </a:cubicBezTo>
                      <a:cubicBezTo>
                        <a:pt x="55" y="73"/>
                        <a:pt x="56" y="79"/>
                        <a:pt x="56" y="79"/>
                      </a:cubicBezTo>
                      <a:cubicBezTo>
                        <a:pt x="56" y="79"/>
                        <a:pt x="63" y="60"/>
                        <a:pt x="69" y="52"/>
                      </a:cubicBezTo>
                      <a:cubicBezTo>
                        <a:pt x="75" y="45"/>
                        <a:pt x="77" y="29"/>
                        <a:pt x="66" y="23"/>
                      </a:cubicBezTo>
                      <a:cubicBezTo>
                        <a:pt x="66" y="23"/>
                        <a:pt x="66" y="8"/>
                        <a:pt x="51" y="5"/>
                      </a:cubicBezTo>
                      <a:cubicBezTo>
                        <a:pt x="35" y="2"/>
                        <a:pt x="21" y="6"/>
                        <a:pt x="15" y="4"/>
                      </a:cubicBezTo>
                      <a:cubicBezTo>
                        <a:pt x="8" y="2"/>
                        <a:pt x="6" y="0"/>
                        <a:pt x="6" y="0"/>
                      </a:cubicBezTo>
                      <a:cubicBezTo>
                        <a:pt x="6" y="0"/>
                        <a:pt x="0" y="11"/>
                        <a:pt x="4" y="19"/>
                      </a:cubicBezTo>
                      <a:cubicBezTo>
                        <a:pt x="7" y="26"/>
                        <a:pt x="7" y="31"/>
                        <a:pt x="7" y="31"/>
                      </a:cubicBezTo>
                      <a:close/>
                    </a:path>
                  </a:pathLst>
                </a:custGeom>
                <a:solidFill>
                  <a:srgbClr val="7B2B1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28" name="íṥlïďê"/>
                <p:cNvSpPr/>
                <p:nvPr/>
              </p:nvSpPr>
              <p:spPr bwMode="auto">
                <a:xfrm>
                  <a:off x="6862763" y="2205038"/>
                  <a:ext cx="241300" cy="279400"/>
                </a:xfrm>
                <a:custGeom>
                  <a:avLst/>
                  <a:gdLst>
                    <a:gd name="T0" fmla="*/ 1 w 48"/>
                    <a:gd name="T1" fmla="*/ 23 h 56"/>
                    <a:gd name="T2" fmla="*/ 5 w 48"/>
                    <a:gd name="T3" fmla="*/ 29 h 56"/>
                    <a:gd name="T4" fmla="*/ 14 w 48"/>
                    <a:gd name="T5" fmla="*/ 26 h 56"/>
                    <a:gd name="T6" fmla="*/ 27 w 48"/>
                    <a:gd name="T7" fmla="*/ 31 h 56"/>
                    <a:gd name="T8" fmla="*/ 42 w 48"/>
                    <a:gd name="T9" fmla="*/ 16 h 56"/>
                    <a:gd name="T10" fmla="*/ 46 w 48"/>
                    <a:gd name="T11" fmla="*/ 0 h 56"/>
                    <a:gd name="T12" fmla="*/ 48 w 48"/>
                    <a:gd name="T13" fmla="*/ 3 h 56"/>
                    <a:gd name="T14" fmla="*/ 46 w 48"/>
                    <a:gd name="T15" fmla="*/ 26 h 56"/>
                    <a:gd name="T16" fmla="*/ 32 w 48"/>
                    <a:gd name="T17" fmla="*/ 51 h 56"/>
                    <a:gd name="T18" fmla="*/ 5 w 48"/>
                    <a:gd name="T19" fmla="*/ 51 h 56"/>
                    <a:gd name="T20" fmla="*/ 1 w 48"/>
                    <a:gd name="T21" fmla="*/ 35 h 56"/>
                    <a:gd name="T22" fmla="*/ 1 w 48"/>
                    <a:gd name="T23" fmla="*/ 23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8" h="56">
                      <a:moveTo>
                        <a:pt x="1" y="23"/>
                      </a:moveTo>
                      <a:cubicBezTo>
                        <a:pt x="2" y="27"/>
                        <a:pt x="3" y="30"/>
                        <a:pt x="5" y="29"/>
                      </a:cubicBezTo>
                      <a:cubicBezTo>
                        <a:pt x="8" y="29"/>
                        <a:pt x="8" y="26"/>
                        <a:pt x="14" y="26"/>
                      </a:cubicBezTo>
                      <a:cubicBezTo>
                        <a:pt x="19" y="26"/>
                        <a:pt x="23" y="30"/>
                        <a:pt x="27" y="31"/>
                      </a:cubicBezTo>
                      <a:cubicBezTo>
                        <a:pt x="31" y="32"/>
                        <a:pt x="40" y="24"/>
                        <a:pt x="42" y="16"/>
                      </a:cubicBezTo>
                      <a:cubicBezTo>
                        <a:pt x="44" y="8"/>
                        <a:pt x="46" y="0"/>
                        <a:pt x="46" y="0"/>
                      </a:cubicBezTo>
                      <a:cubicBezTo>
                        <a:pt x="48" y="3"/>
                        <a:pt x="48" y="3"/>
                        <a:pt x="48" y="3"/>
                      </a:cubicBezTo>
                      <a:cubicBezTo>
                        <a:pt x="48" y="3"/>
                        <a:pt x="47" y="17"/>
                        <a:pt x="46" y="26"/>
                      </a:cubicBezTo>
                      <a:cubicBezTo>
                        <a:pt x="46" y="34"/>
                        <a:pt x="42" y="46"/>
                        <a:pt x="32" y="51"/>
                      </a:cubicBezTo>
                      <a:cubicBezTo>
                        <a:pt x="22" y="56"/>
                        <a:pt x="8" y="54"/>
                        <a:pt x="5" y="51"/>
                      </a:cubicBezTo>
                      <a:cubicBezTo>
                        <a:pt x="3" y="49"/>
                        <a:pt x="2" y="39"/>
                        <a:pt x="1" y="35"/>
                      </a:cubicBezTo>
                      <a:cubicBezTo>
                        <a:pt x="0" y="31"/>
                        <a:pt x="1" y="23"/>
                        <a:pt x="1" y="23"/>
                      </a:cubicBezTo>
                      <a:close/>
                    </a:path>
                  </a:pathLst>
                </a:custGeom>
                <a:solidFill>
                  <a:srgbClr val="7B2B1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29" name="í$ľïdê"/>
                <p:cNvSpPr/>
                <p:nvPr/>
              </p:nvSpPr>
              <p:spPr bwMode="auto">
                <a:xfrm>
                  <a:off x="6853238" y="3441700"/>
                  <a:ext cx="485775" cy="2047875"/>
                </a:xfrm>
                <a:custGeom>
                  <a:avLst/>
                  <a:gdLst>
                    <a:gd name="T0" fmla="*/ 79 w 97"/>
                    <a:gd name="T1" fmla="*/ 9 h 409"/>
                    <a:gd name="T2" fmla="*/ 96 w 97"/>
                    <a:gd name="T3" fmla="*/ 141 h 409"/>
                    <a:gd name="T4" fmla="*/ 97 w 97"/>
                    <a:gd name="T5" fmla="*/ 409 h 409"/>
                    <a:gd name="T6" fmla="*/ 69 w 97"/>
                    <a:gd name="T7" fmla="*/ 409 h 409"/>
                    <a:gd name="T8" fmla="*/ 37 w 97"/>
                    <a:gd name="T9" fmla="*/ 172 h 409"/>
                    <a:gd name="T10" fmla="*/ 0 w 97"/>
                    <a:gd name="T11" fmla="*/ 0 h 409"/>
                    <a:gd name="T12" fmla="*/ 79 w 97"/>
                    <a:gd name="T13" fmla="*/ 9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7" h="409">
                      <a:moveTo>
                        <a:pt x="79" y="9"/>
                      </a:moveTo>
                      <a:cubicBezTo>
                        <a:pt x="79" y="9"/>
                        <a:pt x="96" y="73"/>
                        <a:pt x="96" y="141"/>
                      </a:cubicBezTo>
                      <a:cubicBezTo>
                        <a:pt x="96" y="209"/>
                        <a:pt x="97" y="409"/>
                        <a:pt x="97" y="409"/>
                      </a:cubicBezTo>
                      <a:cubicBezTo>
                        <a:pt x="69" y="409"/>
                        <a:pt x="69" y="409"/>
                        <a:pt x="69" y="409"/>
                      </a:cubicBezTo>
                      <a:cubicBezTo>
                        <a:pt x="69" y="409"/>
                        <a:pt x="48" y="216"/>
                        <a:pt x="37" y="172"/>
                      </a:cubicBezTo>
                      <a:cubicBezTo>
                        <a:pt x="27" y="128"/>
                        <a:pt x="0" y="0"/>
                        <a:pt x="0" y="0"/>
                      </a:cubicBezTo>
                      <a:lnTo>
                        <a:pt x="79" y="9"/>
                      </a:lnTo>
                      <a:close/>
                    </a:path>
                  </a:pathLst>
                </a:custGeom>
                <a:solidFill>
                  <a:srgbClr val="133A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30" name="iṥ1idè"/>
                <p:cNvSpPr/>
                <p:nvPr/>
              </p:nvSpPr>
              <p:spPr bwMode="auto">
                <a:xfrm>
                  <a:off x="6667501" y="3441700"/>
                  <a:ext cx="346075" cy="2047875"/>
                </a:xfrm>
                <a:custGeom>
                  <a:avLst/>
                  <a:gdLst>
                    <a:gd name="T0" fmla="*/ 69 w 69"/>
                    <a:gd name="T1" fmla="*/ 79 h 409"/>
                    <a:gd name="T2" fmla="*/ 63 w 69"/>
                    <a:gd name="T3" fmla="*/ 203 h 409"/>
                    <a:gd name="T4" fmla="*/ 63 w 69"/>
                    <a:gd name="T5" fmla="*/ 409 h 409"/>
                    <a:gd name="T6" fmla="*/ 37 w 69"/>
                    <a:gd name="T7" fmla="*/ 409 h 409"/>
                    <a:gd name="T8" fmla="*/ 10 w 69"/>
                    <a:gd name="T9" fmla="*/ 163 h 409"/>
                    <a:gd name="T10" fmla="*/ 4 w 69"/>
                    <a:gd name="T11" fmla="*/ 46 h 409"/>
                    <a:gd name="T12" fmla="*/ 16 w 69"/>
                    <a:gd name="T13" fmla="*/ 0 h 409"/>
                    <a:gd name="T14" fmla="*/ 52 w 69"/>
                    <a:gd name="T15" fmla="*/ 9 h 409"/>
                    <a:gd name="T16" fmla="*/ 69 w 69"/>
                    <a:gd name="T17" fmla="*/ 79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409">
                      <a:moveTo>
                        <a:pt x="69" y="79"/>
                      </a:moveTo>
                      <a:cubicBezTo>
                        <a:pt x="69" y="79"/>
                        <a:pt x="64" y="183"/>
                        <a:pt x="63" y="203"/>
                      </a:cubicBezTo>
                      <a:cubicBezTo>
                        <a:pt x="62" y="224"/>
                        <a:pt x="63" y="409"/>
                        <a:pt x="63" y="409"/>
                      </a:cubicBezTo>
                      <a:cubicBezTo>
                        <a:pt x="63" y="409"/>
                        <a:pt x="37" y="409"/>
                        <a:pt x="37" y="409"/>
                      </a:cubicBezTo>
                      <a:cubicBezTo>
                        <a:pt x="37" y="408"/>
                        <a:pt x="13" y="214"/>
                        <a:pt x="10" y="163"/>
                      </a:cubicBezTo>
                      <a:cubicBezTo>
                        <a:pt x="7" y="113"/>
                        <a:pt x="8" y="53"/>
                        <a:pt x="4" y="46"/>
                      </a:cubicBezTo>
                      <a:cubicBezTo>
                        <a:pt x="0" y="39"/>
                        <a:pt x="16" y="0"/>
                        <a:pt x="16" y="0"/>
                      </a:cubicBezTo>
                      <a:cubicBezTo>
                        <a:pt x="52" y="9"/>
                        <a:pt x="52" y="9"/>
                        <a:pt x="52" y="9"/>
                      </a:cubicBezTo>
                      <a:lnTo>
                        <a:pt x="69" y="79"/>
                      </a:lnTo>
                      <a:close/>
                    </a:path>
                  </a:pathLst>
                </a:custGeom>
                <a:solidFill>
                  <a:srgbClr val="133A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31" name="íṣlíḋé"/>
                <p:cNvSpPr/>
                <p:nvPr/>
              </p:nvSpPr>
              <p:spPr bwMode="auto">
                <a:xfrm>
                  <a:off x="4897438" y="5489575"/>
                  <a:ext cx="190500" cy="100013"/>
                </a:xfrm>
                <a:custGeom>
                  <a:avLst/>
                  <a:gdLst>
                    <a:gd name="T0" fmla="*/ 0 w 38"/>
                    <a:gd name="T1" fmla="*/ 0 h 20"/>
                    <a:gd name="T2" fmla="*/ 0 w 38"/>
                    <a:gd name="T3" fmla="*/ 20 h 20"/>
                    <a:gd name="T4" fmla="*/ 38 w 38"/>
                    <a:gd name="T5" fmla="*/ 20 h 20"/>
                    <a:gd name="T6" fmla="*/ 18 w 38"/>
                    <a:gd name="T7" fmla="*/ 9 h 20"/>
                    <a:gd name="T8" fmla="*/ 16 w 38"/>
                    <a:gd name="T9" fmla="*/ 0 h 20"/>
                    <a:gd name="T10" fmla="*/ 0 w 38"/>
                    <a:gd name="T11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8" h="20">
                      <a:moveTo>
                        <a:pt x="0" y="0"/>
                      </a:move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38" y="20"/>
                        <a:pt x="38" y="20"/>
                        <a:pt x="38" y="20"/>
                      </a:cubicBezTo>
                      <a:cubicBezTo>
                        <a:pt x="38" y="20"/>
                        <a:pt x="36" y="13"/>
                        <a:pt x="18" y="9"/>
                      </a:cubicBezTo>
                      <a:cubicBezTo>
                        <a:pt x="16" y="0"/>
                        <a:pt x="16" y="0"/>
                        <a:pt x="16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33A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32" name="iṥḻiḑè"/>
                <p:cNvSpPr/>
                <p:nvPr/>
              </p:nvSpPr>
              <p:spPr bwMode="auto">
                <a:xfrm>
                  <a:off x="5318126" y="5489575"/>
                  <a:ext cx="190500" cy="100013"/>
                </a:xfrm>
                <a:custGeom>
                  <a:avLst/>
                  <a:gdLst>
                    <a:gd name="T0" fmla="*/ 0 w 38"/>
                    <a:gd name="T1" fmla="*/ 0 h 20"/>
                    <a:gd name="T2" fmla="*/ 0 w 38"/>
                    <a:gd name="T3" fmla="*/ 20 h 20"/>
                    <a:gd name="T4" fmla="*/ 38 w 38"/>
                    <a:gd name="T5" fmla="*/ 20 h 20"/>
                    <a:gd name="T6" fmla="*/ 19 w 38"/>
                    <a:gd name="T7" fmla="*/ 9 h 20"/>
                    <a:gd name="T8" fmla="*/ 16 w 38"/>
                    <a:gd name="T9" fmla="*/ 0 h 20"/>
                    <a:gd name="T10" fmla="*/ 0 w 38"/>
                    <a:gd name="T11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8" h="20">
                      <a:moveTo>
                        <a:pt x="0" y="0"/>
                      </a:move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38" y="20"/>
                        <a:pt x="38" y="20"/>
                        <a:pt x="38" y="20"/>
                      </a:cubicBezTo>
                      <a:cubicBezTo>
                        <a:pt x="38" y="20"/>
                        <a:pt x="37" y="13"/>
                        <a:pt x="19" y="9"/>
                      </a:cubicBezTo>
                      <a:cubicBezTo>
                        <a:pt x="16" y="0"/>
                        <a:pt x="16" y="0"/>
                        <a:pt x="16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33A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33" name="ïsḷíḑé"/>
                <p:cNvSpPr/>
                <p:nvPr/>
              </p:nvSpPr>
              <p:spPr bwMode="auto">
                <a:xfrm>
                  <a:off x="4846638" y="3441700"/>
                  <a:ext cx="482600" cy="2047875"/>
                </a:xfrm>
                <a:custGeom>
                  <a:avLst/>
                  <a:gdLst>
                    <a:gd name="T0" fmla="*/ 18 w 96"/>
                    <a:gd name="T1" fmla="*/ 9 h 409"/>
                    <a:gd name="T2" fmla="*/ 1 w 96"/>
                    <a:gd name="T3" fmla="*/ 141 h 409"/>
                    <a:gd name="T4" fmla="*/ 0 w 96"/>
                    <a:gd name="T5" fmla="*/ 409 h 409"/>
                    <a:gd name="T6" fmla="*/ 27 w 96"/>
                    <a:gd name="T7" fmla="*/ 409 h 409"/>
                    <a:gd name="T8" fmla="*/ 59 w 96"/>
                    <a:gd name="T9" fmla="*/ 172 h 409"/>
                    <a:gd name="T10" fmla="*/ 96 w 96"/>
                    <a:gd name="T11" fmla="*/ 0 h 409"/>
                    <a:gd name="T12" fmla="*/ 18 w 96"/>
                    <a:gd name="T13" fmla="*/ 9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6" h="409">
                      <a:moveTo>
                        <a:pt x="18" y="9"/>
                      </a:moveTo>
                      <a:cubicBezTo>
                        <a:pt x="18" y="9"/>
                        <a:pt x="1" y="73"/>
                        <a:pt x="1" y="141"/>
                      </a:cubicBezTo>
                      <a:cubicBezTo>
                        <a:pt x="0" y="209"/>
                        <a:pt x="0" y="409"/>
                        <a:pt x="0" y="409"/>
                      </a:cubicBezTo>
                      <a:cubicBezTo>
                        <a:pt x="27" y="409"/>
                        <a:pt x="27" y="409"/>
                        <a:pt x="27" y="409"/>
                      </a:cubicBezTo>
                      <a:cubicBezTo>
                        <a:pt x="27" y="409"/>
                        <a:pt x="49" y="216"/>
                        <a:pt x="59" y="172"/>
                      </a:cubicBezTo>
                      <a:cubicBezTo>
                        <a:pt x="70" y="128"/>
                        <a:pt x="96" y="0"/>
                        <a:pt x="96" y="0"/>
                      </a:cubicBezTo>
                      <a:lnTo>
                        <a:pt x="18" y="9"/>
                      </a:lnTo>
                      <a:close/>
                    </a:path>
                  </a:pathLst>
                </a:custGeom>
                <a:solidFill>
                  <a:srgbClr val="133A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34" name="ïṧ1îḑe"/>
                <p:cNvSpPr/>
                <p:nvPr/>
              </p:nvSpPr>
              <p:spPr bwMode="auto">
                <a:xfrm>
                  <a:off x="5168901" y="3441700"/>
                  <a:ext cx="350838" cy="2047875"/>
                </a:xfrm>
                <a:custGeom>
                  <a:avLst/>
                  <a:gdLst>
                    <a:gd name="T0" fmla="*/ 0 w 70"/>
                    <a:gd name="T1" fmla="*/ 79 h 409"/>
                    <a:gd name="T2" fmla="*/ 7 w 70"/>
                    <a:gd name="T3" fmla="*/ 203 h 409"/>
                    <a:gd name="T4" fmla="*/ 23 w 70"/>
                    <a:gd name="T5" fmla="*/ 409 h 409"/>
                    <a:gd name="T6" fmla="*/ 49 w 70"/>
                    <a:gd name="T7" fmla="*/ 409 h 409"/>
                    <a:gd name="T8" fmla="*/ 63 w 70"/>
                    <a:gd name="T9" fmla="*/ 163 h 409"/>
                    <a:gd name="T10" fmla="*/ 65 w 70"/>
                    <a:gd name="T11" fmla="*/ 46 h 409"/>
                    <a:gd name="T12" fmla="*/ 54 w 70"/>
                    <a:gd name="T13" fmla="*/ 0 h 409"/>
                    <a:gd name="T14" fmla="*/ 18 w 70"/>
                    <a:gd name="T15" fmla="*/ 9 h 409"/>
                    <a:gd name="T16" fmla="*/ 0 w 70"/>
                    <a:gd name="T17" fmla="*/ 79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0" h="409">
                      <a:moveTo>
                        <a:pt x="0" y="79"/>
                      </a:moveTo>
                      <a:cubicBezTo>
                        <a:pt x="0" y="79"/>
                        <a:pt x="6" y="183"/>
                        <a:pt x="7" y="203"/>
                      </a:cubicBezTo>
                      <a:cubicBezTo>
                        <a:pt x="8" y="224"/>
                        <a:pt x="23" y="409"/>
                        <a:pt x="23" y="409"/>
                      </a:cubicBezTo>
                      <a:cubicBezTo>
                        <a:pt x="23" y="409"/>
                        <a:pt x="49" y="409"/>
                        <a:pt x="49" y="409"/>
                      </a:cubicBezTo>
                      <a:cubicBezTo>
                        <a:pt x="49" y="408"/>
                        <a:pt x="60" y="214"/>
                        <a:pt x="63" y="163"/>
                      </a:cubicBezTo>
                      <a:cubicBezTo>
                        <a:pt x="66" y="113"/>
                        <a:pt x="61" y="53"/>
                        <a:pt x="65" y="46"/>
                      </a:cubicBezTo>
                      <a:cubicBezTo>
                        <a:pt x="70" y="39"/>
                        <a:pt x="54" y="0"/>
                        <a:pt x="54" y="0"/>
                      </a:cubicBezTo>
                      <a:cubicBezTo>
                        <a:pt x="18" y="9"/>
                        <a:pt x="18" y="9"/>
                        <a:pt x="18" y="9"/>
                      </a:cubicBezTo>
                      <a:lnTo>
                        <a:pt x="0" y="79"/>
                      </a:lnTo>
                      <a:close/>
                    </a:path>
                  </a:pathLst>
                </a:custGeom>
                <a:solidFill>
                  <a:srgbClr val="133A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35" name="işlíḍé"/>
                <p:cNvSpPr/>
                <p:nvPr/>
              </p:nvSpPr>
              <p:spPr bwMode="auto">
                <a:xfrm>
                  <a:off x="6748463" y="2505075"/>
                  <a:ext cx="646113" cy="1016000"/>
                </a:xfrm>
                <a:custGeom>
                  <a:avLst/>
                  <a:gdLst>
                    <a:gd name="T0" fmla="*/ 90 w 129"/>
                    <a:gd name="T1" fmla="*/ 0 h 203"/>
                    <a:gd name="T2" fmla="*/ 129 w 129"/>
                    <a:gd name="T3" fmla="*/ 26 h 203"/>
                    <a:gd name="T4" fmla="*/ 113 w 129"/>
                    <a:gd name="T5" fmla="*/ 79 h 203"/>
                    <a:gd name="T6" fmla="*/ 100 w 129"/>
                    <a:gd name="T7" fmla="*/ 196 h 203"/>
                    <a:gd name="T8" fmla="*/ 36 w 129"/>
                    <a:gd name="T9" fmla="*/ 196 h 203"/>
                    <a:gd name="T10" fmla="*/ 0 w 129"/>
                    <a:gd name="T11" fmla="*/ 187 h 203"/>
                    <a:gd name="T12" fmla="*/ 3 w 129"/>
                    <a:gd name="T13" fmla="*/ 64 h 203"/>
                    <a:gd name="T14" fmla="*/ 10 w 129"/>
                    <a:gd name="T15" fmla="*/ 18 h 203"/>
                    <a:gd name="T16" fmla="*/ 30 w 129"/>
                    <a:gd name="T17" fmla="*/ 8 h 203"/>
                    <a:gd name="T18" fmla="*/ 42 w 129"/>
                    <a:gd name="T19" fmla="*/ 16 h 203"/>
                    <a:gd name="T20" fmla="*/ 90 w 129"/>
                    <a:gd name="T21" fmla="*/ 0 h 2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9" h="203">
                      <a:moveTo>
                        <a:pt x="90" y="0"/>
                      </a:moveTo>
                      <a:cubicBezTo>
                        <a:pt x="129" y="26"/>
                        <a:pt x="129" y="26"/>
                        <a:pt x="129" y="26"/>
                      </a:cubicBezTo>
                      <a:cubicBezTo>
                        <a:pt x="129" y="26"/>
                        <a:pt x="113" y="64"/>
                        <a:pt x="113" y="79"/>
                      </a:cubicBezTo>
                      <a:cubicBezTo>
                        <a:pt x="112" y="94"/>
                        <a:pt x="100" y="196"/>
                        <a:pt x="100" y="196"/>
                      </a:cubicBezTo>
                      <a:cubicBezTo>
                        <a:pt x="100" y="196"/>
                        <a:pt x="62" y="203"/>
                        <a:pt x="36" y="196"/>
                      </a:cubicBezTo>
                      <a:cubicBezTo>
                        <a:pt x="10" y="190"/>
                        <a:pt x="0" y="187"/>
                        <a:pt x="0" y="187"/>
                      </a:cubicBezTo>
                      <a:cubicBezTo>
                        <a:pt x="0" y="187"/>
                        <a:pt x="1" y="79"/>
                        <a:pt x="3" y="64"/>
                      </a:cubicBezTo>
                      <a:cubicBezTo>
                        <a:pt x="5" y="49"/>
                        <a:pt x="10" y="18"/>
                        <a:pt x="10" y="18"/>
                      </a:cubicBezTo>
                      <a:cubicBezTo>
                        <a:pt x="30" y="8"/>
                        <a:pt x="30" y="8"/>
                        <a:pt x="30" y="8"/>
                      </a:cubicBezTo>
                      <a:cubicBezTo>
                        <a:pt x="42" y="16"/>
                        <a:pt x="42" y="16"/>
                        <a:pt x="42" y="16"/>
                      </a:cubicBezTo>
                      <a:lnTo>
                        <a:pt x="90" y="0"/>
                      </a:lnTo>
                      <a:close/>
                    </a:path>
                  </a:pathLst>
                </a:custGeom>
                <a:solidFill>
                  <a:srgbClr val="3644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36" name="iślïḋé"/>
                <p:cNvSpPr/>
                <p:nvPr/>
              </p:nvSpPr>
              <p:spPr bwMode="auto">
                <a:xfrm>
                  <a:off x="6958013" y="2490788"/>
                  <a:ext cx="241300" cy="165100"/>
                </a:xfrm>
                <a:custGeom>
                  <a:avLst/>
                  <a:gdLst>
                    <a:gd name="T0" fmla="*/ 130 w 152"/>
                    <a:gd name="T1" fmla="*/ 0 h 104"/>
                    <a:gd name="T2" fmla="*/ 0 w 152"/>
                    <a:gd name="T3" fmla="*/ 59 h 104"/>
                    <a:gd name="T4" fmla="*/ 35 w 152"/>
                    <a:gd name="T5" fmla="*/ 104 h 104"/>
                    <a:gd name="T6" fmla="*/ 152 w 152"/>
                    <a:gd name="T7" fmla="*/ 9 h 104"/>
                    <a:gd name="T8" fmla="*/ 130 w 152"/>
                    <a:gd name="T9" fmla="*/ 0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2" h="104">
                      <a:moveTo>
                        <a:pt x="130" y="0"/>
                      </a:moveTo>
                      <a:lnTo>
                        <a:pt x="0" y="59"/>
                      </a:lnTo>
                      <a:lnTo>
                        <a:pt x="35" y="104"/>
                      </a:lnTo>
                      <a:lnTo>
                        <a:pt x="152" y="9"/>
                      </a:lnTo>
                      <a:lnTo>
                        <a:pt x="130" y="0"/>
                      </a:lnTo>
                      <a:close/>
                    </a:path>
                  </a:pathLst>
                </a:custGeom>
                <a:solidFill>
                  <a:srgbClr val="AEBF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37" name="îşľîḓè"/>
                <p:cNvSpPr/>
                <p:nvPr/>
              </p:nvSpPr>
              <p:spPr bwMode="auto">
                <a:xfrm>
                  <a:off x="6897688" y="2535238"/>
                  <a:ext cx="60325" cy="100013"/>
                </a:xfrm>
                <a:custGeom>
                  <a:avLst/>
                  <a:gdLst>
                    <a:gd name="T0" fmla="*/ 38 w 38"/>
                    <a:gd name="T1" fmla="*/ 31 h 63"/>
                    <a:gd name="T2" fmla="*/ 0 w 38"/>
                    <a:gd name="T3" fmla="*/ 63 h 63"/>
                    <a:gd name="T4" fmla="*/ 0 w 38"/>
                    <a:gd name="T5" fmla="*/ 6 h 63"/>
                    <a:gd name="T6" fmla="*/ 19 w 38"/>
                    <a:gd name="T7" fmla="*/ 0 h 63"/>
                    <a:gd name="T8" fmla="*/ 38 w 38"/>
                    <a:gd name="T9" fmla="*/ 31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" h="63">
                      <a:moveTo>
                        <a:pt x="38" y="31"/>
                      </a:moveTo>
                      <a:lnTo>
                        <a:pt x="0" y="63"/>
                      </a:lnTo>
                      <a:lnTo>
                        <a:pt x="0" y="6"/>
                      </a:lnTo>
                      <a:lnTo>
                        <a:pt x="19" y="0"/>
                      </a:lnTo>
                      <a:lnTo>
                        <a:pt x="38" y="31"/>
                      </a:lnTo>
                      <a:close/>
                    </a:path>
                  </a:pathLst>
                </a:custGeom>
                <a:solidFill>
                  <a:srgbClr val="AEBF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38" name="ïśļïďe"/>
                <p:cNvSpPr/>
                <p:nvPr/>
              </p:nvSpPr>
              <p:spPr bwMode="auto">
                <a:xfrm>
                  <a:off x="6923088" y="3402013"/>
                  <a:ext cx="617538" cy="449263"/>
                </a:xfrm>
                <a:custGeom>
                  <a:avLst/>
                  <a:gdLst>
                    <a:gd name="T0" fmla="*/ 0 w 123"/>
                    <a:gd name="T1" fmla="*/ 61 h 90"/>
                    <a:gd name="T2" fmla="*/ 10 w 123"/>
                    <a:gd name="T3" fmla="*/ 6 h 90"/>
                    <a:gd name="T4" fmla="*/ 20 w 123"/>
                    <a:gd name="T5" fmla="*/ 0 h 90"/>
                    <a:gd name="T6" fmla="*/ 116 w 123"/>
                    <a:gd name="T7" fmla="*/ 19 h 90"/>
                    <a:gd name="T8" fmla="*/ 123 w 123"/>
                    <a:gd name="T9" fmla="*/ 27 h 90"/>
                    <a:gd name="T10" fmla="*/ 113 w 123"/>
                    <a:gd name="T11" fmla="*/ 82 h 90"/>
                    <a:gd name="T12" fmla="*/ 103 w 123"/>
                    <a:gd name="T13" fmla="*/ 89 h 90"/>
                    <a:gd name="T14" fmla="*/ 7 w 123"/>
                    <a:gd name="T15" fmla="*/ 72 h 90"/>
                    <a:gd name="T16" fmla="*/ 0 w 123"/>
                    <a:gd name="T17" fmla="*/ 61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3" h="90">
                      <a:moveTo>
                        <a:pt x="0" y="61"/>
                      </a:move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11" y="2"/>
                        <a:pt x="15" y="0"/>
                        <a:pt x="20" y="0"/>
                      </a:cubicBezTo>
                      <a:cubicBezTo>
                        <a:pt x="116" y="19"/>
                        <a:pt x="116" y="19"/>
                        <a:pt x="116" y="19"/>
                      </a:cubicBezTo>
                      <a:cubicBezTo>
                        <a:pt x="121" y="19"/>
                        <a:pt x="123" y="23"/>
                        <a:pt x="123" y="27"/>
                      </a:cubicBezTo>
                      <a:cubicBezTo>
                        <a:pt x="113" y="82"/>
                        <a:pt x="113" y="82"/>
                        <a:pt x="113" y="82"/>
                      </a:cubicBezTo>
                      <a:cubicBezTo>
                        <a:pt x="110" y="88"/>
                        <a:pt x="107" y="90"/>
                        <a:pt x="103" y="89"/>
                      </a:cubicBezTo>
                      <a:cubicBezTo>
                        <a:pt x="7" y="72"/>
                        <a:pt x="7" y="72"/>
                        <a:pt x="7" y="72"/>
                      </a:cubicBezTo>
                      <a:cubicBezTo>
                        <a:pt x="2" y="71"/>
                        <a:pt x="0" y="69"/>
                        <a:pt x="0" y="61"/>
                      </a:cubicBezTo>
                      <a:close/>
                    </a:path>
                  </a:pathLst>
                </a:custGeom>
                <a:solidFill>
                  <a:srgbClr val="97A3C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325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39" name="ïṣḻíḋè"/>
                <p:cNvSpPr/>
                <p:nvPr/>
              </p:nvSpPr>
              <p:spPr bwMode="auto">
                <a:xfrm>
                  <a:off x="6923088" y="3386138"/>
                  <a:ext cx="622300" cy="450850"/>
                </a:xfrm>
                <a:custGeom>
                  <a:avLst/>
                  <a:gdLst>
                    <a:gd name="T0" fmla="*/ 0 w 124"/>
                    <a:gd name="T1" fmla="*/ 62 h 90"/>
                    <a:gd name="T2" fmla="*/ 10 w 124"/>
                    <a:gd name="T3" fmla="*/ 7 h 90"/>
                    <a:gd name="T4" fmla="*/ 20 w 124"/>
                    <a:gd name="T5" fmla="*/ 1 h 90"/>
                    <a:gd name="T6" fmla="*/ 117 w 124"/>
                    <a:gd name="T7" fmla="*/ 19 h 90"/>
                    <a:gd name="T8" fmla="*/ 123 w 124"/>
                    <a:gd name="T9" fmla="*/ 28 h 90"/>
                    <a:gd name="T10" fmla="*/ 114 w 124"/>
                    <a:gd name="T11" fmla="*/ 83 h 90"/>
                    <a:gd name="T12" fmla="*/ 104 w 124"/>
                    <a:gd name="T13" fmla="*/ 89 h 90"/>
                    <a:gd name="T14" fmla="*/ 7 w 124"/>
                    <a:gd name="T15" fmla="*/ 71 h 90"/>
                    <a:gd name="T16" fmla="*/ 0 w 124"/>
                    <a:gd name="T17" fmla="*/ 6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4" h="90">
                      <a:moveTo>
                        <a:pt x="0" y="62"/>
                      </a:move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11" y="3"/>
                        <a:pt x="15" y="0"/>
                        <a:pt x="20" y="1"/>
                      </a:cubicBezTo>
                      <a:cubicBezTo>
                        <a:pt x="117" y="19"/>
                        <a:pt x="117" y="19"/>
                        <a:pt x="117" y="19"/>
                      </a:cubicBezTo>
                      <a:cubicBezTo>
                        <a:pt x="121" y="20"/>
                        <a:pt x="124" y="24"/>
                        <a:pt x="123" y="28"/>
                      </a:cubicBezTo>
                      <a:cubicBezTo>
                        <a:pt x="114" y="83"/>
                        <a:pt x="114" y="83"/>
                        <a:pt x="114" y="83"/>
                      </a:cubicBezTo>
                      <a:cubicBezTo>
                        <a:pt x="113" y="87"/>
                        <a:pt x="109" y="90"/>
                        <a:pt x="104" y="89"/>
                      </a:cubicBezTo>
                      <a:cubicBezTo>
                        <a:pt x="7" y="71"/>
                        <a:pt x="7" y="71"/>
                        <a:pt x="7" y="71"/>
                      </a:cubicBezTo>
                      <a:cubicBezTo>
                        <a:pt x="3" y="70"/>
                        <a:pt x="0" y="66"/>
                        <a:pt x="0" y="62"/>
                      </a:cubicBezTo>
                      <a:close/>
                    </a:path>
                  </a:pathLst>
                </a:custGeom>
                <a:solidFill>
                  <a:srgbClr val="EDF1F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325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40" name="iṧ1ide"/>
                <p:cNvSpPr/>
                <p:nvPr/>
              </p:nvSpPr>
              <p:spPr bwMode="auto">
                <a:xfrm>
                  <a:off x="7099301" y="3621088"/>
                  <a:ext cx="185738" cy="201613"/>
                </a:xfrm>
                <a:custGeom>
                  <a:avLst/>
                  <a:gdLst>
                    <a:gd name="T0" fmla="*/ 20 w 37"/>
                    <a:gd name="T1" fmla="*/ 1 h 40"/>
                    <a:gd name="T2" fmla="*/ 15 w 37"/>
                    <a:gd name="T3" fmla="*/ 9 h 40"/>
                    <a:gd name="T4" fmla="*/ 2 w 37"/>
                    <a:gd name="T5" fmla="*/ 18 h 40"/>
                    <a:gd name="T6" fmla="*/ 0 w 37"/>
                    <a:gd name="T7" fmla="*/ 25 h 40"/>
                    <a:gd name="T8" fmla="*/ 2 w 37"/>
                    <a:gd name="T9" fmla="*/ 26 h 40"/>
                    <a:gd name="T10" fmla="*/ 7 w 37"/>
                    <a:gd name="T11" fmla="*/ 21 h 40"/>
                    <a:gd name="T12" fmla="*/ 7 w 37"/>
                    <a:gd name="T13" fmla="*/ 28 h 40"/>
                    <a:gd name="T14" fmla="*/ 5 w 37"/>
                    <a:gd name="T15" fmla="*/ 34 h 40"/>
                    <a:gd name="T16" fmla="*/ 12 w 37"/>
                    <a:gd name="T17" fmla="*/ 37 h 40"/>
                    <a:gd name="T18" fmla="*/ 25 w 37"/>
                    <a:gd name="T19" fmla="*/ 40 h 40"/>
                    <a:gd name="T20" fmla="*/ 35 w 37"/>
                    <a:gd name="T21" fmla="*/ 26 h 40"/>
                    <a:gd name="T22" fmla="*/ 37 w 37"/>
                    <a:gd name="T23" fmla="*/ 9 h 40"/>
                    <a:gd name="T24" fmla="*/ 32 w 37"/>
                    <a:gd name="T25" fmla="*/ 0 h 40"/>
                    <a:gd name="T26" fmla="*/ 20 w 37"/>
                    <a:gd name="T27" fmla="*/ 1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7" h="40">
                      <a:moveTo>
                        <a:pt x="20" y="1"/>
                      </a:moveTo>
                      <a:cubicBezTo>
                        <a:pt x="15" y="9"/>
                        <a:pt x="15" y="9"/>
                        <a:pt x="15" y="9"/>
                      </a:cubicBezTo>
                      <a:cubicBezTo>
                        <a:pt x="15" y="9"/>
                        <a:pt x="3" y="16"/>
                        <a:pt x="2" y="18"/>
                      </a:cubicBezTo>
                      <a:cubicBezTo>
                        <a:pt x="1" y="19"/>
                        <a:pt x="0" y="25"/>
                        <a:pt x="0" y="25"/>
                      </a:cubicBezTo>
                      <a:cubicBezTo>
                        <a:pt x="2" y="26"/>
                        <a:pt x="2" y="26"/>
                        <a:pt x="2" y="26"/>
                      </a:cubicBezTo>
                      <a:cubicBezTo>
                        <a:pt x="7" y="21"/>
                        <a:pt x="7" y="21"/>
                        <a:pt x="7" y="21"/>
                      </a:cubicBezTo>
                      <a:cubicBezTo>
                        <a:pt x="7" y="21"/>
                        <a:pt x="7" y="26"/>
                        <a:pt x="7" y="28"/>
                      </a:cubicBezTo>
                      <a:cubicBezTo>
                        <a:pt x="6" y="30"/>
                        <a:pt x="5" y="34"/>
                        <a:pt x="5" y="34"/>
                      </a:cubicBezTo>
                      <a:cubicBezTo>
                        <a:pt x="5" y="34"/>
                        <a:pt x="9" y="36"/>
                        <a:pt x="12" y="37"/>
                      </a:cubicBezTo>
                      <a:cubicBezTo>
                        <a:pt x="15" y="38"/>
                        <a:pt x="25" y="40"/>
                        <a:pt x="25" y="40"/>
                      </a:cubicBezTo>
                      <a:cubicBezTo>
                        <a:pt x="25" y="40"/>
                        <a:pt x="34" y="29"/>
                        <a:pt x="35" y="26"/>
                      </a:cubicBezTo>
                      <a:cubicBezTo>
                        <a:pt x="36" y="22"/>
                        <a:pt x="37" y="9"/>
                        <a:pt x="37" y="9"/>
                      </a:cubicBezTo>
                      <a:cubicBezTo>
                        <a:pt x="32" y="0"/>
                        <a:pt x="32" y="0"/>
                        <a:pt x="32" y="0"/>
                      </a:cubicBezTo>
                      <a:lnTo>
                        <a:pt x="20" y="1"/>
                      </a:lnTo>
                      <a:close/>
                    </a:path>
                  </a:pathLst>
                </a:custGeom>
                <a:solidFill>
                  <a:srgbClr val="FEC4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41" name="íṧ1íďè"/>
                <p:cNvSpPr/>
                <p:nvPr/>
              </p:nvSpPr>
              <p:spPr bwMode="auto">
                <a:xfrm>
                  <a:off x="7169151" y="2614613"/>
                  <a:ext cx="325438" cy="1071563"/>
                </a:xfrm>
                <a:custGeom>
                  <a:avLst/>
                  <a:gdLst>
                    <a:gd name="T0" fmla="*/ 45 w 65"/>
                    <a:gd name="T1" fmla="*/ 4 h 214"/>
                    <a:gd name="T2" fmla="*/ 65 w 65"/>
                    <a:gd name="T3" fmla="*/ 107 h 214"/>
                    <a:gd name="T4" fmla="*/ 23 w 65"/>
                    <a:gd name="T5" fmla="*/ 210 h 214"/>
                    <a:gd name="T6" fmla="*/ 6 w 65"/>
                    <a:gd name="T7" fmla="*/ 202 h 214"/>
                    <a:gd name="T8" fmla="*/ 18 w 65"/>
                    <a:gd name="T9" fmla="*/ 165 h 214"/>
                    <a:gd name="T10" fmla="*/ 26 w 65"/>
                    <a:gd name="T11" fmla="*/ 101 h 214"/>
                    <a:gd name="T12" fmla="*/ 1 w 65"/>
                    <a:gd name="T13" fmla="*/ 45 h 214"/>
                    <a:gd name="T14" fmla="*/ 45 w 65"/>
                    <a:gd name="T15" fmla="*/ 4 h 2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5" h="214">
                      <a:moveTo>
                        <a:pt x="45" y="4"/>
                      </a:moveTo>
                      <a:cubicBezTo>
                        <a:pt x="45" y="4"/>
                        <a:pt x="65" y="103"/>
                        <a:pt x="65" y="107"/>
                      </a:cubicBezTo>
                      <a:cubicBezTo>
                        <a:pt x="65" y="112"/>
                        <a:pt x="33" y="201"/>
                        <a:pt x="23" y="210"/>
                      </a:cubicBezTo>
                      <a:cubicBezTo>
                        <a:pt x="23" y="210"/>
                        <a:pt x="15" y="214"/>
                        <a:pt x="6" y="202"/>
                      </a:cubicBezTo>
                      <a:cubicBezTo>
                        <a:pt x="6" y="202"/>
                        <a:pt x="14" y="181"/>
                        <a:pt x="18" y="165"/>
                      </a:cubicBezTo>
                      <a:cubicBezTo>
                        <a:pt x="23" y="150"/>
                        <a:pt x="26" y="101"/>
                        <a:pt x="26" y="101"/>
                      </a:cubicBezTo>
                      <a:cubicBezTo>
                        <a:pt x="26" y="101"/>
                        <a:pt x="1" y="66"/>
                        <a:pt x="1" y="45"/>
                      </a:cubicBezTo>
                      <a:cubicBezTo>
                        <a:pt x="0" y="0"/>
                        <a:pt x="45" y="4"/>
                        <a:pt x="45" y="4"/>
                      </a:cubicBezTo>
                      <a:close/>
                    </a:path>
                  </a:pathLst>
                </a:custGeom>
                <a:solidFill>
                  <a:srgbClr val="3644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42" name="isḻiďé"/>
                <p:cNvSpPr/>
                <p:nvPr/>
              </p:nvSpPr>
              <p:spPr bwMode="auto">
                <a:xfrm>
                  <a:off x="5118101" y="2058988"/>
                  <a:ext cx="355600" cy="455613"/>
                </a:xfrm>
                <a:custGeom>
                  <a:avLst/>
                  <a:gdLst>
                    <a:gd name="T0" fmla="*/ 53 w 71"/>
                    <a:gd name="T1" fmla="*/ 0 h 91"/>
                    <a:gd name="T2" fmla="*/ 61 w 71"/>
                    <a:gd name="T3" fmla="*/ 12 h 91"/>
                    <a:gd name="T4" fmla="*/ 64 w 71"/>
                    <a:gd name="T5" fmla="*/ 29 h 91"/>
                    <a:gd name="T6" fmla="*/ 70 w 71"/>
                    <a:gd name="T7" fmla="*/ 44 h 91"/>
                    <a:gd name="T8" fmla="*/ 65 w 71"/>
                    <a:gd name="T9" fmla="*/ 49 h 91"/>
                    <a:gd name="T10" fmla="*/ 64 w 71"/>
                    <a:gd name="T11" fmla="*/ 65 h 91"/>
                    <a:gd name="T12" fmla="*/ 53 w 71"/>
                    <a:gd name="T13" fmla="*/ 72 h 91"/>
                    <a:gd name="T14" fmla="*/ 40 w 71"/>
                    <a:gd name="T15" fmla="*/ 76 h 91"/>
                    <a:gd name="T16" fmla="*/ 40 w 71"/>
                    <a:gd name="T17" fmla="*/ 91 h 91"/>
                    <a:gd name="T18" fmla="*/ 0 w 71"/>
                    <a:gd name="T19" fmla="*/ 87 h 91"/>
                    <a:gd name="T20" fmla="*/ 4 w 71"/>
                    <a:gd name="T21" fmla="*/ 65 h 91"/>
                    <a:gd name="T22" fmla="*/ 4 w 71"/>
                    <a:gd name="T23" fmla="*/ 42 h 91"/>
                    <a:gd name="T24" fmla="*/ 20 w 71"/>
                    <a:gd name="T25" fmla="*/ 10 h 91"/>
                    <a:gd name="T26" fmla="*/ 53 w 71"/>
                    <a:gd name="T27" fmla="*/ 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1" h="91">
                      <a:moveTo>
                        <a:pt x="53" y="0"/>
                      </a:moveTo>
                      <a:cubicBezTo>
                        <a:pt x="59" y="3"/>
                        <a:pt x="61" y="12"/>
                        <a:pt x="61" y="12"/>
                      </a:cubicBezTo>
                      <a:cubicBezTo>
                        <a:pt x="61" y="12"/>
                        <a:pt x="62" y="22"/>
                        <a:pt x="64" y="29"/>
                      </a:cubicBezTo>
                      <a:cubicBezTo>
                        <a:pt x="65" y="36"/>
                        <a:pt x="71" y="42"/>
                        <a:pt x="70" y="44"/>
                      </a:cubicBezTo>
                      <a:cubicBezTo>
                        <a:pt x="69" y="46"/>
                        <a:pt x="65" y="46"/>
                        <a:pt x="65" y="49"/>
                      </a:cubicBezTo>
                      <a:cubicBezTo>
                        <a:pt x="65" y="52"/>
                        <a:pt x="64" y="60"/>
                        <a:pt x="64" y="65"/>
                      </a:cubicBezTo>
                      <a:cubicBezTo>
                        <a:pt x="64" y="71"/>
                        <a:pt x="59" y="71"/>
                        <a:pt x="53" y="72"/>
                      </a:cubicBezTo>
                      <a:cubicBezTo>
                        <a:pt x="48" y="72"/>
                        <a:pt x="42" y="73"/>
                        <a:pt x="40" y="76"/>
                      </a:cubicBezTo>
                      <a:cubicBezTo>
                        <a:pt x="39" y="78"/>
                        <a:pt x="40" y="91"/>
                        <a:pt x="40" y="91"/>
                      </a:cubicBez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0" y="87"/>
                        <a:pt x="5" y="75"/>
                        <a:pt x="4" y="65"/>
                      </a:cubicBezTo>
                      <a:cubicBezTo>
                        <a:pt x="4" y="54"/>
                        <a:pt x="4" y="42"/>
                        <a:pt x="4" y="42"/>
                      </a:cubicBezTo>
                      <a:cubicBezTo>
                        <a:pt x="4" y="42"/>
                        <a:pt x="6" y="19"/>
                        <a:pt x="20" y="10"/>
                      </a:cubicBezTo>
                      <a:cubicBezTo>
                        <a:pt x="34" y="1"/>
                        <a:pt x="53" y="0"/>
                        <a:pt x="53" y="0"/>
                      </a:cubicBezTo>
                      <a:close/>
                    </a:path>
                  </a:pathLst>
                </a:custGeom>
                <a:solidFill>
                  <a:srgbClr val="FEC4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325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43" name="i$1ïḓè"/>
                <p:cNvSpPr/>
                <p:nvPr/>
              </p:nvSpPr>
              <p:spPr bwMode="auto">
                <a:xfrm>
                  <a:off x="7013576" y="2825750"/>
                  <a:ext cx="160338" cy="39688"/>
                </a:xfrm>
                <a:prstGeom prst="rect">
                  <a:avLst/>
                </a:prstGeom>
                <a:solidFill>
                  <a:srgbClr val="AEBF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44" name="íś1iḍê"/>
                <p:cNvSpPr/>
                <p:nvPr/>
              </p:nvSpPr>
              <p:spPr bwMode="auto">
                <a:xfrm>
                  <a:off x="5053013" y="1984375"/>
                  <a:ext cx="411163" cy="400050"/>
                </a:xfrm>
                <a:custGeom>
                  <a:avLst/>
                  <a:gdLst>
                    <a:gd name="T0" fmla="*/ 56 w 82"/>
                    <a:gd name="T1" fmla="*/ 27 h 80"/>
                    <a:gd name="T2" fmla="*/ 74 w 82"/>
                    <a:gd name="T3" fmla="*/ 27 h 80"/>
                    <a:gd name="T4" fmla="*/ 80 w 82"/>
                    <a:gd name="T5" fmla="*/ 16 h 80"/>
                    <a:gd name="T6" fmla="*/ 74 w 82"/>
                    <a:gd name="T7" fmla="*/ 5 h 80"/>
                    <a:gd name="T8" fmla="*/ 56 w 82"/>
                    <a:gd name="T9" fmla="*/ 5 h 80"/>
                    <a:gd name="T10" fmla="*/ 16 w 82"/>
                    <a:gd name="T11" fmla="*/ 16 h 80"/>
                    <a:gd name="T12" fmla="*/ 1 w 82"/>
                    <a:gd name="T13" fmla="*/ 33 h 80"/>
                    <a:gd name="T14" fmla="*/ 8 w 82"/>
                    <a:gd name="T15" fmla="*/ 57 h 80"/>
                    <a:gd name="T16" fmla="*/ 17 w 82"/>
                    <a:gd name="T17" fmla="*/ 80 h 80"/>
                    <a:gd name="T18" fmla="*/ 31 w 82"/>
                    <a:gd name="T19" fmla="*/ 80 h 80"/>
                    <a:gd name="T20" fmla="*/ 46 w 82"/>
                    <a:gd name="T21" fmla="*/ 65 h 80"/>
                    <a:gd name="T22" fmla="*/ 39 w 82"/>
                    <a:gd name="T23" fmla="*/ 50 h 80"/>
                    <a:gd name="T24" fmla="*/ 53 w 82"/>
                    <a:gd name="T25" fmla="*/ 49 h 80"/>
                    <a:gd name="T26" fmla="*/ 57 w 82"/>
                    <a:gd name="T27" fmla="*/ 58 h 80"/>
                    <a:gd name="T28" fmla="*/ 62 w 82"/>
                    <a:gd name="T29" fmla="*/ 58 h 80"/>
                    <a:gd name="T30" fmla="*/ 62 w 82"/>
                    <a:gd name="T31" fmla="*/ 41 h 80"/>
                    <a:gd name="T32" fmla="*/ 56 w 82"/>
                    <a:gd name="T33" fmla="*/ 27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2" h="80">
                      <a:moveTo>
                        <a:pt x="56" y="27"/>
                      </a:moveTo>
                      <a:cubicBezTo>
                        <a:pt x="60" y="26"/>
                        <a:pt x="68" y="27"/>
                        <a:pt x="74" y="27"/>
                      </a:cubicBezTo>
                      <a:cubicBezTo>
                        <a:pt x="79" y="27"/>
                        <a:pt x="82" y="20"/>
                        <a:pt x="80" y="16"/>
                      </a:cubicBezTo>
                      <a:cubicBezTo>
                        <a:pt x="77" y="12"/>
                        <a:pt x="74" y="5"/>
                        <a:pt x="74" y="5"/>
                      </a:cubicBezTo>
                      <a:cubicBezTo>
                        <a:pt x="74" y="5"/>
                        <a:pt x="68" y="10"/>
                        <a:pt x="56" y="5"/>
                      </a:cubicBezTo>
                      <a:cubicBezTo>
                        <a:pt x="45" y="0"/>
                        <a:pt x="23" y="0"/>
                        <a:pt x="16" y="16"/>
                      </a:cubicBezTo>
                      <a:cubicBezTo>
                        <a:pt x="16" y="16"/>
                        <a:pt x="1" y="22"/>
                        <a:pt x="1" y="33"/>
                      </a:cubicBezTo>
                      <a:cubicBezTo>
                        <a:pt x="0" y="44"/>
                        <a:pt x="2" y="49"/>
                        <a:pt x="8" y="57"/>
                      </a:cubicBezTo>
                      <a:cubicBezTo>
                        <a:pt x="13" y="64"/>
                        <a:pt x="17" y="80"/>
                        <a:pt x="17" y="80"/>
                      </a:cubicBezTo>
                      <a:cubicBezTo>
                        <a:pt x="17" y="80"/>
                        <a:pt x="24" y="80"/>
                        <a:pt x="31" y="80"/>
                      </a:cubicBezTo>
                      <a:cubicBezTo>
                        <a:pt x="37" y="79"/>
                        <a:pt x="44" y="69"/>
                        <a:pt x="46" y="65"/>
                      </a:cubicBezTo>
                      <a:cubicBezTo>
                        <a:pt x="46" y="65"/>
                        <a:pt x="37" y="57"/>
                        <a:pt x="39" y="50"/>
                      </a:cubicBezTo>
                      <a:cubicBezTo>
                        <a:pt x="42" y="42"/>
                        <a:pt x="52" y="46"/>
                        <a:pt x="53" y="49"/>
                      </a:cubicBezTo>
                      <a:cubicBezTo>
                        <a:pt x="54" y="53"/>
                        <a:pt x="57" y="58"/>
                        <a:pt x="57" y="58"/>
                      </a:cubicBezTo>
                      <a:cubicBezTo>
                        <a:pt x="62" y="58"/>
                        <a:pt x="62" y="58"/>
                        <a:pt x="62" y="58"/>
                      </a:cubicBezTo>
                      <a:cubicBezTo>
                        <a:pt x="62" y="58"/>
                        <a:pt x="63" y="48"/>
                        <a:pt x="62" y="41"/>
                      </a:cubicBezTo>
                      <a:cubicBezTo>
                        <a:pt x="62" y="34"/>
                        <a:pt x="56" y="27"/>
                        <a:pt x="56" y="27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45" name="îŝ1iḓè"/>
                <p:cNvSpPr/>
                <p:nvPr/>
              </p:nvSpPr>
              <p:spPr bwMode="auto">
                <a:xfrm>
                  <a:off x="4881563" y="2470150"/>
                  <a:ext cx="627063" cy="1257300"/>
                </a:xfrm>
                <a:custGeom>
                  <a:avLst/>
                  <a:gdLst>
                    <a:gd name="T0" fmla="*/ 46 w 125"/>
                    <a:gd name="T1" fmla="*/ 0 h 251"/>
                    <a:gd name="T2" fmla="*/ 70 w 125"/>
                    <a:gd name="T3" fmla="*/ 4 h 251"/>
                    <a:gd name="T4" fmla="*/ 89 w 125"/>
                    <a:gd name="T5" fmla="*/ 4 h 251"/>
                    <a:gd name="T6" fmla="*/ 119 w 125"/>
                    <a:gd name="T7" fmla="*/ 17 h 251"/>
                    <a:gd name="T8" fmla="*/ 124 w 125"/>
                    <a:gd name="T9" fmla="*/ 89 h 251"/>
                    <a:gd name="T10" fmla="*/ 123 w 125"/>
                    <a:gd name="T11" fmla="*/ 233 h 251"/>
                    <a:gd name="T12" fmla="*/ 59 w 125"/>
                    <a:gd name="T13" fmla="*/ 250 h 251"/>
                    <a:gd name="T14" fmla="*/ 3 w 125"/>
                    <a:gd name="T15" fmla="*/ 239 h 251"/>
                    <a:gd name="T16" fmla="*/ 2 w 125"/>
                    <a:gd name="T17" fmla="*/ 121 h 251"/>
                    <a:gd name="T18" fmla="*/ 5 w 125"/>
                    <a:gd name="T19" fmla="*/ 29 h 251"/>
                    <a:gd name="T20" fmla="*/ 5 w 125"/>
                    <a:gd name="T21" fmla="*/ 17 h 251"/>
                    <a:gd name="T22" fmla="*/ 46 w 125"/>
                    <a:gd name="T23" fmla="*/ 0 h 2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5" h="251">
                      <a:moveTo>
                        <a:pt x="46" y="0"/>
                      </a:moveTo>
                      <a:cubicBezTo>
                        <a:pt x="46" y="0"/>
                        <a:pt x="62" y="3"/>
                        <a:pt x="70" y="4"/>
                      </a:cubicBezTo>
                      <a:cubicBezTo>
                        <a:pt x="78" y="5"/>
                        <a:pt x="89" y="4"/>
                        <a:pt x="89" y="4"/>
                      </a:cubicBezTo>
                      <a:cubicBezTo>
                        <a:pt x="119" y="17"/>
                        <a:pt x="119" y="17"/>
                        <a:pt x="119" y="17"/>
                      </a:cubicBezTo>
                      <a:cubicBezTo>
                        <a:pt x="119" y="17"/>
                        <a:pt x="123" y="64"/>
                        <a:pt x="124" y="89"/>
                      </a:cubicBezTo>
                      <a:cubicBezTo>
                        <a:pt x="125" y="114"/>
                        <a:pt x="122" y="225"/>
                        <a:pt x="123" y="233"/>
                      </a:cubicBezTo>
                      <a:cubicBezTo>
                        <a:pt x="123" y="233"/>
                        <a:pt x="115" y="251"/>
                        <a:pt x="59" y="250"/>
                      </a:cubicBezTo>
                      <a:cubicBezTo>
                        <a:pt x="27" y="249"/>
                        <a:pt x="3" y="239"/>
                        <a:pt x="3" y="239"/>
                      </a:cubicBezTo>
                      <a:cubicBezTo>
                        <a:pt x="3" y="239"/>
                        <a:pt x="3" y="143"/>
                        <a:pt x="2" y="121"/>
                      </a:cubicBezTo>
                      <a:cubicBezTo>
                        <a:pt x="0" y="99"/>
                        <a:pt x="5" y="42"/>
                        <a:pt x="5" y="29"/>
                      </a:cubicBezTo>
                      <a:cubicBezTo>
                        <a:pt x="5" y="17"/>
                        <a:pt x="5" y="17"/>
                        <a:pt x="5" y="17"/>
                      </a:cubicBezTo>
                      <a:lnTo>
                        <a:pt x="46" y="0"/>
                      </a:lnTo>
                      <a:close/>
                    </a:path>
                  </a:pathLst>
                </a:custGeom>
                <a:solidFill>
                  <a:srgbClr val="1848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46" name="îṡḷiḋê"/>
                <p:cNvSpPr/>
                <p:nvPr/>
              </p:nvSpPr>
              <p:spPr bwMode="auto">
                <a:xfrm>
                  <a:off x="5364163" y="2555875"/>
                  <a:ext cx="811213" cy="700088"/>
                </a:xfrm>
                <a:custGeom>
                  <a:avLst/>
                  <a:gdLst>
                    <a:gd name="T0" fmla="*/ 23 w 162"/>
                    <a:gd name="T1" fmla="*/ 0 h 140"/>
                    <a:gd name="T2" fmla="*/ 12 w 162"/>
                    <a:gd name="T3" fmla="*/ 56 h 140"/>
                    <a:gd name="T4" fmla="*/ 68 w 162"/>
                    <a:gd name="T5" fmla="*/ 120 h 140"/>
                    <a:gd name="T6" fmla="*/ 156 w 162"/>
                    <a:gd name="T7" fmla="*/ 140 h 140"/>
                    <a:gd name="T8" fmla="*/ 161 w 162"/>
                    <a:gd name="T9" fmla="*/ 120 h 140"/>
                    <a:gd name="T10" fmla="*/ 88 w 162"/>
                    <a:gd name="T11" fmla="*/ 92 h 140"/>
                    <a:gd name="T12" fmla="*/ 23 w 162"/>
                    <a:gd name="T13" fmla="*/ 0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62" h="140">
                      <a:moveTo>
                        <a:pt x="23" y="0"/>
                      </a:moveTo>
                      <a:cubicBezTo>
                        <a:pt x="23" y="0"/>
                        <a:pt x="0" y="16"/>
                        <a:pt x="12" y="56"/>
                      </a:cubicBezTo>
                      <a:cubicBezTo>
                        <a:pt x="16" y="71"/>
                        <a:pt x="68" y="120"/>
                        <a:pt x="68" y="120"/>
                      </a:cubicBezTo>
                      <a:cubicBezTo>
                        <a:pt x="156" y="140"/>
                        <a:pt x="156" y="140"/>
                        <a:pt x="156" y="140"/>
                      </a:cubicBezTo>
                      <a:cubicBezTo>
                        <a:pt x="156" y="140"/>
                        <a:pt x="162" y="129"/>
                        <a:pt x="161" y="120"/>
                      </a:cubicBezTo>
                      <a:cubicBezTo>
                        <a:pt x="88" y="92"/>
                        <a:pt x="88" y="92"/>
                        <a:pt x="88" y="92"/>
                      </a:cubicBezTo>
                      <a:cubicBezTo>
                        <a:pt x="88" y="92"/>
                        <a:pt x="36" y="0"/>
                        <a:pt x="23" y="0"/>
                      </a:cubicBezTo>
                      <a:close/>
                    </a:path>
                  </a:pathLst>
                </a:custGeom>
                <a:solidFill>
                  <a:srgbClr val="133A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47" name="iṩľiḓê"/>
                <p:cNvSpPr/>
                <p:nvPr/>
              </p:nvSpPr>
              <p:spPr bwMode="auto">
                <a:xfrm>
                  <a:off x="4792663" y="3711575"/>
                  <a:ext cx="88900" cy="55563"/>
                </a:xfrm>
                <a:custGeom>
                  <a:avLst/>
                  <a:gdLst>
                    <a:gd name="T0" fmla="*/ 6 w 56"/>
                    <a:gd name="T1" fmla="*/ 25 h 35"/>
                    <a:gd name="T2" fmla="*/ 22 w 56"/>
                    <a:gd name="T3" fmla="*/ 0 h 35"/>
                    <a:gd name="T4" fmla="*/ 56 w 56"/>
                    <a:gd name="T5" fmla="*/ 0 h 35"/>
                    <a:gd name="T6" fmla="*/ 56 w 56"/>
                    <a:gd name="T7" fmla="*/ 29 h 35"/>
                    <a:gd name="T8" fmla="*/ 34 w 56"/>
                    <a:gd name="T9" fmla="*/ 35 h 35"/>
                    <a:gd name="T10" fmla="*/ 0 w 56"/>
                    <a:gd name="T11" fmla="*/ 35 h 35"/>
                    <a:gd name="T12" fmla="*/ 6 w 56"/>
                    <a:gd name="T13" fmla="*/ 25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6" h="35">
                      <a:moveTo>
                        <a:pt x="6" y="25"/>
                      </a:moveTo>
                      <a:lnTo>
                        <a:pt x="22" y="0"/>
                      </a:lnTo>
                      <a:lnTo>
                        <a:pt x="56" y="0"/>
                      </a:lnTo>
                      <a:lnTo>
                        <a:pt x="56" y="29"/>
                      </a:lnTo>
                      <a:lnTo>
                        <a:pt x="34" y="35"/>
                      </a:lnTo>
                      <a:lnTo>
                        <a:pt x="0" y="35"/>
                      </a:lnTo>
                      <a:lnTo>
                        <a:pt x="6" y="25"/>
                      </a:lnTo>
                      <a:close/>
                    </a:path>
                  </a:pathLst>
                </a:custGeom>
                <a:solidFill>
                  <a:srgbClr val="FEC4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48" name="išḷiḍê"/>
                <p:cNvSpPr/>
                <p:nvPr/>
              </p:nvSpPr>
              <p:spPr bwMode="auto">
                <a:xfrm>
                  <a:off x="8001001" y="3035300"/>
                  <a:ext cx="371475" cy="350838"/>
                </a:xfrm>
                <a:custGeom>
                  <a:avLst/>
                  <a:gdLst>
                    <a:gd name="T0" fmla="*/ 63 w 74"/>
                    <a:gd name="T1" fmla="*/ 0 h 70"/>
                    <a:gd name="T2" fmla="*/ 10 w 74"/>
                    <a:gd name="T3" fmla="*/ 0 h 70"/>
                    <a:gd name="T4" fmla="*/ 0 w 74"/>
                    <a:gd name="T5" fmla="*/ 11 h 70"/>
                    <a:gd name="T6" fmla="*/ 0 w 74"/>
                    <a:gd name="T7" fmla="*/ 48 h 70"/>
                    <a:gd name="T8" fmla="*/ 10 w 74"/>
                    <a:gd name="T9" fmla="*/ 58 h 70"/>
                    <a:gd name="T10" fmla="*/ 29 w 74"/>
                    <a:gd name="T11" fmla="*/ 58 h 70"/>
                    <a:gd name="T12" fmla="*/ 37 w 74"/>
                    <a:gd name="T13" fmla="*/ 70 h 70"/>
                    <a:gd name="T14" fmla="*/ 44 w 74"/>
                    <a:gd name="T15" fmla="*/ 58 h 70"/>
                    <a:gd name="T16" fmla="*/ 63 w 74"/>
                    <a:gd name="T17" fmla="*/ 58 h 70"/>
                    <a:gd name="T18" fmla="*/ 74 w 74"/>
                    <a:gd name="T19" fmla="*/ 48 h 70"/>
                    <a:gd name="T20" fmla="*/ 74 w 74"/>
                    <a:gd name="T21" fmla="*/ 11 h 70"/>
                    <a:gd name="T22" fmla="*/ 63 w 74"/>
                    <a:gd name="T23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4" h="70">
                      <a:moveTo>
                        <a:pt x="63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4" y="0"/>
                        <a:pt x="0" y="5"/>
                        <a:pt x="0" y="11"/>
                      </a:cubicBezTo>
                      <a:cubicBezTo>
                        <a:pt x="0" y="48"/>
                        <a:pt x="0" y="48"/>
                        <a:pt x="0" y="48"/>
                      </a:cubicBezTo>
                      <a:cubicBezTo>
                        <a:pt x="0" y="54"/>
                        <a:pt x="4" y="58"/>
                        <a:pt x="10" y="58"/>
                      </a:cubicBezTo>
                      <a:cubicBezTo>
                        <a:pt x="29" y="58"/>
                        <a:pt x="29" y="58"/>
                        <a:pt x="29" y="58"/>
                      </a:cubicBezTo>
                      <a:cubicBezTo>
                        <a:pt x="37" y="70"/>
                        <a:pt x="37" y="70"/>
                        <a:pt x="37" y="70"/>
                      </a:cubicBezTo>
                      <a:cubicBezTo>
                        <a:pt x="44" y="58"/>
                        <a:pt x="44" y="58"/>
                        <a:pt x="44" y="58"/>
                      </a:cubicBezTo>
                      <a:cubicBezTo>
                        <a:pt x="63" y="58"/>
                        <a:pt x="63" y="58"/>
                        <a:pt x="63" y="58"/>
                      </a:cubicBezTo>
                      <a:cubicBezTo>
                        <a:pt x="69" y="58"/>
                        <a:pt x="74" y="54"/>
                        <a:pt x="74" y="48"/>
                      </a:cubicBezTo>
                      <a:cubicBezTo>
                        <a:pt x="74" y="11"/>
                        <a:pt x="74" y="11"/>
                        <a:pt x="74" y="11"/>
                      </a:cubicBezTo>
                      <a:cubicBezTo>
                        <a:pt x="74" y="5"/>
                        <a:pt x="69" y="0"/>
                        <a:pt x="63" y="0"/>
                      </a:cubicBezTo>
                      <a:close/>
                    </a:path>
                  </a:pathLst>
                </a:custGeom>
                <a:solidFill>
                  <a:srgbClr val="4D99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49" name="iś1ïḓê"/>
                <p:cNvSpPr/>
                <p:nvPr/>
              </p:nvSpPr>
              <p:spPr bwMode="auto">
                <a:xfrm>
                  <a:off x="8081963" y="3141663"/>
                  <a:ext cx="55563" cy="104775"/>
                </a:xfrm>
                <a:custGeom>
                  <a:avLst/>
                  <a:gdLst>
                    <a:gd name="T0" fmla="*/ 9 w 11"/>
                    <a:gd name="T1" fmla="*/ 21 h 21"/>
                    <a:gd name="T2" fmla="*/ 2 w 11"/>
                    <a:gd name="T3" fmla="*/ 21 h 21"/>
                    <a:gd name="T4" fmla="*/ 0 w 11"/>
                    <a:gd name="T5" fmla="*/ 19 h 21"/>
                    <a:gd name="T6" fmla="*/ 0 w 11"/>
                    <a:gd name="T7" fmla="*/ 2 h 21"/>
                    <a:gd name="T8" fmla="*/ 2 w 11"/>
                    <a:gd name="T9" fmla="*/ 0 h 21"/>
                    <a:gd name="T10" fmla="*/ 9 w 11"/>
                    <a:gd name="T11" fmla="*/ 0 h 21"/>
                    <a:gd name="T12" fmla="*/ 11 w 11"/>
                    <a:gd name="T13" fmla="*/ 2 h 21"/>
                    <a:gd name="T14" fmla="*/ 11 w 11"/>
                    <a:gd name="T15" fmla="*/ 19 h 21"/>
                    <a:gd name="T16" fmla="*/ 9 w 11"/>
                    <a:gd name="T17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21">
                      <a:moveTo>
                        <a:pt x="9" y="21"/>
                      </a:moveTo>
                      <a:cubicBezTo>
                        <a:pt x="2" y="21"/>
                        <a:pt x="2" y="21"/>
                        <a:pt x="2" y="21"/>
                      </a:cubicBezTo>
                      <a:cubicBezTo>
                        <a:pt x="1" y="21"/>
                        <a:pt x="0" y="21"/>
                        <a:pt x="0" y="19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10" y="0"/>
                        <a:pt x="11" y="1"/>
                        <a:pt x="11" y="2"/>
                      </a:cubicBezTo>
                      <a:cubicBezTo>
                        <a:pt x="11" y="19"/>
                        <a:pt x="11" y="19"/>
                        <a:pt x="11" y="19"/>
                      </a:cubicBezTo>
                      <a:cubicBezTo>
                        <a:pt x="11" y="21"/>
                        <a:pt x="10" y="21"/>
                        <a:pt x="9" y="21"/>
                      </a:cubicBezTo>
                      <a:close/>
                    </a:path>
                  </a:pathLst>
                </a:custGeom>
                <a:solidFill>
                  <a:srgbClr val="FCFE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50" name="iśľíḓe"/>
                <p:cNvSpPr/>
                <p:nvPr/>
              </p:nvSpPr>
              <p:spPr bwMode="auto">
                <a:xfrm>
                  <a:off x="8156576" y="3060700"/>
                  <a:ext cx="130175" cy="195263"/>
                </a:xfrm>
                <a:custGeom>
                  <a:avLst/>
                  <a:gdLst>
                    <a:gd name="T0" fmla="*/ 0 w 26"/>
                    <a:gd name="T1" fmla="*/ 19 h 39"/>
                    <a:gd name="T2" fmla="*/ 2 w 26"/>
                    <a:gd name="T3" fmla="*/ 16 h 39"/>
                    <a:gd name="T4" fmla="*/ 8 w 26"/>
                    <a:gd name="T5" fmla="*/ 5 h 39"/>
                    <a:gd name="T6" fmla="*/ 14 w 26"/>
                    <a:gd name="T7" fmla="*/ 8 h 39"/>
                    <a:gd name="T8" fmla="*/ 14 w 26"/>
                    <a:gd name="T9" fmla="*/ 16 h 39"/>
                    <a:gd name="T10" fmla="*/ 22 w 26"/>
                    <a:gd name="T11" fmla="*/ 16 h 39"/>
                    <a:gd name="T12" fmla="*/ 26 w 26"/>
                    <a:gd name="T13" fmla="*/ 20 h 39"/>
                    <a:gd name="T14" fmla="*/ 26 w 26"/>
                    <a:gd name="T15" fmla="*/ 35 h 39"/>
                    <a:gd name="T16" fmla="*/ 22 w 26"/>
                    <a:gd name="T17" fmla="*/ 39 h 39"/>
                    <a:gd name="T18" fmla="*/ 6 w 26"/>
                    <a:gd name="T19" fmla="*/ 39 h 39"/>
                    <a:gd name="T20" fmla="*/ 4 w 26"/>
                    <a:gd name="T21" fmla="*/ 38 h 39"/>
                    <a:gd name="T22" fmla="*/ 2 w 26"/>
                    <a:gd name="T23" fmla="*/ 36 h 39"/>
                    <a:gd name="T24" fmla="*/ 0 w 26"/>
                    <a:gd name="T25" fmla="*/ 33 h 39"/>
                    <a:gd name="T26" fmla="*/ 0 w 26"/>
                    <a:gd name="T27" fmla="*/ 19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6" h="39">
                      <a:moveTo>
                        <a:pt x="0" y="19"/>
                      </a:moveTo>
                      <a:cubicBezTo>
                        <a:pt x="0" y="18"/>
                        <a:pt x="1" y="17"/>
                        <a:pt x="2" y="16"/>
                      </a:cubicBezTo>
                      <a:cubicBezTo>
                        <a:pt x="3" y="15"/>
                        <a:pt x="7" y="14"/>
                        <a:pt x="8" y="5"/>
                      </a:cubicBezTo>
                      <a:cubicBezTo>
                        <a:pt x="9" y="0"/>
                        <a:pt x="14" y="3"/>
                        <a:pt x="14" y="8"/>
                      </a:cubicBezTo>
                      <a:cubicBezTo>
                        <a:pt x="15" y="12"/>
                        <a:pt x="14" y="16"/>
                        <a:pt x="14" y="16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25" y="16"/>
                        <a:pt x="26" y="17"/>
                        <a:pt x="26" y="20"/>
                      </a:cubicBezTo>
                      <a:cubicBezTo>
                        <a:pt x="26" y="35"/>
                        <a:pt x="26" y="35"/>
                        <a:pt x="26" y="35"/>
                      </a:cubicBezTo>
                      <a:cubicBezTo>
                        <a:pt x="26" y="37"/>
                        <a:pt x="25" y="39"/>
                        <a:pt x="22" y="39"/>
                      </a:cubicBezTo>
                      <a:cubicBezTo>
                        <a:pt x="6" y="39"/>
                        <a:pt x="6" y="39"/>
                        <a:pt x="6" y="39"/>
                      </a:cubicBezTo>
                      <a:cubicBezTo>
                        <a:pt x="6" y="39"/>
                        <a:pt x="5" y="39"/>
                        <a:pt x="4" y="38"/>
                      </a:cubicBezTo>
                      <a:cubicBezTo>
                        <a:pt x="2" y="36"/>
                        <a:pt x="2" y="36"/>
                        <a:pt x="2" y="36"/>
                      </a:cubicBezTo>
                      <a:cubicBezTo>
                        <a:pt x="1" y="36"/>
                        <a:pt x="0" y="35"/>
                        <a:pt x="0" y="33"/>
                      </a:cubicBezTo>
                      <a:lnTo>
                        <a:pt x="0" y="19"/>
                      </a:lnTo>
                      <a:close/>
                    </a:path>
                  </a:pathLst>
                </a:custGeom>
                <a:solidFill>
                  <a:srgbClr val="FCFE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51" name="ísľíḍé"/>
                <p:cNvSpPr/>
                <p:nvPr/>
              </p:nvSpPr>
              <p:spPr bwMode="auto">
                <a:xfrm>
                  <a:off x="5815013" y="3611563"/>
                  <a:ext cx="230188" cy="215900"/>
                </a:xfrm>
                <a:custGeom>
                  <a:avLst/>
                  <a:gdLst>
                    <a:gd name="T0" fmla="*/ 39 w 46"/>
                    <a:gd name="T1" fmla="*/ 0 h 43"/>
                    <a:gd name="T2" fmla="*/ 7 w 46"/>
                    <a:gd name="T3" fmla="*/ 0 h 43"/>
                    <a:gd name="T4" fmla="*/ 0 w 46"/>
                    <a:gd name="T5" fmla="*/ 7 h 43"/>
                    <a:gd name="T6" fmla="*/ 0 w 46"/>
                    <a:gd name="T7" fmla="*/ 30 h 43"/>
                    <a:gd name="T8" fmla="*/ 7 w 46"/>
                    <a:gd name="T9" fmla="*/ 36 h 43"/>
                    <a:gd name="T10" fmla="*/ 18 w 46"/>
                    <a:gd name="T11" fmla="*/ 36 h 43"/>
                    <a:gd name="T12" fmla="*/ 23 w 46"/>
                    <a:gd name="T13" fmla="*/ 43 h 43"/>
                    <a:gd name="T14" fmla="*/ 28 w 46"/>
                    <a:gd name="T15" fmla="*/ 36 h 43"/>
                    <a:gd name="T16" fmla="*/ 39 w 46"/>
                    <a:gd name="T17" fmla="*/ 36 h 43"/>
                    <a:gd name="T18" fmla="*/ 46 w 46"/>
                    <a:gd name="T19" fmla="*/ 30 h 43"/>
                    <a:gd name="T20" fmla="*/ 46 w 46"/>
                    <a:gd name="T21" fmla="*/ 7 h 43"/>
                    <a:gd name="T22" fmla="*/ 39 w 46"/>
                    <a:gd name="T23" fmla="*/ 0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6" h="43">
                      <a:moveTo>
                        <a:pt x="39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33"/>
                        <a:pt x="3" y="36"/>
                        <a:pt x="7" y="36"/>
                      </a:cubicBezTo>
                      <a:cubicBezTo>
                        <a:pt x="18" y="36"/>
                        <a:pt x="18" y="36"/>
                        <a:pt x="18" y="36"/>
                      </a:cubicBezTo>
                      <a:cubicBezTo>
                        <a:pt x="23" y="43"/>
                        <a:pt x="23" y="43"/>
                        <a:pt x="23" y="43"/>
                      </a:cubicBezTo>
                      <a:cubicBezTo>
                        <a:pt x="28" y="36"/>
                        <a:pt x="28" y="36"/>
                        <a:pt x="28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43" y="36"/>
                        <a:pt x="46" y="33"/>
                        <a:pt x="46" y="30"/>
                      </a:cubicBezTo>
                      <a:cubicBezTo>
                        <a:pt x="46" y="7"/>
                        <a:pt x="46" y="7"/>
                        <a:pt x="46" y="7"/>
                      </a:cubicBezTo>
                      <a:cubicBezTo>
                        <a:pt x="46" y="3"/>
                        <a:pt x="43" y="0"/>
                        <a:pt x="39" y="0"/>
                      </a:cubicBezTo>
                      <a:close/>
                    </a:path>
                  </a:pathLst>
                </a:custGeom>
                <a:solidFill>
                  <a:srgbClr val="4D99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52" name="ïşḻiḓe"/>
                <p:cNvSpPr/>
                <p:nvPr/>
              </p:nvSpPr>
              <p:spPr bwMode="auto">
                <a:xfrm>
                  <a:off x="5865813" y="3676650"/>
                  <a:ext cx="34925" cy="65088"/>
                </a:xfrm>
                <a:custGeom>
                  <a:avLst/>
                  <a:gdLst>
                    <a:gd name="T0" fmla="*/ 6 w 7"/>
                    <a:gd name="T1" fmla="*/ 13 h 13"/>
                    <a:gd name="T2" fmla="*/ 2 w 7"/>
                    <a:gd name="T3" fmla="*/ 13 h 13"/>
                    <a:gd name="T4" fmla="*/ 0 w 7"/>
                    <a:gd name="T5" fmla="*/ 12 h 13"/>
                    <a:gd name="T6" fmla="*/ 0 w 7"/>
                    <a:gd name="T7" fmla="*/ 2 h 13"/>
                    <a:gd name="T8" fmla="*/ 2 w 7"/>
                    <a:gd name="T9" fmla="*/ 0 h 13"/>
                    <a:gd name="T10" fmla="*/ 6 w 7"/>
                    <a:gd name="T11" fmla="*/ 0 h 13"/>
                    <a:gd name="T12" fmla="*/ 7 w 7"/>
                    <a:gd name="T13" fmla="*/ 2 h 13"/>
                    <a:gd name="T14" fmla="*/ 7 w 7"/>
                    <a:gd name="T15" fmla="*/ 12 h 13"/>
                    <a:gd name="T16" fmla="*/ 6 w 7"/>
                    <a:gd name="T17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13">
                      <a:moveTo>
                        <a:pt x="6" y="13"/>
                      </a:moveTo>
                      <a:cubicBezTo>
                        <a:pt x="2" y="13"/>
                        <a:pt x="2" y="13"/>
                        <a:pt x="2" y="13"/>
                      </a:cubicBezTo>
                      <a:cubicBezTo>
                        <a:pt x="1" y="13"/>
                        <a:pt x="0" y="13"/>
                        <a:pt x="0" y="1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7" y="0"/>
                        <a:pt x="7" y="1"/>
                        <a:pt x="7" y="2"/>
                      </a:cubicBezTo>
                      <a:cubicBezTo>
                        <a:pt x="7" y="12"/>
                        <a:pt x="7" y="12"/>
                        <a:pt x="7" y="12"/>
                      </a:cubicBezTo>
                      <a:cubicBezTo>
                        <a:pt x="7" y="13"/>
                        <a:pt x="7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FCFE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53" name="ïśľiďè"/>
                <p:cNvSpPr/>
                <p:nvPr/>
              </p:nvSpPr>
              <p:spPr bwMode="auto">
                <a:xfrm>
                  <a:off x="5915026" y="3632200"/>
                  <a:ext cx="80963" cy="114300"/>
                </a:xfrm>
                <a:custGeom>
                  <a:avLst/>
                  <a:gdLst>
                    <a:gd name="T0" fmla="*/ 0 w 16"/>
                    <a:gd name="T1" fmla="*/ 11 h 23"/>
                    <a:gd name="T2" fmla="*/ 0 w 16"/>
                    <a:gd name="T3" fmla="*/ 9 h 23"/>
                    <a:gd name="T4" fmla="*/ 4 w 16"/>
                    <a:gd name="T5" fmla="*/ 2 h 23"/>
                    <a:gd name="T6" fmla="*/ 8 w 16"/>
                    <a:gd name="T7" fmla="*/ 5 h 23"/>
                    <a:gd name="T8" fmla="*/ 8 w 16"/>
                    <a:gd name="T9" fmla="*/ 9 h 23"/>
                    <a:gd name="T10" fmla="*/ 13 w 16"/>
                    <a:gd name="T11" fmla="*/ 9 h 23"/>
                    <a:gd name="T12" fmla="*/ 16 w 16"/>
                    <a:gd name="T13" fmla="*/ 11 h 23"/>
                    <a:gd name="T14" fmla="*/ 16 w 16"/>
                    <a:gd name="T15" fmla="*/ 21 h 23"/>
                    <a:gd name="T16" fmla="*/ 13 w 16"/>
                    <a:gd name="T17" fmla="*/ 23 h 23"/>
                    <a:gd name="T18" fmla="*/ 3 w 16"/>
                    <a:gd name="T19" fmla="*/ 23 h 23"/>
                    <a:gd name="T20" fmla="*/ 2 w 16"/>
                    <a:gd name="T21" fmla="*/ 23 h 23"/>
                    <a:gd name="T22" fmla="*/ 1 w 16"/>
                    <a:gd name="T23" fmla="*/ 22 h 23"/>
                    <a:gd name="T24" fmla="*/ 0 w 16"/>
                    <a:gd name="T25" fmla="*/ 20 h 23"/>
                    <a:gd name="T26" fmla="*/ 0 w 16"/>
                    <a:gd name="T27" fmla="*/ 11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" h="23">
                      <a:moveTo>
                        <a:pt x="0" y="11"/>
                      </a:moveTo>
                      <a:cubicBezTo>
                        <a:pt x="0" y="11"/>
                        <a:pt x="0" y="10"/>
                        <a:pt x="0" y="9"/>
                      </a:cubicBezTo>
                      <a:cubicBezTo>
                        <a:pt x="2" y="9"/>
                        <a:pt x="3" y="8"/>
                        <a:pt x="4" y="2"/>
                      </a:cubicBezTo>
                      <a:cubicBezTo>
                        <a:pt x="5" y="0"/>
                        <a:pt x="8" y="2"/>
                        <a:pt x="8" y="5"/>
                      </a:cubicBezTo>
                      <a:cubicBezTo>
                        <a:pt x="8" y="7"/>
                        <a:pt x="8" y="9"/>
                        <a:pt x="8" y="9"/>
                      </a:cubicBezTo>
                      <a:cubicBezTo>
                        <a:pt x="13" y="9"/>
                        <a:pt x="13" y="9"/>
                        <a:pt x="13" y="9"/>
                      </a:cubicBezTo>
                      <a:cubicBezTo>
                        <a:pt x="15" y="9"/>
                        <a:pt x="16" y="10"/>
                        <a:pt x="16" y="11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16" y="22"/>
                        <a:pt x="15" y="23"/>
                        <a:pt x="13" y="23"/>
                      </a:cubicBezTo>
                      <a:cubicBezTo>
                        <a:pt x="3" y="23"/>
                        <a:pt x="3" y="23"/>
                        <a:pt x="3" y="23"/>
                      </a:cubicBezTo>
                      <a:cubicBezTo>
                        <a:pt x="3" y="23"/>
                        <a:pt x="2" y="23"/>
                        <a:pt x="2" y="23"/>
                      </a:cubicBezTo>
                      <a:cubicBezTo>
                        <a:pt x="1" y="22"/>
                        <a:pt x="1" y="22"/>
                        <a:pt x="1" y="22"/>
                      </a:cubicBezTo>
                      <a:cubicBezTo>
                        <a:pt x="0" y="21"/>
                        <a:pt x="0" y="21"/>
                        <a:pt x="0" y="20"/>
                      </a:cubicBezTo>
                      <a:lnTo>
                        <a:pt x="0" y="11"/>
                      </a:lnTo>
                      <a:close/>
                    </a:path>
                  </a:pathLst>
                </a:custGeom>
                <a:solidFill>
                  <a:srgbClr val="FCFE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54" name="iṥľiḓè"/>
                <p:cNvSpPr/>
                <p:nvPr/>
              </p:nvSpPr>
              <p:spPr bwMode="auto">
                <a:xfrm>
                  <a:off x="4781551" y="1393825"/>
                  <a:ext cx="331788" cy="334963"/>
                </a:xfrm>
                <a:prstGeom prst="ellipse">
                  <a:avLst/>
                </a:prstGeom>
                <a:solidFill>
                  <a:srgbClr val="FFBA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55" name="íşļïdê"/>
                <p:cNvSpPr/>
                <p:nvPr/>
              </p:nvSpPr>
              <p:spPr bwMode="auto">
                <a:xfrm>
                  <a:off x="4841876" y="1454150"/>
                  <a:ext cx="211138" cy="200025"/>
                </a:xfrm>
                <a:custGeom>
                  <a:avLst/>
                  <a:gdLst>
                    <a:gd name="T0" fmla="*/ 67 w 133"/>
                    <a:gd name="T1" fmla="*/ 0 h 126"/>
                    <a:gd name="T2" fmla="*/ 85 w 133"/>
                    <a:gd name="T3" fmla="*/ 41 h 126"/>
                    <a:gd name="T4" fmla="*/ 133 w 133"/>
                    <a:gd name="T5" fmla="*/ 47 h 126"/>
                    <a:gd name="T6" fmla="*/ 98 w 133"/>
                    <a:gd name="T7" fmla="*/ 78 h 126"/>
                    <a:gd name="T8" fmla="*/ 108 w 133"/>
                    <a:gd name="T9" fmla="*/ 126 h 126"/>
                    <a:gd name="T10" fmla="*/ 67 w 133"/>
                    <a:gd name="T11" fmla="*/ 104 h 126"/>
                    <a:gd name="T12" fmla="*/ 25 w 133"/>
                    <a:gd name="T13" fmla="*/ 126 h 126"/>
                    <a:gd name="T14" fmla="*/ 32 w 133"/>
                    <a:gd name="T15" fmla="*/ 78 h 126"/>
                    <a:gd name="T16" fmla="*/ 0 w 133"/>
                    <a:gd name="T17" fmla="*/ 47 h 126"/>
                    <a:gd name="T18" fmla="*/ 44 w 133"/>
                    <a:gd name="T19" fmla="*/ 41 h 126"/>
                    <a:gd name="T20" fmla="*/ 67 w 133"/>
                    <a:gd name="T21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3" h="126">
                      <a:moveTo>
                        <a:pt x="67" y="0"/>
                      </a:moveTo>
                      <a:lnTo>
                        <a:pt x="85" y="41"/>
                      </a:lnTo>
                      <a:lnTo>
                        <a:pt x="133" y="47"/>
                      </a:lnTo>
                      <a:lnTo>
                        <a:pt x="98" y="78"/>
                      </a:lnTo>
                      <a:lnTo>
                        <a:pt x="108" y="126"/>
                      </a:lnTo>
                      <a:lnTo>
                        <a:pt x="67" y="104"/>
                      </a:lnTo>
                      <a:lnTo>
                        <a:pt x="25" y="126"/>
                      </a:lnTo>
                      <a:lnTo>
                        <a:pt x="32" y="78"/>
                      </a:lnTo>
                      <a:lnTo>
                        <a:pt x="0" y="47"/>
                      </a:lnTo>
                      <a:lnTo>
                        <a:pt x="44" y="41"/>
                      </a:lnTo>
                      <a:lnTo>
                        <a:pt x="6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56" name="íṧḷiďé"/>
                <p:cNvSpPr/>
                <p:nvPr/>
              </p:nvSpPr>
              <p:spPr bwMode="auto">
                <a:xfrm>
                  <a:off x="6356351" y="2555875"/>
                  <a:ext cx="201613" cy="195263"/>
                </a:xfrm>
                <a:prstGeom prst="ellipse">
                  <a:avLst/>
                </a:prstGeom>
                <a:solidFill>
                  <a:srgbClr val="FFBA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57" name="íŝļiḋè"/>
                <p:cNvSpPr/>
                <p:nvPr/>
              </p:nvSpPr>
              <p:spPr bwMode="auto">
                <a:xfrm>
                  <a:off x="6396038" y="2590800"/>
                  <a:ext cx="125413" cy="119063"/>
                </a:xfrm>
                <a:custGeom>
                  <a:avLst/>
                  <a:gdLst>
                    <a:gd name="T0" fmla="*/ 38 w 79"/>
                    <a:gd name="T1" fmla="*/ 0 h 75"/>
                    <a:gd name="T2" fmla="*/ 51 w 79"/>
                    <a:gd name="T3" fmla="*/ 25 h 75"/>
                    <a:gd name="T4" fmla="*/ 79 w 79"/>
                    <a:gd name="T5" fmla="*/ 28 h 75"/>
                    <a:gd name="T6" fmla="*/ 57 w 79"/>
                    <a:gd name="T7" fmla="*/ 47 h 75"/>
                    <a:gd name="T8" fmla="*/ 64 w 79"/>
                    <a:gd name="T9" fmla="*/ 75 h 75"/>
                    <a:gd name="T10" fmla="*/ 38 w 79"/>
                    <a:gd name="T11" fmla="*/ 60 h 75"/>
                    <a:gd name="T12" fmla="*/ 13 w 79"/>
                    <a:gd name="T13" fmla="*/ 75 h 75"/>
                    <a:gd name="T14" fmla="*/ 19 w 79"/>
                    <a:gd name="T15" fmla="*/ 47 h 75"/>
                    <a:gd name="T16" fmla="*/ 0 w 79"/>
                    <a:gd name="T17" fmla="*/ 28 h 75"/>
                    <a:gd name="T18" fmla="*/ 26 w 79"/>
                    <a:gd name="T19" fmla="*/ 25 h 75"/>
                    <a:gd name="T20" fmla="*/ 38 w 79"/>
                    <a:gd name="T21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9" h="75">
                      <a:moveTo>
                        <a:pt x="38" y="0"/>
                      </a:moveTo>
                      <a:lnTo>
                        <a:pt x="51" y="25"/>
                      </a:lnTo>
                      <a:lnTo>
                        <a:pt x="79" y="28"/>
                      </a:lnTo>
                      <a:lnTo>
                        <a:pt x="57" y="47"/>
                      </a:lnTo>
                      <a:lnTo>
                        <a:pt x="64" y="75"/>
                      </a:lnTo>
                      <a:lnTo>
                        <a:pt x="38" y="60"/>
                      </a:lnTo>
                      <a:lnTo>
                        <a:pt x="13" y="75"/>
                      </a:lnTo>
                      <a:lnTo>
                        <a:pt x="19" y="47"/>
                      </a:lnTo>
                      <a:lnTo>
                        <a:pt x="0" y="28"/>
                      </a:lnTo>
                      <a:lnTo>
                        <a:pt x="26" y="25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58" name="isļïďè"/>
                <p:cNvSpPr/>
                <p:nvPr/>
              </p:nvSpPr>
              <p:spPr bwMode="auto">
                <a:xfrm>
                  <a:off x="4421188" y="4002088"/>
                  <a:ext cx="265113" cy="246063"/>
                </a:xfrm>
                <a:custGeom>
                  <a:avLst/>
                  <a:gdLst>
                    <a:gd name="T0" fmla="*/ 45 w 53"/>
                    <a:gd name="T1" fmla="*/ 0 h 49"/>
                    <a:gd name="T2" fmla="*/ 8 w 53"/>
                    <a:gd name="T3" fmla="*/ 0 h 49"/>
                    <a:gd name="T4" fmla="*/ 0 w 53"/>
                    <a:gd name="T5" fmla="*/ 7 h 49"/>
                    <a:gd name="T6" fmla="*/ 0 w 53"/>
                    <a:gd name="T7" fmla="*/ 34 h 49"/>
                    <a:gd name="T8" fmla="*/ 8 w 53"/>
                    <a:gd name="T9" fmla="*/ 41 h 49"/>
                    <a:gd name="T10" fmla="*/ 21 w 53"/>
                    <a:gd name="T11" fmla="*/ 41 h 49"/>
                    <a:gd name="T12" fmla="*/ 26 w 53"/>
                    <a:gd name="T13" fmla="*/ 49 h 49"/>
                    <a:gd name="T14" fmla="*/ 32 w 53"/>
                    <a:gd name="T15" fmla="*/ 41 h 49"/>
                    <a:gd name="T16" fmla="*/ 45 w 53"/>
                    <a:gd name="T17" fmla="*/ 41 h 49"/>
                    <a:gd name="T18" fmla="*/ 53 w 53"/>
                    <a:gd name="T19" fmla="*/ 34 h 49"/>
                    <a:gd name="T20" fmla="*/ 53 w 53"/>
                    <a:gd name="T21" fmla="*/ 7 h 49"/>
                    <a:gd name="T22" fmla="*/ 45 w 53"/>
                    <a:gd name="T23" fmla="*/ 0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3" h="49">
                      <a:moveTo>
                        <a:pt x="45" y="0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4" y="0"/>
                        <a:pt x="0" y="3"/>
                        <a:pt x="0" y="7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0" y="38"/>
                        <a:pt x="4" y="41"/>
                        <a:pt x="8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6" y="49"/>
                        <a:pt x="26" y="49"/>
                        <a:pt x="26" y="49"/>
                      </a:cubicBezTo>
                      <a:cubicBezTo>
                        <a:pt x="32" y="41"/>
                        <a:pt x="32" y="41"/>
                        <a:pt x="32" y="41"/>
                      </a:cubicBezTo>
                      <a:cubicBezTo>
                        <a:pt x="45" y="41"/>
                        <a:pt x="45" y="41"/>
                        <a:pt x="45" y="41"/>
                      </a:cubicBezTo>
                      <a:cubicBezTo>
                        <a:pt x="49" y="41"/>
                        <a:pt x="53" y="38"/>
                        <a:pt x="53" y="34"/>
                      </a:cubicBezTo>
                      <a:cubicBezTo>
                        <a:pt x="53" y="7"/>
                        <a:pt x="53" y="7"/>
                        <a:pt x="53" y="7"/>
                      </a:cubicBezTo>
                      <a:cubicBezTo>
                        <a:pt x="53" y="3"/>
                        <a:pt x="49" y="0"/>
                        <a:pt x="45" y="0"/>
                      </a:cubicBezTo>
                      <a:close/>
                    </a:path>
                  </a:pathLst>
                </a:custGeom>
                <a:solidFill>
                  <a:srgbClr val="FF572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59" name="íšliḋe"/>
                <p:cNvSpPr/>
                <p:nvPr/>
              </p:nvSpPr>
              <p:spPr bwMode="auto">
                <a:xfrm>
                  <a:off x="4486276" y="4048125"/>
                  <a:ext cx="134938" cy="123825"/>
                </a:xfrm>
                <a:custGeom>
                  <a:avLst/>
                  <a:gdLst>
                    <a:gd name="T0" fmla="*/ 24 w 27"/>
                    <a:gd name="T1" fmla="*/ 3 h 25"/>
                    <a:gd name="T2" fmla="*/ 24 w 27"/>
                    <a:gd name="T3" fmla="*/ 3 h 25"/>
                    <a:gd name="T4" fmla="*/ 14 w 27"/>
                    <a:gd name="T5" fmla="*/ 3 h 25"/>
                    <a:gd name="T6" fmla="*/ 14 w 27"/>
                    <a:gd name="T7" fmla="*/ 3 h 25"/>
                    <a:gd name="T8" fmla="*/ 13 w 27"/>
                    <a:gd name="T9" fmla="*/ 3 h 25"/>
                    <a:gd name="T10" fmla="*/ 3 w 27"/>
                    <a:gd name="T11" fmla="*/ 3 h 25"/>
                    <a:gd name="T12" fmla="*/ 3 w 27"/>
                    <a:gd name="T13" fmla="*/ 3 h 25"/>
                    <a:gd name="T14" fmla="*/ 3 w 27"/>
                    <a:gd name="T15" fmla="*/ 14 h 25"/>
                    <a:gd name="T16" fmla="*/ 14 w 27"/>
                    <a:gd name="T17" fmla="*/ 25 h 25"/>
                    <a:gd name="T18" fmla="*/ 14 w 27"/>
                    <a:gd name="T19" fmla="*/ 25 h 25"/>
                    <a:gd name="T20" fmla="*/ 14 w 27"/>
                    <a:gd name="T21" fmla="*/ 25 h 25"/>
                    <a:gd name="T22" fmla="*/ 24 w 27"/>
                    <a:gd name="T23" fmla="*/ 14 h 25"/>
                    <a:gd name="T24" fmla="*/ 24 w 27"/>
                    <a:gd name="T25" fmla="*/ 3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7" h="25">
                      <a:moveTo>
                        <a:pt x="24" y="3"/>
                      </a:moveTo>
                      <a:cubicBezTo>
                        <a:pt x="24" y="3"/>
                        <a:pt x="24" y="3"/>
                        <a:pt x="24" y="3"/>
                      </a:cubicBezTo>
                      <a:cubicBezTo>
                        <a:pt x="21" y="0"/>
                        <a:pt x="17" y="0"/>
                        <a:pt x="14" y="3"/>
                      </a:cubicBezTo>
                      <a:cubicBezTo>
                        <a:pt x="14" y="3"/>
                        <a:pt x="14" y="3"/>
                        <a:pt x="14" y="3"/>
                      </a:cubicBezTo>
                      <a:cubicBezTo>
                        <a:pt x="13" y="3"/>
                        <a:pt x="13" y="3"/>
                        <a:pt x="13" y="3"/>
                      </a:cubicBezTo>
                      <a:cubicBezTo>
                        <a:pt x="10" y="0"/>
                        <a:pt x="6" y="0"/>
                        <a:pt x="3" y="3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0" y="6"/>
                        <a:pt x="0" y="11"/>
                        <a:pt x="3" y="14"/>
                      </a:cubicBezTo>
                      <a:cubicBezTo>
                        <a:pt x="14" y="25"/>
                        <a:pt x="14" y="25"/>
                        <a:pt x="14" y="25"/>
                      </a:cubicBezTo>
                      <a:cubicBezTo>
                        <a:pt x="14" y="25"/>
                        <a:pt x="14" y="25"/>
                        <a:pt x="14" y="25"/>
                      </a:cubicBezTo>
                      <a:cubicBezTo>
                        <a:pt x="14" y="25"/>
                        <a:pt x="14" y="25"/>
                        <a:pt x="14" y="25"/>
                      </a:cubicBezTo>
                      <a:cubicBezTo>
                        <a:pt x="24" y="14"/>
                        <a:pt x="24" y="14"/>
                        <a:pt x="24" y="14"/>
                      </a:cubicBezTo>
                      <a:cubicBezTo>
                        <a:pt x="27" y="11"/>
                        <a:pt x="27" y="6"/>
                        <a:pt x="24" y="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60" name="ïśľidè"/>
                <p:cNvSpPr/>
                <p:nvPr/>
              </p:nvSpPr>
              <p:spPr bwMode="auto">
                <a:xfrm>
                  <a:off x="6953251" y="1417638"/>
                  <a:ext cx="306388" cy="285750"/>
                </a:xfrm>
                <a:custGeom>
                  <a:avLst/>
                  <a:gdLst>
                    <a:gd name="T0" fmla="*/ 52 w 61"/>
                    <a:gd name="T1" fmla="*/ 0 h 57"/>
                    <a:gd name="T2" fmla="*/ 9 w 61"/>
                    <a:gd name="T3" fmla="*/ 0 h 57"/>
                    <a:gd name="T4" fmla="*/ 0 w 61"/>
                    <a:gd name="T5" fmla="*/ 9 h 57"/>
                    <a:gd name="T6" fmla="*/ 0 w 61"/>
                    <a:gd name="T7" fmla="*/ 39 h 57"/>
                    <a:gd name="T8" fmla="*/ 9 w 61"/>
                    <a:gd name="T9" fmla="*/ 48 h 57"/>
                    <a:gd name="T10" fmla="*/ 24 w 61"/>
                    <a:gd name="T11" fmla="*/ 48 h 57"/>
                    <a:gd name="T12" fmla="*/ 30 w 61"/>
                    <a:gd name="T13" fmla="*/ 57 h 57"/>
                    <a:gd name="T14" fmla="*/ 37 w 61"/>
                    <a:gd name="T15" fmla="*/ 48 h 57"/>
                    <a:gd name="T16" fmla="*/ 52 w 61"/>
                    <a:gd name="T17" fmla="*/ 48 h 57"/>
                    <a:gd name="T18" fmla="*/ 61 w 61"/>
                    <a:gd name="T19" fmla="*/ 39 h 57"/>
                    <a:gd name="T20" fmla="*/ 61 w 61"/>
                    <a:gd name="T21" fmla="*/ 9 h 57"/>
                    <a:gd name="T22" fmla="*/ 52 w 61"/>
                    <a:gd name="T23" fmla="*/ 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1" h="57">
                      <a:moveTo>
                        <a:pt x="52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4" y="0"/>
                        <a:pt x="0" y="4"/>
                        <a:pt x="0" y="9"/>
                      </a:cubicBezTo>
                      <a:cubicBezTo>
                        <a:pt x="0" y="39"/>
                        <a:pt x="0" y="39"/>
                        <a:pt x="0" y="39"/>
                      </a:cubicBezTo>
                      <a:cubicBezTo>
                        <a:pt x="0" y="44"/>
                        <a:pt x="4" y="48"/>
                        <a:pt x="9" y="48"/>
                      </a:cubicBezTo>
                      <a:cubicBezTo>
                        <a:pt x="24" y="48"/>
                        <a:pt x="24" y="48"/>
                        <a:pt x="24" y="48"/>
                      </a:cubicBezTo>
                      <a:cubicBezTo>
                        <a:pt x="30" y="57"/>
                        <a:pt x="30" y="57"/>
                        <a:pt x="30" y="57"/>
                      </a:cubicBezTo>
                      <a:cubicBezTo>
                        <a:pt x="37" y="48"/>
                        <a:pt x="37" y="48"/>
                        <a:pt x="37" y="48"/>
                      </a:cubicBezTo>
                      <a:cubicBezTo>
                        <a:pt x="52" y="48"/>
                        <a:pt x="52" y="48"/>
                        <a:pt x="52" y="48"/>
                      </a:cubicBezTo>
                      <a:cubicBezTo>
                        <a:pt x="57" y="48"/>
                        <a:pt x="61" y="44"/>
                        <a:pt x="61" y="39"/>
                      </a:cubicBezTo>
                      <a:cubicBezTo>
                        <a:pt x="61" y="9"/>
                        <a:pt x="61" y="9"/>
                        <a:pt x="61" y="9"/>
                      </a:cubicBezTo>
                      <a:cubicBezTo>
                        <a:pt x="61" y="4"/>
                        <a:pt x="57" y="0"/>
                        <a:pt x="52" y="0"/>
                      </a:cubicBezTo>
                      <a:close/>
                    </a:path>
                  </a:pathLst>
                </a:custGeom>
                <a:solidFill>
                  <a:srgbClr val="FF572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  <p:sp>
              <p:nvSpPr>
                <p:cNvPr id="61" name="ïşḻiḑê"/>
                <p:cNvSpPr/>
                <p:nvPr/>
              </p:nvSpPr>
              <p:spPr bwMode="auto">
                <a:xfrm>
                  <a:off x="7023101" y="1473200"/>
                  <a:ext cx="160338" cy="139700"/>
                </a:xfrm>
                <a:custGeom>
                  <a:avLst/>
                  <a:gdLst>
                    <a:gd name="T0" fmla="*/ 29 w 32"/>
                    <a:gd name="T1" fmla="*/ 4 h 28"/>
                    <a:gd name="T2" fmla="*/ 29 w 32"/>
                    <a:gd name="T3" fmla="*/ 4 h 28"/>
                    <a:gd name="T4" fmla="*/ 16 w 32"/>
                    <a:gd name="T5" fmla="*/ 4 h 28"/>
                    <a:gd name="T6" fmla="*/ 16 w 32"/>
                    <a:gd name="T7" fmla="*/ 4 h 28"/>
                    <a:gd name="T8" fmla="*/ 16 w 32"/>
                    <a:gd name="T9" fmla="*/ 3 h 28"/>
                    <a:gd name="T10" fmla="*/ 4 w 32"/>
                    <a:gd name="T11" fmla="*/ 3 h 28"/>
                    <a:gd name="T12" fmla="*/ 4 w 32"/>
                    <a:gd name="T13" fmla="*/ 3 h 28"/>
                    <a:gd name="T14" fmla="*/ 4 w 32"/>
                    <a:gd name="T15" fmla="*/ 16 h 28"/>
                    <a:gd name="T16" fmla="*/ 16 w 32"/>
                    <a:gd name="T17" fmla="*/ 28 h 28"/>
                    <a:gd name="T18" fmla="*/ 16 w 32"/>
                    <a:gd name="T19" fmla="*/ 28 h 28"/>
                    <a:gd name="T20" fmla="*/ 16 w 32"/>
                    <a:gd name="T21" fmla="*/ 28 h 28"/>
                    <a:gd name="T22" fmla="*/ 29 w 32"/>
                    <a:gd name="T23" fmla="*/ 16 h 28"/>
                    <a:gd name="T24" fmla="*/ 29 w 32"/>
                    <a:gd name="T25" fmla="*/ 4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2" h="28">
                      <a:moveTo>
                        <a:pt x="29" y="4"/>
                      </a:moveTo>
                      <a:cubicBezTo>
                        <a:pt x="29" y="4"/>
                        <a:pt x="29" y="4"/>
                        <a:pt x="29" y="4"/>
                      </a:cubicBezTo>
                      <a:cubicBezTo>
                        <a:pt x="25" y="0"/>
                        <a:pt x="20" y="0"/>
                        <a:pt x="16" y="4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13" y="0"/>
                        <a:pt x="7" y="0"/>
                        <a:pt x="4" y="3"/>
                      </a:cubicBezTo>
                      <a:cubicBezTo>
                        <a:pt x="4" y="3"/>
                        <a:pt x="4" y="3"/>
                        <a:pt x="4" y="3"/>
                      </a:cubicBezTo>
                      <a:cubicBezTo>
                        <a:pt x="0" y="7"/>
                        <a:pt x="0" y="12"/>
                        <a:pt x="4" y="16"/>
                      </a:cubicBezTo>
                      <a:cubicBezTo>
                        <a:pt x="16" y="28"/>
                        <a:pt x="16" y="28"/>
                        <a:pt x="16" y="28"/>
                      </a:cubicBezTo>
                      <a:cubicBezTo>
                        <a:pt x="16" y="28"/>
                        <a:pt x="16" y="28"/>
                        <a:pt x="16" y="28"/>
                      </a:cubicBezTo>
                      <a:cubicBezTo>
                        <a:pt x="16" y="28"/>
                        <a:pt x="16" y="28"/>
                        <a:pt x="16" y="28"/>
                      </a:cubicBezTo>
                      <a:cubicBezTo>
                        <a:pt x="29" y="16"/>
                        <a:pt x="29" y="16"/>
                        <a:pt x="29" y="16"/>
                      </a:cubicBezTo>
                      <a:cubicBezTo>
                        <a:pt x="32" y="13"/>
                        <a:pt x="32" y="7"/>
                        <a:pt x="29" y="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90204"/>
                    <a:ea typeface="微软雅黑"/>
                    <a:cs typeface="+mn-cs"/>
                  </a:endParaRPr>
                </a:p>
              </p:txBody>
            </p:sp>
          </p:grpSp>
        </p:grpSp>
      </p:grpSp>
      <p:sp>
        <p:nvSpPr>
          <p:cNvPr id="80" name="ïś1ïḍe"/>
          <p:cNvSpPr/>
          <p:nvPr/>
        </p:nvSpPr>
        <p:spPr>
          <a:xfrm>
            <a:off x="1784122" y="2383714"/>
            <a:ext cx="589364" cy="589364"/>
          </a:xfrm>
          <a:prstGeom prst="ellipse">
            <a:avLst/>
          </a:prstGeom>
          <a:solidFill>
            <a:srgbClr val="1D25AA"/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3765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83" name="ísľïdê"/>
          <p:cNvSpPr/>
          <p:nvPr/>
        </p:nvSpPr>
        <p:spPr>
          <a:xfrm>
            <a:off x="1923966" y="2566894"/>
            <a:ext cx="309675" cy="223004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608037" h="437859">
                <a:moveTo>
                  <a:pt x="435614" y="275305"/>
                </a:moveTo>
                <a:cubicBezTo>
                  <a:pt x="437271" y="274359"/>
                  <a:pt x="439284" y="274596"/>
                  <a:pt x="440823" y="275778"/>
                </a:cubicBezTo>
                <a:cubicBezTo>
                  <a:pt x="448635" y="281809"/>
                  <a:pt x="457277" y="285948"/>
                  <a:pt x="466273" y="287959"/>
                </a:cubicBezTo>
                <a:cubicBezTo>
                  <a:pt x="467930" y="288313"/>
                  <a:pt x="469232" y="289496"/>
                  <a:pt x="469824" y="291033"/>
                </a:cubicBezTo>
                <a:lnTo>
                  <a:pt x="478939" y="315276"/>
                </a:lnTo>
                <a:lnTo>
                  <a:pt x="488172" y="291033"/>
                </a:lnTo>
                <a:cubicBezTo>
                  <a:pt x="488764" y="289496"/>
                  <a:pt x="490066" y="288313"/>
                  <a:pt x="491723" y="287959"/>
                </a:cubicBezTo>
                <a:cubicBezTo>
                  <a:pt x="500838" y="285948"/>
                  <a:pt x="509361" y="281809"/>
                  <a:pt x="517174" y="275778"/>
                </a:cubicBezTo>
                <a:cubicBezTo>
                  <a:pt x="518713" y="274596"/>
                  <a:pt x="520725" y="274359"/>
                  <a:pt x="522382" y="275305"/>
                </a:cubicBezTo>
                <a:cubicBezTo>
                  <a:pt x="529485" y="278971"/>
                  <a:pt x="564878" y="298247"/>
                  <a:pt x="573875" y="309954"/>
                </a:cubicBezTo>
                <a:cubicBezTo>
                  <a:pt x="591157" y="332423"/>
                  <a:pt x="603468" y="399829"/>
                  <a:pt x="607966" y="427738"/>
                </a:cubicBezTo>
                <a:cubicBezTo>
                  <a:pt x="608203" y="429157"/>
                  <a:pt x="607848" y="430694"/>
                  <a:pt x="606901" y="431758"/>
                </a:cubicBezTo>
                <a:cubicBezTo>
                  <a:pt x="605954" y="432823"/>
                  <a:pt x="604652" y="433414"/>
                  <a:pt x="603231" y="433414"/>
                </a:cubicBezTo>
                <a:lnTo>
                  <a:pt x="354765" y="433414"/>
                </a:lnTo>
                <a:cubicBezTo>
                  <a:pt x="353344" y="433414"/>
                  <a:pt x="352042" y="432823"/>
                  <a:pt x="351095" y="431758"/>
                </a:cubicBezTo>
                <a:cubicBezTo>
                  <a:pt x="350148" y="430694"/>
                  <a:pt x="349793" y="429157"/>
                  <a:pt x="350030" y="427738"/>
                </a:cubicBezTo>
                <a:cubicBezTo>
                  <a:pt x="354528" y="399829"/>
                  <a:pt x="366839" y="332423"/>
                  <a:pt x="384122" y="309954"/>
                </a:cubicBezTo>
                <a:cubicBezTo>
                  <a:pt x="393118" y="298247"/>
                  <a:pt x="428512" y="278971"/>
                  <a:pt x="435614" y="275305"/>
                </a:cubicBezTo>
                <a:close/>
                <a:moveTo>
                  <a:pt x="479051" y="123066"/>
                </a:moveTo>
                <a:cubicBezTo>
                  <a:pt x="542255" y="123066"/>
                  <a:pt x="548646" y="158180"/>
                  <a:pt x="548646" y="201334"/>
                </a:cubicBezTo>
                <a:cubicBezTo>
                  <a:pt x="548646" y="244607"/>
                  <a:pt x="517518" y="279721"/>
                  <a:pt x="479051" y="279721"/>
                </a:cubicBezTo>
                <a:cubicBezTo>
                  <a:pt x="440584" y="279721"/>
                  <a:pt x="409337" y="244607"/>
                  <a:pt x="409337" y="201334"/>
                </a:cubicBezTo>
                <a:cubicBezTo>
                  <a:pt x="409337" y="198852"/>
                  <a:pt x="409337" y="196369"/>
                  <a:pt x="409455" y="193886"/>
                </a:cubicBezTo>
                <a:cubicBezTo>
                  <a:pt x="405668" y="196723"/>
                  <a:pt x="402235" y="200389"/>
                  <a:pt x="400460" y="205000"/>
                </a:cubicBezTo>
                <a:cubicBezTo>
                  <a:pt x="397856" y="211502"/>
                  <a:pt x="399276" y="219305"/>
                  <a:pt x="404484" y="228173"/>
                </a:cubicBezTo>
                <a:cubicBezTo>
                  <a:pt x="406259" y="228646"/>
                  <a:pt x="407916" y="229710"/>
                  <a:pt x="408982" y="231365"/>
                </a:cubicBezTo>
                <a:lnTo>
                  <a:pt x="411822" y="235503"/>
                </a:lnTo>
                <a:cubicBezTo>
                  <a:pt x="413124" y="237276"/>
                  <a:pt x="413598" y="239405"/>
                  <a:pt x="413243" y="241651"/>
                </a:cubicBezTo>
                <a:cubicBezTo>
                  <a:pt x="412888" y="243779"/>
                  <a:pt x="411586" y="245671"/>
                  <a:pt x="409810" y="246853"/>
                </a:cubicBezTo>
                <a:cubicBezTo>
                  <a:pt x="408508" y="247799"/>
                  <a:pt x="406851" y="248390"/>
                  <a:pt x="405194" y="248390"/>
                </a:cubicBezTo>
                <a:cubicBezTo>
                  <a:pt x="402472" y="248390"/>
                  <a:pt x="399986" y="247090"/>
                  <a:pt x="398448" y="244843"/>
                </a:cubicBezTo>
                <a:lnTo>
                  <a:pt x="395489" y="240705"/>
                </a:lnTo>
                <a:cubicBezTo>
                  <a:pt x="394187" y="238695"/>
                  <a:pt x="393832" y="236331"/>
                  <a:pt x="394305" y="234202"/>
                </a:cubicBezTo>
                <a:cubicBezTo>
                  <a:pt x="387085" y="222143"/>
                  <a:pt x="385428" y="210793"/>
                  <a:pt x="389334" y="200625"/>
                </a:cubicBezTo>
                <a:cubicBezTo>
                  <a:pt x="393358" y="190221"/>
                  <a:pt x="402590" y="183482"/>
                  <a:pt x="410284" y="179344"/>
                </a:cubicBezTo>
                <a:cubicBezTo>
                  <a:pt x="413361" y="146830"/>
                  <a:pt x="426854" y="123066"/>
                  <a:pt x="479051" y="123066"/>
                </a:cubicBezTo>
                <a:close/>
                <a:moveTo>
                  <a:pt x="251377" y="87196"/>
                </a:moveTo>
                <a:cubicBezTo>
                  <a:pt x="255047" y="87078"/>
                  <a:pt x="258599" y="88970"/>
                  <a:pt x="260493" y="92162"/>
                </a:cubicBezTo>
                <a:lnTo>
                  <a:pt x="294826" y="150452"/>
                </a:lnTo>
                <a:lnTo>
                  <a:pt x="373554" y="150452"/>
                </a:lnTo>
                <a:cubicBezTo>
                  <a:pt x="379118" y="150452"/>
                  <a:pt x="383735" y="155063"/>
                  <a:pt x="383735" y="160738"/>
                </a:cubicBezTo>
                <a:cubicBezTo>
                  <a:pt x="383735" y="166414"/>
                  <a:pt x="379118" y="171025"/>
                  <a:pt x="373554" y="171025"/>
                </a:cubicBezTo>
                <a:lnTo>
                  <a:pt x="289025" y="171025"/>
                </a:lnTo>
                <a:cubicBezTo>
                  <a:pt x="285355" y="171025"/>
                  <a:pt x="281921" y="169015"/>
                  <a:pt x="280145" y="165941"/>
                </a:cubicBezTo>
                <a:lnTo>
                  <a:pt x="252206" y="118529"/>
                </a:lnTo>
                <a:lnTo>
                  <a:pt x="201773" y="214890"/>
                </a:lnTo>
                <a:cubicBezTo>
                  <a:pt x="200115" y="217964"/>
                  <a:pt x="197155" y="219974"/>
                  <a:pt x="193722" y="220329"/>
                </a:cubicBezTo>
                <a:cubicBezTo>
                  <a:pt x="193367" y="220329"/>
                  <a:pt x="193012" y="220447"/>
                  <a:pt x="192657" y="220447"/>
                </a:cubicBezTo>
                <a:cubicBezTo>
                  <a:pt x="189579" y="220447"/>
                  <a:pt x="186619" y="219028"/>
                  <a:pt x="184606" y="216545"/>
                </a:cubicBezTo>
                <a:lnTo>
                  <a:pt x="148261" y="171025"/>
                </a:lnTo>
                <a:lnTo>
                  <a:pt x="75926" y="171025"/>
                </a:lnTo>
                <a:cubicBezTo>
                  <a:pt x="70243" y="171025"/>
                  <a:pt x="65626" y="166414"/>
                  <a:pt x="65626" y="160738"/>
                </a:cubicBezTo>
                <a:cubicBezTo>
                  <a:pt x="65626" y="155063"/>
                  <a:pt x="70243" y="150452"/>
                  <a:pt x="75926" y="150452"/>
                </a:cubicBezTo>
                <a:lnTo>
                  <a:pt x="153233" y="150452"/>
                </a:lnTo>
                <a:cubicBezTo>
                  <a:pt x="156311" y="150452"/>
                  <a:pt x="159271" y="151871"/>
                  <a:pt x="161284" y="154354"/>
                </a:cubicBezTo>
                <a:lnTo>
                  <a:pt x="190881" y="191480"/>
                </a:lnTo>
                <a:lnTo>
                  <a:pt x="242498" y="92635"/>
                </a:lnTo>
                <a:cubicBezTo>
                  <a:pt x="244274" y="89325"/>
                  <a:pt x="247589" y="87315"/>
                  <a:pt x="251377" y="87196"/>
                </a:cubicBezTo>
                <a:close/>
                <a:moveTo>
                  <a:pt x="13735" y="0"/>
                </a:moveTo>
                <a:lnTo>
                  <a:pt x="495160" y="0"/>
                </a:lnTo>
                <a:cubicBezTo>
                  <a:pt x="502738" y="0"/>
                  <a:pt x="508776" y="6147"/>
                  <a:pt x="508776" y="13713"/>
                </a:cubicBezTo>
                <a:lnTo>
                  <a:pt x="508776" y="104618"/>
                </a:lnTo>
                <a:cubicBezTo>
                  <a:pt x="499186" y="102254"/>
                  <a:pt x="488411" y="101072"/>
                  <a:pt x="476452" y="101072"/>
                </a:cubicBezTo>
                <a:cubicBezTo>
                  <a:pt x="472308" y="101072"/>
                  <a:pt x="468282" y="101190"/>
                  <a:pt x="464375" y="101426"/>
                </a:cubicBezTo>
                <a:lnTo>
                  <a:pt x="464375" y="37946"/>
                </a:lnTo>
                <a:lnTo>
                  <a:pt x="44401" y="37946"/>
                </a:lnTo>
                <a:lnTo>
                  <a:pt x="44401" y="297896"/>
                </a:lnTo>
                <a:lnTo>
                  <a:pt x="203653" y="297896"/>
                </a:lnTo>
                <a:lnTo>
                  <a:pt x="305242" y="297896"/>
                </a:lnTo>
                <a:lnTo>
                  <a:pt x="362667" y="297896"/>
                </a:lnTo>
                <a:cubicBezTo>
                  <a:pt x="356037" y="306998"/>
                  <a:pt x="350117" y="320356"/>
                  <a:pt x="345025" y="335842"/>
                </a:cubicBezTo>
                <a:lnTo>
                  <a:pt x="325015" y="335842"/>
                </a:lnTo>
                <a:cubicBezTo>
                  <a:pt x="326673" y="345772"/>
                  <a:pt x="329515" y="359957"/>
                  <a:pt x="334132" y="375916"/>
                </a:cubicBezTo>
                <a:cubicBezTo>
                  <a:pt x="330343" y="392584"/>
                  <a:pt x="327265" y="409606"/>
                  <a:pt x="324778" y="424974"/>
                </a:cubicBezTo>
                <a:cubicBezTo>
                  <a:pt x="324068" y="429348"/>
                  <a:pt x="324542" y="433722"/>
                  <a:pt x="325844" y="437859"/>
                </a:cubicBezTo>
                <a:lnTo>
                  <a:pt x="171566" y="437859"/>
                </a:lnTo>
                <a:cubicBezTo>
                  <a:pt x="166829" y="437859"/>
                  <a:pt x="162567" y="435495"/>
                  <a:pt x="159962" y="431594"/>
                </a:cubicBezTo>
                <a:cubicBezTo>
                  <a:pt x="157476" y="427575"/>
                  <a:pt x="157120" y="422728"/>
                  <a:pt x="159133" y="418472"/>
                </a:cubicBezTo>
                <a:cubicBezTo>
                  <a:pt x="173815" y="386437"/>
                  <a:pt x="180801" y="354046"/>
                  <a:pt x="183761" y="335842"/>
                </a:cubicBezTo>
                <a:lnTo>
                  <a:pt x="13735" y="335842"/>
                </a:lnTo>
                <a:cubicBezTo>
                  <a:pt x="6157" y="335842"/>
                  <a:pt x="0" y="329695"/>
                  <a:pt x="0" y="322129"/>
                </a:cubicBezTo>
                <a:lnTo>
                  <a:pt x="0" y="13713"/>
                </a:lnTo>
                <a:cubicBezTo>
                  <a:pt x="0" y="6147"/>
                  <a:pt x="6157" y="0"/>
                  <a:pt x="13735" y="0"/>
                </a:cubicBezTo>
                <a:close/>
              </a:path>
            </a:pathLst>
          </a:custGeom>
          <a:solidFill>
            <a:schemeClr val="bg1"/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4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3765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4983212" y="4377392"/>
            <a:ext cx="223651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3200" dirty="0">
                <a:ln w="0"/>
                <a:solidFill>
                  <a:srgbClr val="E24E0C"/>
                </a:solidFill>
                <a:effectLst>
                  <a:reflection blurRad="6350" stA="53000" endA="300" endPos="35500" dir="5400000" sy="-90000" algn="bl" rotWithShape="0"/>
                </a:effectLst>
                <a:latin typeface="华文琥珀" panose="02010800040101010101" pitchFamily="2" charset="-122"/>
                <a:ea typeface="华文琥珀" panose="02010800040101010101" pitchFamily="2" charset="-122"/>
                <a:cs typeface="+mn-ea"/>
                <a:sym typeface="+mn-lt"/>
              </a:rPr>
              <a:t>职帮帮平台</a:t>
            </a:r>
            <a:endParaRPr lang="zh-CN" altLang="en-US" sz="3200" dirty="0">
              <a:ln w="0"/>
              <a:solidFill>
                <a:srgbClr val="E24E0C"/>
              </a:solidFill>
              <a:effectLst>
                <a:reflection blurRad="6350" stA="53000" endA="300" endPos="35500" dir="5400000" sy="-90000" algn="bl" rotWithShape="0"/>
              </a:effectLst>
              <a:latin typeface="华文琥珀" panose="02010800040101010101" pitchFamily="2" charset="-122"/>
              <a:ea typeface="华文琥珀" panose="02010800040101010101" pitchFamily="2" charset="-122"/>
            </a:endParaRPr>
          </a:p>
        </p:txBody>
      </p:sp>
      <p:sp>
        <p:nvSpPr>
          <p:cNvPr id="88" name="isļîḓè"/>
          <p:cNvSpPr/>
          <p:nvPr/>
        </p:nvSpPr>
        <p:spPr>
          <a:xfrm>
            <a:off x="9805814" y="2400692"/>
            <a:ext cx="589364" cy="589364"/>
          </a:xfrm>
          <a:prstGeom prst="ellipse">
            <a:avLst/>
          </a:prstGeom>
          <a:solidFill>
            <a:srgbClr val="FFD022">
              <a:lumMod val="75000"/>
            </a:srgbClr>
          </a:solidFill>
          <a:ln w="12700" cap="rnd" cmpd="sng" algn="ctr">
            <a:noFill/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/>
              <a:ea typeface="微软雅黑"/>
              <a:cs typeface="+mn-cs"/>
            </a:endParaRPr>
          </a:p>
        </p:txBody>
      </p:sp>
      <p:sp>
        <p:nvSpPr>
          <p:cNvPr id="89" name="îṡļiḍe"/>
          <p:cNvSpPr/>
          <p:nvPr/>
        </p:nvSpPr>
        <p:spPr>
          <a:xfrm>
            <a:off x="9945658" y="2583868"/>
            <a:ext cx="309675" cy="223004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608037" h="437859">
                <a:moveTo>
                  <a:pt x="435614" y="275305"/>
                </a:moveTo>
                <a:cubicBezTo>
                  <a:pt x="437271" y="274359"/>
                  <a:pt x="439284" y="274596"/>
                  <a:pt x="440823" y="275778"/>
                </a:cubicBezTo>
                <a:cubicBezTo>
                  <a:pt x="448635" y="281809"/>
                  <a:pt x="457277" y="285948"/>
                  <a:pt x="466273" y="287959"/>
                </a:cubicBezTo>
                <a:cubicBezTo>
                  <a:pt x="467930" y="288313"/>
                  <a:pt x="469232" y="289496"/>
                  <a:pt x="469824" y="291033"/>
                </a:cubicBezTo>
                <a:lnTo>
                  <a:pt x="478939" y="315276"/>
                </a:lnTo>
                <a:lnTo>
                  <a:pt x="488172" y="291033"/>
                </a:lnTo>
                <a:cubicBezTo>
                  <a:pt x="488764" y="289496"/>
                  <a:pt x="490066" y="288313"/>
                  <a:pt x="491723" y="287959"/>
                </a:cubicBezTo>
                <a:cubicBezTo>
                  <a:pt x="500838" y="285948"/>
                  <a:pt x="509361" y="281809"/>
                  <a:pt x="517174" y="275778"/>
                </a:cubicBezTo>
                <a:cubicBezTo>
                  <a:pt x="518713" y="274596"/>
                  <a:pt x="520725" y="274359"/>
                  <a:pt x="522382" y="275305"/>
                </a:cubicBezTo>
                <a:cubicBezTo>
                  <a:pt x="529485" y="278971"/>
                  <a:pt x="564878" y="298247"/>
                  <a:pt x="573875" y="309954"/>
                </a:cubicBezTo>
                <a:cubicBezTo>
                  <a:pt x="591157" y="332423"/>
                  <a:pt x="603468" y="399829"/>
                  <a:pt x="607966" y="427738"/>
                </a:cubicBezTo>
                <a:cubicBezTo>
                  <a:pt x="608203" y="429157"/>
                  <a:pt x="607848" y="430694"/>
                  <a:pt x="606901" y="431758"/>
                </a:cubicBezTo>
                <a:cubicBezTo>
                  <a:pt x="605954" y="432823"/>
                  <a:pt x="604652" y="433414"/>
                  <a:pt x="603231" y="433414"/>
                </a:cubicBezTo>
                <a:lnTo>
                  <a:pt x="354765" y="433414"/>
                </a:lnTo>
                <a:cubicBezTo>
                  <a:pt x="353344" y="433414"/>
                  <a:pt x="352042" y="432823"/>
                  <a:pt x="351095" y="431758"/>
                </a:cubicBezTo>
                <a:cubicBezTo>
                  <a:pt x="350148" y="430694"/>
                  <a:pt x="349793" y="429157"/>
                  <a:pt x="350030" y="427738"/>
                </a:cubicBezTo>
                <a:cubicBezTo>
                  <a:pt x="354528" y="399829"/>
                  <a:pt x="366839" y="332423"/>
                  <a:pt x="384122" y="309954"/>
                </a:cubicBezTo>
                <a:cubicBezTo>
                  <a:pt x="393118" y="298247"/>
                  <a:pt x="428512" y="278971"/>
                  <a:pt x="435614" y="275305"/>
                </a:cubicBezTo>
                <a:close/>
                <a:moveTo>
                  <a:pt x="479051" y="123066"/>
                </a:moveTo>
                <a:cubicBezTo>
                  <a:pt x="542255" y="123066"/>
                  <a:pt x="548646" y="158180"/>
                  <a:pt x="548646" y="201334"/>
                </a:cubicBezTo>
                <a:cubicBezTo>
                  <a:pt x="548646" y="244607"/>
                  <a:pt x="517518" y="279721"/>
                  <a:pt x="479051" y="279721"/>
                </a:cubicBezTo>
                <a:cubicBezTo>
                  <a:pt x="440584" y="279721"/>
                  <a:pt x="409337" y="244607"/>
                  <a:pt x="409337" y="201334"/>
                </a:cubicBezTo>
                <a:cubicBezTo>
                  <a:pt x="409337" y="198852"/>
                  <a:pt x="409337" y="196369"/>
                  <a:pt x="409455" y="193886"/>
                </a:cubicBezTo>
                <a:cubicBezTo>
                  <a:pt x="405668" y="196723"/>
                  <a:pt x="402235" y="200389"/>
                  <a:pt x="400460" y="205000"/>
                </a:cubicBezTo>
                <a:cubicBezTo>
                  <a:pt x="397856" y="211502"/>
                  <a:pt x="399276" y="219305"/>
                  <a:pt x="404484" y="228173"/>
                </a:cubicBezTo>
                <a:cubicBezTo>
                  <a:pt x="406259" y="228646"/>
                  <a:pt x="407916" y="229710"/>
                  <a:pt x="408982" y="231365"/>
                </a:cubicBezTo>
                <a:lnTo>
                  <a:pt x="411822" y="235503"/>
                </a:lnTo>
                <a:cubicBezTo>
                  <a:pt x="413124" y="237276"/>
                  <a:pt x="413598" y="239405"/>
                  <a:pt x="413243" y="241651"/>
                </a:cubicBezTo>
                <a:cubicBezTo>
                  <a:pt x="412888" y="243779"/>
                  <a:pt x="411586" y="245671"/>
                  <a:pt x="409810" y="246853"/>
                </a:cubicBezTo>
                <a:cubicBezTo>
                  <a:pt x="408508" y="247799"/>
                  <a:pt x="406851" y="248390"/>
                  <a:pt x="405194" y="248390"/>
                </a:cubicBezTo>
                <a:cubicBezTo>
                  <a:pt x="402472" y="248390"/>
                  <a:pt x="399986" y="247090"/>
                  <a:pt x="398448" y="244843"/>
                </a:cubicBezTo>
                <a:lnTo>
                  <a:pt x="395489" y="240705"/>
                </a:lnTo>
                <a:cubicBezTo>
                  <a:pt x="394187" y="238695"/>
                  <a:pt x="393832" y="236331"/>
                  <a:pt x="394305" y="234202"/>
                </a:cubicBezTo>
                <a:cubicBezTo>
                  <a:pt x="387085" y="222143"/>
                  <a:pt x="385428" y="210793"/>
                  <a:pt x="389334" y="200625"/>
                </a:cubicBezTo>
                <a:cubicBezTo>
                  <a:pt x="393358" y="190221"/>
                  <a:pt x="402590" y="183482"/>
                  <a:pt x="410284" y="179344"/>
                </a:cubicBezTo>
                <a:cubicBezTo>
                  <a:pt x="413361" y="146830"/>
                  <a:pt x="426854" y="123066"/>
                  <a:pt x="479051" y="123066"/>
                </a:cubicBezTo>
                <a:close/>
                <a:moveTo>
                  <a:pt x="251377" y="87196"/>
                </a:moveTo>
                <a:cubicBezTo>
                  <a:pt x="255047" y="87078"/>
                  <a:pt x="258599" y="88970"/>
                  <a:pt x="260493" y="92162"/>
                </a:cubicBezTo>
                <a:lnTo>
                  <a:pt x="294826" y="150452"/>
                </a:lnTo>
                <a:lnTo>
                  <a:pt x="373554" y="150452"/>
                </a:lnTo>
                <a:cubicBezTo>
                  <a:pt x="379118" y="150452"/>
                  <a:pt x="383735" y="155063"/>
                  <a:pt x="383735" y="160738"/>
                </a:cubicBezTo>
                <a:cubicBezTo>
                  <a:pt x="383735" y="166414"/>
                  <a:pt x="379118" y="171025"/>
                  <a:pt x="373554" y="171025"/>
                </a:cubicBezTo>
                <a:lnTo>
                  <a:pt x="289025" y="171025"/>
                </a:lnTo>
                <a:cubicBezTo>
                  <a:pt x="285355" y="171025"/>
                  <a:pt x="281921" y="169015"/>
                  <a:pt x="280145" y="165941"/>
                </a:cubicBezTo>
                <a:lnTo>
                  <a:pt x="252206" y="118529"/>
                </a:lnTo>
                <a:lnTo>
                  <a:pt x="201773" y="214890"/>
                </a:lnTo>
                <a:cubicBezTo>
                  <a:pt x="200115" y="217964"/>
                  <a:pt x="197155" y="219974"/>
                  <a:pt x="193722" y="220329"/>
                </a:cubicBezTo>
                <a:cubicBezTo>
                  <a:pt x="193367" y="220329"/>
                  <a:pt x="193012" y="220447"/>
                  <a:pt x="192657" y="220447"/>
                </a:cubicBezTo>
                <a:cubicBezTo>
                  <a:pt x="189579" y="220447"/>
                  <a:pt x="186619" y="219028"/>
                  <a:pt x="184606" y="216545"/>
                </a:cubicBezTo>
                <a:lnTo>
                  <a:pt x="148261" y="171025"/>
                </a:lnTo>
                <a:lnTo>
                  <a:pt x="75926" y="171025"/>
                </a:lnTo>
                <a:cubicBezTo>
                  <a:pt x="70243" y="171025"/>
                  <a:pt x="65626" y="166414"/>
                  <a:pt x="65626" y="160738"/>
                </a:cubicBezTo>
                <a:cubicBezTo>
                  <a:pt x="65626" y="155063"/>
                  <a:pt x="70243" y="150452"/>
                  <a:pt x="75926" y="150452"/>
                </a:cubicBezTo>
                <a:lnTo>
                  <a:pt x="153233" y="150452"/>
                </a:lnTo>
                <a:cubicBezTo>
                  <a:pt x="156311" y="150452"/>
                  <a:pt x="159271" y="151871"/>
                  <a:pt x="161284" y="154354"/>
                </a:cubicBezTo>
                <a:lnTo>
                  <a:pt x="190881" y="191480"/>
                </a:lnTo>
                <a:lnTo>
                  <a:pt x="242498" y="92635"/>
                </a:lnTo>
                <a:cubicBezTo>
                  <a:pt x="244274" y="89325"/>
                  <a:pt x="247589" y="87315"/>
                  <a:pt x="251377" y="87196"/>
                </a:cubicBezTo>
                <a:close/>
                <a:moveTo>
                  <a:pt x="13735" y="0"/>
                </a:moveTo>
                <a:lnTo>
                  <a:pt x="495160" y="0"/>
                </a:lnTo>
                <a:cubicBezTo>
                  <a:pt x="502738" y="0"/>
                  <a:pt x="508776" y="6147"/>
                  <a:pt x="508776" y="13713"/>
                </a:cubicBezTo>
                <a:lnTo>
                  <a:pt x="508776" y="104618"/>
                </a:lnTo>
                <a:cubicBezTo>
                  <a:pt x="499186" y="102254"/>
                  <a:pt x="488411" y="101072"/>
                  <a:pt x="476452" y="101072"/>
                </a:cubicBezTo>
                <a:cubicBezTo>
                  <a:pt x="472308" y="101072"/>
                  <a:pt x="468282" y="101190"/>
                  <a:pt x="464375" y="101426"/>
                </a:cubicBezTo>
                <a:lnTo>
                  <a:pt x="464375" y="37946"/>
                </a:lnTo>
                <a:lnTo>
                  <a:pt x="44401" y="37946"/>
                </a:lnTo>
                <a:lnTo>
                  <a:pt x="44401" y="297896"/>
                </a:lnTo>
                <a:lnTo>
                  <a:pt x="203653" y="297896"/>
                </a:lnTo>
                <a:lnTo>
                  <a:pt x="305242" y="297896"/>
                </a:lnTo>
                <a:lnTo>
                  <a:pt x="362667" y="297896"/>
                </a:lnTo>
                <a:cubicBezTo>
                  <a:pt x="356037" y="306998"/>
                  <a:pt x="350117" y="320356"/>
                  <a:pt x="345025" y="335842"/>
                </a:cubicBezTo>
                <a:lnTo>
                  <a:pt x="325015" y="335842"/>
                </a:lnTo>
                <a:cubicBezTo>
                  <a:pt x="326673" y="345772"/>
                  <a:pt x="329515" y="359957"/>
                  <a:pt x="334132" y="375916"/>
                </a:cubicBezTo>
                <a:cubicBezTo>
                  <a:pt x="330343" y="392584"/>
                  <a:pt x="327265" y="409606"/>
                  <a:pt x="324778" y="424974"/>
                </a:cubicBezTo>
                <a:cubicBezTo>
                  <a:pt x="324068" y="429348"/>
                  <a:pt x="324542" y="433722"/>
                  <a:pt x="325844" y="437859"/>
                </a:cubicBezTo>
                <a:lnTo>
                  <a:pt x="171566" y="437859"/>
                </a:lnTo>
                <a:cubicBezTo>
                  <a:pt x="166829" y="437859"/>
                  <a:pt x="162567" y="435495"/>
                  <a:pt x="159962" y="431594"/>
                </a:cubicBezTo>
                <a:cubicBezTo>
                  <a:pt x="157476" y="427575"/>
                  <a:pt x="157120" y="422728"/>
                  <a:pt x="159133" y="418472"/>
                </a:cubicBezTo>
                <a:cubicBezTo>
                  <a:pt x="173815" y="386437"/>
                  <a:pt x="180801" y="354046"/>
                  <a:pt x="183761" y="335842"/>
                </a:cubicBezTo>
                <a:lnTo>
                  <a:pt x="13735" y="335842"/>
                </a:lnTo>
                <a:cubicBezTo>
                  <a:pt x="6157" y="335842"/>
                  <a:pt x="0" y="329695"/>
                  <a:pt x="0" y="322129"/>
                </a:cubicBezTo>
                <a:lnTo>
                  <a:pt x="0" y="13713"/>
                </a:lnTo>
                <a:cubicBezTo>
                  <a:pt x="0" y="6147"/>
                  <a:pt x="6157" y="0"/>
                  <a:pt x="13735" y="0"/>
                </a:cubicBezTo>
                <a:close/>
              </a:path>
            </a:pathLst>
          </a:custGeom>
          <a:solidFill>
            <a:srgbClr val="FFFFFF"/>
          </a:solidFill>
          <a:ln w="12700" cap="rnd" cmpd="sng" algn="ctr">
            <a:noFill/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4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/>
              <a:ea typeface="微软雅黑"/>
              <a:cs typeface="+mn-cs"/>
            </a:endParaRPr>
          </a:p>
        </p:txBody>
      </p:sp>
      <p:sp>
        <p:nvSpPr>
          <p:cNvPr id="92" name="标题 1"/>
          <p:cNvSpPr txBox="1"/>
          <p:nvPr/>
        </p:nvSpPr>
        <p:spPr>
          <a:xfrm>
            <a:off x="601163" y="163384"/>
            <a:ext cx="10850563" cy="93045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>
                <a:solidFill>
                  <a:srgbClr val="000000"/>
                </a:solidFill>
                <a:latin typeface="Arial" panose="020B0604020202090204"/>
                <a:ea typeface="微软雅黑"/>
              </a:rPr>
              <a:t>产品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90204"/>
                <a:ea typeface="微软雅黑"/>
                <a:cs typeface="+mj-cs"/>
              </a:rPr>
              <a:t>定位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90204"/>
              <a:ea typeface="微软雅黑"/>
              <a:cs typeface="+mj-cs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86303" y="529218"/>
            <a:ext cx="10850563" cy="571082"/>
          </a:xfrm>
        </p:spPr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产品形态</a:t>
            </a:r>
            <a:endParaRPr lang="zh-CN" altLang="en-US" dirty="0"/>
          </a:p>
        </p:txBody>
      </p:sp>
      <p:cxnSp>
        <p:nvCxnSpPr>
          <p:cNvPr id="5" name="直接箭头连接符 4"/>
          <p:cNvCxnSpPr/>
          <p:nvPr/>
        </p:nvCxnSpPr>
        <p:spPr>
          <a:xfrm>
            <a:off x="5584119" y="3326303"/>
            <a:ext cx="3881818" cy="2329"/>
          </a:xfrm>
          <a:prstGeom prst="straightConnector1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ïṥ1îḑe"/>
          <p:cNvSpPr/>
          <p:nvPr/>
        </p:nvSpPr>
        <p:spPr bwMode="auto">
          <a:xfrm rot="20314956">
            <a:off x="3143413" y="1320623"/>
            <a:ext cx="1463607" cy="1358388"/>
          </a:xfrm>
          <a:custGeom>
            <a:avLst/>
            <a:gdLst>
              <a:gd name="T0" fmla="*/ 946 w 3906"/>
              <a:gd name="T1" fmla="*/ 0 h 3912"/>
              <a:gd name="T2" fmla="*/ 3906 w 3906"/>
              <a:gd name="T3" fmla="*/ 2964 h 3912"/>
              <a:gd name="T4" fmla="*/ 1613 w 3906"/>
              <a:gd name="T5" fmla="*/ 3912 h 3912"/>
              <a:gd name="T6" fmla="*/ 0 w 3906"/>
              <a:gd name="T7" fmla="*/ 2278 h 3912"/>
              <a:gd name="T8" fmla="*/ 946 w 3906"/>
              <a:gd name="T9" fmla="*/ 0 h 3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06" h="3912">
                <a:moveTo>
                  <a:pt x="946" y="0"/>
                </a:moveTo>
                <a:cubicBezTo>
                  <a:pt x="2215" y="582"/>
                  <a:pt x="3286" y="1605"/>
                  <a:pt x="3906" y="2964"/>
                </a:cubicBezTo>
                <a:lnTo>
                  <a:pt x="1613" y="3912"/>
                </a:lnTo>
                <a:cubicBezTo>
                  <a:pt x="1257" y="3181"/>
                  <a:pt x="681" y="2620"/>
                  <a:pt x="0" y="2278"/>
                </a:cubicBezTo>
                <a:lnTo>
                  <a:pt x="946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4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zh-CN" altLang="en-US" sz="3200"/>
          </a:p>
        </p:txBody>
      </p:sp>
      <p:sp>
        <p:nvSpPr>
          <p:cNvPr id="8" name="işľíḑè"/>
          <p:cNvSpPr/>
          <p:nvPr/>
        </p:nvSpPr>
        <p:spPr bwMode="auto">
          <a:xfrm>
            <a:off x="1819874" y="2465435"/>
            <a:ext cx="2442633" cy="2448984"/>
          </a:xfrm>
          <a:prstGeom prst="ellipse">
            <a:avLst/>
          </a:prstGeom>
          <a:blipFill dpi="0" rotWithShape="1">
            <a:blip r:embed="rId1">
              <a:alphaModFix amt="60000"/>
              <a:grayscl/>
              <a:extLst>
                <a:ext uri="{BEBA8EAE-BF5A-486C-A8C5-ECC9F3942E4B}">
                  <a14:imgProps xmlns:a14="http://schemas.microsoft.com/office/drawing/2010/main">
                    <a14:imgLayer r:embed="rId2">
                      <a14:imgEffect>
                        <a14:colorTemperature colorTemp="5300"/>
                      </a14:imgEffect>
                      <a14:imgEffect>
                        <a14:saturation sat="222000"/>
                      </a14:imgEffect>
                    </a14:imgLayer>
                  </a14:imgProps>
                </a:ext>
              </a:extLst>
            </a:blip>
            <a:srcRect/>
            <a:stretch>
              <a:fillRect l="-25326" r="-25064"/>
            </a:stretch>
          </a:blipFill>
          <a:ln w="6350">
            <a:solidFill>
              <a:schemeClr val="tx2">
                <a:lumMod val="60000"/>
                <a:lumOff val="40000"/>
              </a:schemeClr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/>
            <a:endParaRPr lang="zh-CN" altLang="en-US" sz="2800" b="1" dirty="0">
              <a:solidFill>
                <a:schemeClr val="lt1"/>
              </a:solidFill>
            </a:endParaRPr>
          </a:p>
        </p:txBody>
      </p:sp>
      <p:sp>
        <p:nvSpPr>
          <p:cNvPr id="9" name="ïş1íḍé"/>
          <p:cNvSpPr txBox="1"/>
          <p:nvPr/>
        </p:nvSpPr>
        <p:spPr bwMode="auto">
          <a:xfrm>
            <a:off x="3272911" y="1884340"/>
            <a:ext cx="1093750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b="1" dirty="0">
                <a:solidFill>
                  <a:schemeClr val="bg1"/>
                </a:solidFill>
              </a:rPr>
              <a:t>求职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cxnSp>
        <p:nvCxnSpPr>
          <p:cNvPr id="12" name="直接箭头连接符 11"/>
          <p:cNvCxnSpPr/>
          <p:nvPr/>
        </p:nvCxnSpPr>
        <p:spPr>
          <a:xfrm>
            <a:off x="4441590" y="1779832"/>
            <a:ext cx="4533551" cy="0"/>
          </a:xfrm>
          <a:prstGeom prst="straightConnector1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śľïdê"/>
          <p:cNvSpPr txBox="1"/>
          <p:nvPr/>
        </p:nvSpPr>
        <p:spPr bwMode="auto">
          <a:xfrm>
            <a:off x="4807839" y="1370583"/>
            <a:ext cx="2762904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1600" b="1" dirty="0">
                <a:solidFill>
                  <a:schemeClr val="bg1">
                    <a:lumMod val="50000"/>
                  </a:schemeClr>
                </a:solidFill>
              </a:rPr>
              <a:t>应届毕业生录入信息</a:t>
            </a:r>
            <a:endParaRPr lang="en-US" altLang="zh-CN" sz="16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iŝļidè"/>
          <p:cNvSpPr txBox="1"/>
          <p:nvPr/>
        </p:nvSpPr>
        <p:spPr bwMode="auto">
          <a:xfrm>
            <a:off x="5909945" y="2951480"/>
            <a:ext cx="3453765" cy="48577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 fontScale="85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sz="2000" b="1" dirty="0">
                <a:solidFill>
                  <a:srgbClr val="354268"/>
                </a:solidFill>
              </a:rPr>
              <a:t>双向选择、职场资深职员当“师傅”</a:t>
            </a:r>
            <a:endParaRPr lang="zh-CN" altLang="en-US" sz="2000" b="1" dirty="0">
              <a:solidFill>
                <a:srgbClr val="354268"/>
              </a:solidFill>
            </a:endParaRPr>
          </a:p>
        </p:txBody>
      </p:sp>
      <p:cxnSp>
        <p:nvCxnSpPr>
          <p:cNvPr id="17" name="直接箭头连接符 16"/>
          <p:cNvCxnSpPr/>
          <p:nvPr/>
        </p:nvCxnSpPr>
        <p:spPr>
          <a:xfrm>
            <a:off x="5425248" y="4644754"/>
            <a:ext cx="4533551" cy="0"/>
          </a:xfrm>
          <a:prstGeom prst="straightConnector1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íṥľiḑé"/>
          <p:cNvSpPr txBox="1"/>
          <p:nvPr/>
        </p:nvSpPr>
        <p:spPr bwMode="auto">
          <a:xfrm>
            <a:off x="5735282" y="4267011"/>
            <a:ext cx="3508724" cy="42382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1600" b="1" dirty="0">
                <a:solidFill>
                  <a:srgbClr val="FFC000"/>
                </a:solidFill>
              </a:rPr>
              <a:t>找到意向岗位，且找到引路人</a:t>
            </a:r>
            <a:endParaRPr lang="en-US" altLang="zh-CN" sz="1600" b="1" dirty="0">
              <a:solidFill>
                <a:srgbClr val="FFC000"/>
              </a:solidFill>
            </a:endParaRPr>
          </a:p>
        </p:txBody>
      </p:sp>
      <p:sp>
        <p:nvSpPr>
          <p:cNvPr id="19" name="ïṥ1îḑe"/>
          <p:cNvSpPr/>
          <p:nvPr/>
        </p:nvSpPr>
        <p:spPr bwMode="auto">
          <a:xfrm rot="1333601">
            <a:off x="4096510" y="2240358"/>
            <a:ext cx="1534509" cy="1381116"/>
          </a:xfrm>
          <a:custGeom>
            <a:avLst/>
            <a:gdLst>
              <a:gd name="T0" fmla="*/ 946 w 3906"/>
              <a:gd name="T1" fmla="*/ 0 h 3912"/>
              <a:gd name="T2" fmla="*/ 3906 w 3906"/>
              <a:gd name="T3" fmla="*/ 2964 h 3912"/>
              <a:gd name="T4" fmla="*/ 1613 w 3906"/>
              <a:gd name="T5" fmla="*/ 3912 h 3912"/>
              <a:gd name="T6" fmla="*/ 0 w 3906"/>
              <a:gd name="T7" fmla="*/ 2278 h 3912"/>
              <a:gd name="T8" fmla="*/ 946 w 3906"/>
              <a:gd name="T9" fmla="*/ 0 h 3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06" h="3912">
                <a:moveTo>
                  <a:pt x="946" y="0"/>
                </a:moveTo>
                <a:cubicBezTo>
                  <a:pt x="2215" y="582"/>
                  <a:pt x="3286" y="1605"/>
                  <a:pt x="3906" y="2964"/>
                </a:cubicBezTo>
                <a:lnTo>
                  <a:pt x="1613" y="3912"/>
                </a:lnTo>
                <a:cubicBezTo>
                  <a:pt x="1257" y="3181"/>
                  <a:pt x="681" y="2620"/>
                  <a:pt x="0" y="2278"/>
                </a:cubicBezTo>
                <a:lnTo>
                  <a:pt x="946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4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zh-CN" altLang="en-US" sz="3200"/>
          </a:p>
        </p:txBody>
      </p:sp>
      <p:sp>
        <p:nvSpPr>
          <p:cNvPr id="22" name="ïṥ1îḑe"/>
          <p:cNvSpPr/>
          <p:nvPr/>
        </p:nvSpPr>
        <p:spPr bwMode="auto">
          <a:xfrm rot="4043767">
            <a:off x="4174592" y="3525830"/>
            <a:ext cx="1522743" cy="1476439"/>
          </a:xfrm>
          <a:custGeom>
            <a:avLst/>
            <a:gdLst>
              <a:gd name="T0" fmla="*/ 946 w 3906"/>
              <a:gd name="T1" fmla="*/ 0 h 3912"/>
              <a:gd name="T2" fmla="*/ 3906 w 3906"/>
              <a:gd name="T3" fmla="*/ 2964 h 3912"/>
              <a:gd name="T4" fmla="*/ 1613 w 3906"/>
              <a:gd name="T5" fmla="*/ 3912 h 3912"/>
              <a:gd name="T6" fmla="*/ 0 w 3906"/>
              <a:gd name="T7" fmla="*/ 2278 h 3912"/>
              <a:gd name="T8" fmla="*/ 946 w 3906"/>
              <a:gd name="T9" fmla="*/ 0 h 3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06" h="3912">
                <a:moveTo>
                  <a:pt x="946" y="0"/>
                </a:moveTo>
                <a:cubicBezTo>
                  <a:pt x="2215" y="582"/>
                  <a:pt x="3286" y="1605"/>
                  <a:pt x="3906" y="2964"/>
                </a:cubicBezTo>
                <a:lnTo>
                  <a:pt x="1613" y="3912"/>
                </a:lnTo>
                <a:cubicBezTo>
                  <a:pt x="1257" y="3181"/>
                  <a:pt x="681" y="2620"/>
                  <a:pt x="0" y="2278"/>
                </a:cubicBezTo>
                <a:lnTo>
                  <a:pt x="946" y="0"/>
                </a:lnTo>
                <a:close/>
              </a:path>
            </a:pathLst>
          </a:custGeom>
          <a:solidFill>
            <a:srgbClr val="FFC000"/>
          </a:solidFill>
          <a:ln w="4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zh-CN" altLang="en-US" sz="3200"/>
          </a:p>
        </p:txBody>
      </p:sp>
      <p:sp>
        <p:nvSpPr>
          <p:cNvPr id="24" name="ïṥ1îḑe"/>
          <p:cNvSpPr/>
          <p:nvPr/>
        </p:nvSpPr>
        <p:spPr bwMode="auto">
          <a:xfrm rot="6527803">
            <a:off x="3188445" y="4637649"/>
            <a:ext cx="1526272" cy="1390804"/>
          </a:xfrm>
          <a:custGeom>
            <a:avLst/>
            <a:gdLst>
              <a:gd name="T0" fmla="*/ 946 w 3906"/>
              <a:gd name="T1" fmla="*/ 0 h 3912"/>
              <a:gd name="T2" fmla="*/ 3906 w 3906"/>
              <a:gd name="T3" fmla="*/ 2964 h 3912"/>
              <a:gd name="T4" fmla="*/ 1613 w 3906"/>
              <a:gd name="T5" fmla="*/ 3912 h 3912"/>
              <a:gd name="T6" fmla="*/ 0 w 3906"/>
              <a:gd name="T7" fmla="*/ 2278 h 3912"/>
              <a:gd name="T8" fmla="*/ 946 w 3906"/>
              <a:gd name="T9" fmla="*/ 0 h 3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06" h="3912">
                <a:moveTo>
                  <a:pt x="946" y="0"/>
                </a:moveTo>
                <a:cubicBezTo>
                  <a:pt x="2215" y="582"/>
                  <a:pt x="3286" y="1605"/>
                  <a:pt x="3906" y="2964"/>
                </a:cubicBezTo>
                <a:lnTo>
                  <a:pt x="1613" y="3912"/>
                </a:lnTo>
                <a:cubicBezTo>
                  <a:pt x="1257" y="3181"/>
                  <a:pt x="681" y="2620"/>
                  <a:pt x="0" y="2278"/>
                </a:cubicBezTo>
                <a:lnTo>
                  <a:pt x="946" y="0"/>
                </a:lnTo>
                <a:close/>
              </a:path>
            </a:pathLst>
          </a:custGeom>
          <a:solidFill>
            <a:srgbClr val="444294"/>
          </a:solidFill>
          <a:ln w="4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zh-CN" altLang="en-US" sz="3200"/>
          </a:p>
        </p:txBody>
      </p:sp>
      <p:sp>
        <p:nvSpPr>
          <p:cNvPr id="25" name="ïş1íḍé"/>
          <p:cNvSpPr txBox="1"/>
          <p:nvPr/>
        </p:nvSpPr>
        <p:spPr bwMode="auto">
          <a:xfrm>
            <a:off x="4260964" y="2791026"/>
            <a:ext cx="1093750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1700" b="1" dirty="0">
                <a:solidFill>
                  <a:schemeClr val="bg1"/>
                </a:solidFill>
              </a:rPr>
              <a:t>以师带徒</a:t>
            </a:r>
            <a:endParaRPr lang="en-US" altLang="zh-CN" sz="1700" b="1" dirty="0">
              <a:solidFill>
                <a:schemeClr val="bg1"/>
              </a:solidFill>
            </a:endParaRPr>
          </a:p>
        </p:txBody>
      </p:sp>
      <p:sp>
        <p:nvSpPr>
          <p:cNvPr id="26" name="ïş1íḍé"/>
          <p:cNvSpPr txBox="1"/>
          <p:nvPr/>
        </p:nvSpPr>
        <p:spPr bwMode="auto">
          <a:xfrm>
            <a:off x="4267311" y="4018163"/>
            <a:ext cx="1093750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b="1" dirty="0">
                <a:solidFill>
                  <a:schemeClr val="bg1"/>
                </a:solidFill>
              </a:rPr>
              <a:t>入职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cxnSp>
        <p:nvCxnSpPr>
          <p:cNvPr id="27" name="直接箭头连接符 26"/>
          <p:cNvCxnSpPr/>
          <p:nvPr/>
        </p:nvCxnSpPr>
        <p:spPr>
          <a:xfrm>
            <a:off x="4275654" y="5833651"/>
            <a:ext cx="4533551" cy="0"/>
          </a:xfrm>
          <a:prstGeom prst="straightConnector1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íṥľiḑé"/>
          <p:cNvSpPr txBox="1"/>
          <p:nvPr/>
        </p:nvSpPr>
        <p:spPr bwMode="auto">
          <a:xfrm>
            <a:off x="4941341" y="5477252"/>
            <a:ext cx="3508724" cy="42382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1600" b="1" dirty="0">
                <a:solidFill>
                  <a:srgbClr val="444294"/>
                </a:solidFill>
              </a:rPr>
              <a:t>师傅获取徒弟一个月工资作为酬金 </a:t>
            </a:r>
            <a:endParaRPr lang="en-US" altLang="zh-CN" sz="1600" b="1" dirty="0">
              <a:solidFill>
                <a:srgbClr val="444294"/>
              </a:solidFill>
            </a:endParaRPr>
          </a:p>
        </p:txBody>
      </p:sp>
      <p:sp>
        <p:nvSpPr>
          <p:cNvPr id="29" name="ïş1íḍé"/>
          <p:cNvSpPr txBox="1"/>
          <p:nvPr/>
        </p:nvSpPr>
        <p:spPr bwMode="auto">
          <a:xfrm>
            <a:off x="3414445" y="4955906"/>
            <a:ext cx="1093750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 fontScale="925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b="1" dirty="0">
                <a:solidFill>
                  <a:schemeClr val="bg1"/>
                </a:solidFill>
              </a:rPr>
              <a:t>师傅回报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sp>
        <p:nvSpPr>
          <p:cNvPr id="33" name="íṩļîḓè"/>
          <p:cNvSpPr/>
          <p:nvPr/>
        </p:nvSpPr>
        <p:spPr>
          <a:xfrm>
            <a:off x="5175815" y="1750406"/>
            <a:ext cx="3311703" cy="335557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r>
              <a:rPr lang="zh-CN" altLang="en-US" sz="1200" dirty="0">
                <a:solidFill>
                  <a:srgbClr val="7F7F7F">
                    <a:alpha val="70000"/>
                  </a:srgbClr>
                </a:solidFill>
                <a:latin typeface="+mn-ea"/>
              </a:rPr>
              <a:t>当前情况</a:t>
            </a:r>
            <a:r>
              <a:rPr lang="en-US" altLang="zh-CN" sz="1200" dirty="0">
                <a:solidFill>
                  <a:srgbClr val="7F7F7F">
                    <a:alpha val="70000"/>
                  </a:srgbClr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srgbClr val="7F7F7F">
                    <a:alpha val="70000"/>
                  </a:srgbClr>
                </a:solidFill>
                <a:latin typeface="+mn-ea"/>
              </a:rPr>
              <a:t>教育信息</a:t>
            </a:r>
            <a:r>
              <a:rPr lang="en-US" altLang="zh-CN" sz="1200" dirty="0">
                <a:solidFill>
                  <a:srgbClr val="7F7F7F">
                    <a:alpha val="70000"/>
                  </a:srgbClr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srgbClr val="7F7F7F">
                    <a:alpha val="70000"/>
                  </a:srgbClr>
                </a:solidFill>
                <a:latin typeface="+mn-ea"/>
              </a:rPr>
              <a:t>个人期望</a:t>
            </a:r>
            <a:r>
              <a:rPr lang="en-US" altLang="zh-CN" sz="1200" dirty="0">
                <a:solidFill>
                  <a:srgbClr val="7F7F7F">
                    <a:alpha val="70000"/>
                  </a:srgbClr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srgbClr val="7F7F7F">
                    <a:alpha val="70000"/>
                  </a:srgbClr>
                </a:solidFill>
                <a:latin typeface="+mn-ea"/>
              </a:rPr>
              <a:t>信用信息</a:t>
            </a:r>
            <a:endParaRPr lang="zh-CN" altLang="en-US" sz="1200" dirty="0">
              <a:solidFill>
                <a:srgbClr val="7F7F7F">
                  <a:alpha val="70000"/>
                </a:srgbClr>
              </a:solidFill>
              <a:latin typeface="+mn-ea"/>
            </a:endParaRPr>
          </a:p>
        </p:txBody>
      </p:sp>
      <p:sp>
        <p:nvSpPr>
          <p:cNvPr id="34" name="íṩļîḓè"/>
          <p:cNvSpPr/>
          <p:nvPr/>
        </p:nvSpPr>
        <p:spPr>
          <a:xfrm>
            <a:off x="5835226" y="3299516"/>
            <a:ext cx="3432531" cy="335557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r>
              <a:rPr lang="zh-CN" altLang="en-US" sz="1200" dirty="0">
                <a:solidFill>
                  <a:srgbClr val="354268">
                    <a:alpha val="65000"/>
                  </a:srgbClr>
                </a:solidFill>
                <a:latin typeface="+mn-ea"/>
              </a:rPr>
              <a:t>徒弟选认可的师傅 </a:t>
            </a:r>
            <a:r>
              <a:rPr lang="en-US" altLang="zh-CN" sz="1200" dirty="0">
                <a:solidFill>
                  <a:srgbClr val="354268">
                    <a:alpha val="65000"/>
                  </a:srgbClr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srgbClr val="354268">
                    <a:alpha val="65000"/>
                  </a:srgbClr>
                </a:solidFill>
                <a:latin typeface="+mn-ea"/>
              </a:rPr>
              <a:t>师傅选值得教有回报的徒弟</a:t>
            </a:r>
            <a:endParaRPr lang="zh-CN" altLang="en-US" sz="1200" dirty="0">
              <a:solidFill>
                <a:srgbClr val="354268">
                  <a:alpha val="65000"/>
                </a:srgbClr>
              </a:solidFill>
              <a:latin typeface="+mn-ea"/>
            </a:endParaRPr>
          </a:p>
        </p:txBody>
      </p:sp>
      <p:sp>
        <p:nvSpPr>
          <p:cNvPr id="35" name="íṩļîḓè"/>
          <p:cNvSpPr/>
          <p:nvPr/>
        </p:nvSpPr>
        <p:spPr>
          <a:xfrm>
            <a:off x="5750140" y="4645685"/>
            <a:ext cx="3828578" cy="335557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r>
              <a:rPr lang="zh-CN" altLang="en-US" sz="1200" dirty="0">
                <a:solidFill>
                  <a:srgbClr val="D4A003">
                    <a:alpha val="80000"/>
                  </a:srgbClr>
                </a:solidFill>
                <a:latin typeface="+mn-ea"/>
              </a:rPr>
              <a:t>师傅全程跟进指导徒弟</a:t>
            </a:r>
            <a:r>
              <a:rPr lang="en-US" altLang="zh-CN" sz="1200" dirty="0">
                <a:solidFill>
                  <a:srgbClr val="D4A003">
                    <a:alpha val="80000"/>
                  </a:srgbClr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srgbClr val="D4A003">
                    <a:alpha val="80000"/>
                  </a:srgbClr>
                </a:solidFill>
                <a:latin typeface="+mn-ea"/>
              </a:rPr>
              <a:t>徒弟随时跟师傅保持沟通</a:t>
            </a:r>
            <a:endParaRPr lang="zh-CN" altLang="en-US" sz="1200" dirty="0">
              <a:solidFill>
                <a:srgbClr val="D4A003">
                  <a:alpha val="80000"/>
                </a:srgbClr>
              </a:solidFill>
              <a:latin typeface="+mn-ea"/>
            </a:endParaRPr>
          </a:p>
        </p:txBody>
      </p:sp>
      <p:sp>
        <p:nvSpPr>
          <p:cNvPr id="36" name="íṩļîḓè"/>
          <p:cNvSpPr/>
          <p:nvPr/>
        </p:nvSpPr>
        <p:spPr>
          <a:xfrm>
            <a:off x="4941341" y="5828451"/>
            <a:ext cx="2829530" cy="335557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r>
              <a:rPr lang="zh-CN" altLang="en-US" sz="1200" dirty="0">
                <a:solidFill>
                  <a:srgbClr val="444294">
                    <a:alpha val="65000"/>
                  </a:srgbClr>
                </a:solidFill>
                <a:latin typeface="+mn-ea"/>
              </a:rPr>
              <a:t>平台担保，押金解冻 </a:t>
            </a:r>
            <a:r>
              <a:rPr lang="en-US" altLang="zh-CN" sz="1200" dirty="0">
                <a:solidFill>
                  <a:srgbClr val="444294">
                    <a:alpha val="65000"/>
                  </a:srgbClr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srgbClr val="444294">
                    <a:alpha val="65000"/>
                  </a:srgbClr>
                </a:solidFill>
                <a:latin typeface="+mn-ea"/>
              </a:rPr>
              <a:t>徒弟入职后支付</a:t>
            </a:r>
            <a:endParaRPr lang="zh-CN" altLang="en-US" sz="1200" dirty="0">
              <a:solidFill>
                <a:srgbClr val="444294">
                  <a:alpha val="65000"/>
                </a:srgbClr>
              </a:solidFill>
              <a:latin typeface="+mn-ea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2362054" y="3273360"/>
            <a:ext cx="1415772" cy="584775"/>
          </a:xfrm>
          <a:prstGeom prst="rect">
            <a:avLst/>
          </a:prstGeom>
          <a:effectLst>
            <a:reflection blurRad="6350" stA="50000" endA="300" endPos="55000" dir="5400000" sy="-100000" algn="bl" rotWithShape="0"/>
          </a:effectLst>
        </p:spPr>
        <p:txBody>
          <a:bodyPr wrap="none">
            <a:spAutoFit/>
          </a:bodyPr>
          <a:lstStyle/>
          <a:p>
            <a:pPr algn="ctr"/>
            <a:r>
              <a:rPr lang="zh-CN" altLang="en-US" sz="3200" dirty="0">
                <a:ln w="0"/>
                <a:solidFill>
                  <a:srgbClr val="E24E0C"/>
                </a:solidFill>
                <a:effectLst>
                  <a:reflection blurRad="6350" stA="53000" endA="300" endPos="35500" dir="5400000" sy="-90000" algn="bl" rotWithShape="0"/>
                </a:effectLst>
                <a:latin typeface="华文琥珀" panose="02010800040101010101" pitchFamily="2" charset="-122"/>
                <a:ea typeface="华文琥珀" panose="02010800040101010101" pitchFamily="2" charset="-122"/>
                <a:cs typeface="+mn-ea"/>
                <a:sym typeface="+mn-lt"/>
              </a:rPr>
              <a:t>职帮帮</a:t>
            </a:r>
            <a:endParaRPr lang="zh-CN" altLang="en-US" sz="3200" dirty="0">
              <a:ln w="0"/>
              <a:solidFill>
                <a:srgbClr val="E24E0C"/>
              </a:solidFill>
              <a:effectLst>
                <a:reflection blurRad="6350" stA="53000" endA="300" endPos="35500" dir="5400000" sy="-90000" algn="bl" rotWithShape="0"/>
              </a:effectLst>
              <a:latin typeface="华文琥珀" panose="02010800040101010101" pitchFamily="2" charset="-122"/>
              <a:ea typeface="华文琥珀" panose="02010800040101010101" pitchFamily="2" charset="-122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ISLIDE.VECTOR" val="538e97c3-e9f5-4fc3-acd8-667a9a01b65c"/>
</p:tagLst>
</file>

<file path=ppt/tags/tag10.xml><?xml version="1.0" encoding="utf-8"?>
<p:tagLst xmlns:p="http://schemas.openxmlformats.org/presentationml/2006/main">
  <p:tag name="ISLIDE.DIAGRAM" val="255939"/>
</p:tagLst>
</file>

<file path=ppt/tags/tag11.xml><?xml version="1.0" encoding="utf-8"?>
<p:tagLst xmlns:p="http://schemas.openxmlformats.org/presentationml/2006/main">
  <p:tag name="ISLIDE.ICON" val="#405366;#407017;"/>
</p:tagLst>
</file>

<file path=ppt/tags/tag12.xml><?xml version="1.0" encoding="utf-8"?>
<p:tagLst xmlns:p="http://schemas.openxmlformats.org/presentationml/2006/main">
  <p:tag name="ISLIDE.ICON" val="#405366;#407017;"/>
</p:tagLst>
</file>

<file path=ppt/tags/tag13.xml><?xml version="1.0" encoding="utf-8"?>
<p:tagLst xmlns:p="http://schemas.openxmlformats.org/presentationml/2006/main">
  <p:tag name="ISLIDE.ICON" val="#405366;#407017;"/>
</p:tagLst>
</file>

<file path=ppt/tags/tag14.xml><?xml version="1.0" encoding="utf-8"?>
<p:tagLst xmlns:p="http://schemas.openxmlformats.org/presentationml/2006/main">
  <p:tag name="ISLIDE.DIAGRAM" val="246768"/>
</p:tagLst>
</file>

<file path=ppt/tags/tag15.xml><?xml version="1.0" encoding="utf-8"?>
<p:tagLst xmlns:p="http://schemas.openxmlformats.org/presentationml/2006/main">
  <p:tag name="ISLIDE.DIAGRAM" val="246775"/>
</p:tagLst>
</file>

<file path=ppt/tags/tag16.xml><?xml version="1.0" encoding="utf-8"?>
<p:tagLst xmlns:p="http://schemas.openxmlformats.org/presentationml/2006/main">
  <p:tag name="ISLIDE.DIAGRAM" val="186714"/>
</p:tagLst>
</file>

<file path=ppt/tags/tag17.xml><?xml version="1.0" encoding="utf-8"?>
<p:tagLst xmlns:p="http://schemas.openxmlformats.org/presentationml/2006/main">
  <p:tag name="ISLIDE.DIAGRAM" val="186714"/>
</p:tagLst>
</file>

<file path=ppt/tags/tag18.xml><?xml version="1.0" encoding="utf-8"?>
<p:tagLst xmlns:p="http://schemas.openxmlformats.org/presentationml/2006/main">
  <p:tag name="ISLIDE.ICON" val="#33952;#405327;"/>
</p:tagLst>
</file>

<file path=ppt/tags/tag19.xml><?xml version="1.0" encoding="utf-8"?>
<p:tagLst xmlns:p="http://schemas.openxmlformats.org/presentationml/2006/main">
  <p:tag name="ISLIDE.DIAGRAM" val="3931"/>
</p:tagLst>
</file>

<file path=ppt/tags/tag2.xml><?xml version="1.0" encoding="utf-8"?>
<p:tagLst xmlns:p="http://schemas.openxmlformats.org/presentationml/2006/main">
  <p:tag name="ISLIDE.VECTOR" val="538e97c3-e9f5-4fc3-acd8-667a9a01b65c"/>
</p:tagLst>
</file>

<file path=ppt/tags/tag20.xml><?xml version="1.0" encoding="utf-8"?>
<p:tagLst xmlns:p="http://schemas.openxmlformats.org/presentationml/2006/main">
  <p:tag name="THINKCELLSHAPEDONOTDELETE" val="thinkcellActiveDocDoNotDelete"/>
</p:tagLst>
</file>

<file path=ppt/tags/tag21.xml><?xml version="1.0" encoding="utf-8"?>
<p:tagLst xmlns:p="http://schemas.openxmlformats.org/presentationml/2006/main">
  <p:tag name="THINKCELLSHAPEDONOTDELETE" val="t1Smkff3fSzGMOuItfjj3Fw"/>
</p:tagLst>
</file>

<file path=ppt/tags/tag3.xml><?xml version="1.0" encoding="utf-8"?>
<p:tagLst xmlns:p="http://schemas.openxmlformats.org/presentationml/2006/main">
  <p:tag name="ISLIDE.VECTOR" val="538e97c3-e9f5-4fc3-acd8-667a9a01b65c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A6S0wzOvQ8a50SA42PUNRg"/>
</p:tagLst>
</file>

<file path=ppt/tags/tag6.xml><?xml version="1.0" encoding="utf-8"?>
<p:tagLst xmlns:p="http://schemas.openxmlformats.org/presentationml/2006/main">
  <p:tag name="ISLIDE.DIAGRAM" val="277556"/>
</p:tagLst>
</file>

<file path=ppt/tags/tag7.xml><?xml version="1.0" encoding="utf-8"?>
<p:tagLst xmlns:p="http://schemas.openxmlformats.org/presentationml/2006/main">
  <p:tag name="ISLIDE.DIAGRAM" val="277680"/>
</p:tagLst>
</file>

<file path=ppt/tags/tag8.xml><?xml version="1.0" encoding="utf-8"?>
<p:tagLst xmlns:p="http://schemas.openxmlformats.org/presentationml/2006/main">
  <p:tag name="ISLIDE.DIAGRAM" val="218638"/>
</p:tagLst>
</file>

<file path=ppt/tags/tag9.xml><?xml version="1.0" encoding="utf-8"?>
<p:tagLst xmlns:p="http://schemas.openxmlformats.org/presentationml/2006/main">
  <p:tag name="ISLIDE.DIAGRAM" val="259897"/>
</p:tagLst>
</file>

<file path=ppt/theme/theme1.xml><?xml version="1.0" encoding="utf-8"?>
<a:theme xmlns:a="http://schemas.openxmlformats.org/drawingml/2006/main" name="主题5">
  <a:themeElements>
    <a:clrScheme name="蓝色插画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30157"/>
      </a:accent1>
      <a:accent2>
        <a:srgbClr val="1D25AA"/>
      </a:accent2>
      <a:accent3>
        <a:srgbClr val="FFD022"/>
      </a:accent3>
      <a:accent4>
        <a:srgbClr val="46588A"/>
      </a:accent4>
      <a:accent5>
        <a:srgbClr val="423FA5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蓝色插画">
    <a:dk1>
      <a:srgbClr val="000000"/>
    </a:dk1>
    <a:lt1>
      <a:srgbClr val="FFFFFF"/>
    </a:lt1>
    <a:dk2>
      <a:srgbClr val="768394"/>
    </a:dk2>
    <a:lt2>
      <a:srgbClr val="F0F0F0"/>
    </a:lt2>
    <a:accent1>
      <a:srgbClr val="030157"/>
    </a:accent1>
    <a:accent2>
      <a:srgbClr val="1D25AA"/>
    </a:accent2>
    <a:accent3>
      <a:srgbClr val="FFD022"/>
    </a:accent3>
    <a:accent4>
      <a:srgbClr val="46588A"/>
    </a:accent4>
    <a:accent5>
      <a:srgbClr val="423FA5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蓝色插画">
    <a:dk1>
      <a:srgbClr val="000000"/>
    </a:dk1>
    <a:lt1>
      <a:srgbClr val="FFFFFF"/>
    </a:lt1>
    <a:dk2>
      <a:srgbClr val="768394"/>
    </a:dk2>
    <a:lt2>
      <a:srgbClr val="F0F0F0"/>
    </a:lt2>
    <a:accent1>
      <a:srgbClr val="030157"/>
    </a:accent1>
    <a:accent2>
      <a:srgbClr val="1D25AA"/>
    </a:accent2>
    <a:accent3>
      <a:srgbClr val="FFD022"/>
    </a:accent3>
    <a:accent4>
      <a:srgbClr val="46588A"/>
    </a:accent4>
    <a:accent5>
      <a:srgbClr val="423FA5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蓝色插画">
    <a:dk1>
      <a:srgbClr val="000000"/>
    </a:dk1>
    <a:lt1>
      <a:srgbClr val="FFFFFF"/>
    </a:lt1>
    <a:dk2>
      <a:srgbClr val="768394"/>
    </a:dk2>
    <a:lt2>
      <a:srgbClr val="F0F0F0"/>
    </a:lt2>
    <a:accent1>
      <a:srgbClr val="030157"/>
    </a:accent1>
    <a:accent2>
      <a:srgbClr val="1D25AA"/>
    </a:accent2>
    <a:accent3>
      <a:srgbClr val="FFD022"/>
    </a:accent3>
    <a:accent4>
      <a:srgbClr val="46588A"/>
    </a:accent4>
    <a:accent5>
      <a:srgbClr val="423FA5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主题5</Template>
  <TotalTime>0</TotalTime>
  <Words>1701</Words>
  <Application>WPS 表格</Application>
  <PresentationFormat>宽屏</PresentationFormat>
  <Paragraphs>334</Paragraphs>
  <Slides>22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2</vt:i4>
      </vt:variant>
    </vt:vector>
  </HeadingPairs>
  <TitlesOfParts>
    <vt:vector size="40" baseType="lpstr">
      <vt:lpstr>Arial</vt:lpstr>
      <vt:lpstr>方正书宋_GBK</vt:lpstr>
      <vt:lpstr>Wingdings</vt:lpstr>
      <vt:lpstr>Arial</vt:lpstr>
      <vt:lpstr>微软雅黑</vt:lpstr>
      <vt:lpstr>微软雅黑</vt:lpstr>
      <vt:lpstr>Impact</vt:lpstr>
      <vt:lpstr>华文琥珀</vt:lpstr>
      <vt:lpstr>汉仪旗黑KW</vt:lpstr>
      <vt:lpstr>宋体</vt:lpstr>
      <vt:lpstr>Arial Unicode MS</vt:lpstr>
      <vt:lpstr>Calibri</vt:lpstr>
      <vt:lpstr>Helvetica Neue</vt:lpstr>
      <vt:lpstr>汉仪书宋二KW</vt:lpstr>
      <vt:lpstr>宋体-简</vt:lpstr>
      <vt:lpstr>主题5</vt:lpstr>
      <vt:lpstr>TCLayout.ActiveDocument.1</vt:lpstr>
      <vt:lpstr>TCLayout.ActiveDocument.1</vt:lpstr>
      <vt:lpstr>喜文信息科技有限公司 职帮帮 商业计划书</vt:lpstr>
      <vt:lpstr>PowerPoint 演示文稿</vt:lpstr>
      <vt:lpstr>市场痛点</vt:lpstr>
      <vt:lpstr>市场痛点</vt:lpstr>
      <vt:lpstr>市场痛点</vt:lpstr>
      <vt:lpstr>市场痛点</vt:lpstr>
      <vt:lpstr>产品形态</vt:lpstr>
      <vt:lpstr>PowerPoint 演示文稿</vt:lpstr>
      <vt:lpstr>产品形态</vt:lpstr>
      <vt:lpstr>产品形态</vt:lpstr>
      <vt:lpstr>产品形态</vt:lpstr>
      <vt:lpstr>产品形态</vt:lpstr>
      <vt:lpstr>产品形态</vt:lpstr>
      <vt:lpstr>产品方案</vt:lpstr>
      <vt:lpstr>产品信息价值</vt:lpstr>
      <vt:lpstr>PowerPoint 演示文稿</vt:lpstr>
      <vt:lpstr>核心竞争力</vt:lpstr>
      <vt:lpstr>核心竞争力</vt:lpstr>
      <vt:lpstr>商业计划</vt:lpstr>
      <vt:lpstr>商业规模</vt:lpstr>
      <vt:lpstr>公司架构</vt:lpstr>
      <vt:lpstr>谢谢</vt:lpstr>
    </vt:vector>
  </TitlesOfParts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喜文信息科技有限公司 职帮帮 商业计划书</dc:title>
  <dc:creator>office</dc:creator>
  <cp:lastModifiedBy>magic</cp:lastModifiedBy>
  <cp:revision>376</cp:revision>
  <cp:lastPrinted>2020-05-25T07:08:13Z</cp:lastPrinted>
  <dcterms:created xsi:type="dcterms:W3CDTF">2020-05-25T07:08:13Z</dcterms:created>
  <dcterms:modified xsi:type="dcterms:W3CDTF">2020-05-25T07:0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.0.0.1330</vt:lpwstr>
  </property>
</Properties>
</file>